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25"/>
  </p:notesMasterIdLst>
  <p:sldIdLst>
    <p:sldId id="256" r:id="rId2"/>
    <p:sldId id="273" r:id="rId3"/>
    <p:sldId id="274" r:id="rId4"/>
    <p:sldId id="260" r:id="rId5"/>
    <p:sldId id="268" r:id="rId6"/>
    <p:sldId id="264" r:id="rId7"/>
    <p:sldId id="272" r:id="rId8"/>
    <p:sldId id="276" r:id="rId9"/>
    <p:sldId id="261" r:id="rId10"/>
    <p:sldId id="270" r:id="rId11"/>
    <p:sldId id="280" r:id="rId12"/>
    <p:sldId id="281" r:id="rId13"/>
    <p:sldId id="277" r:id="rId14"/>
    <p:sldId id="258" r:id="rId15"/>
    <p:sldId id="269" r:id="rId16"/>
    <p:sldId id="265" r:id="rId17"/>
    <p:sldId id="267" r:id="rId18"/>
    <p:sldId id="278" r:id="rId19"/>
    <p:sldId id="263" r:id="rId20"/>
    <p:sldId id="271" r:id="rId21"/>
    <p:sldId id="262" r:id="rId22"/>
    <p:sldId id="266" r:id="rId23"/>
    <p:sldId id="284" r:id="rId24"/>
  </p:sldIdLst>
  <p:sldSz cx="12192000" cy="6858000"/>
  <p:notesSz cx="6858000" cy="9144000"/>
  <p:embeddedFontLst>
    <p:embeddedFont>
      <p:font typeface="微软雅黑" panose="020B0503020204020204" pitchFamily="34" charset="-122"/>
      <p:regular r:id="rId26"/>
      <p:bold r:id="rId27"/>
    </p:embeddedFont>
    <p:embeddedFont>
      <p:font typeface="Agency FB" panose="020B0503020202020204" pitchFamily="34" charset="0"/>
      <p:regular r:id="rId28"/>
      <p:bold r:id="rId29"/>
    </p:embeddedFont>
    <p:embeddedFont>
      <p:font typeface="Aharoni" panose="02010803020104030203" pitchFamily="2" charset="-79"/>
      <p:bold r:id="rId30"/>
    </p:embeddedFont>
    <p:embeddedFont>
      <p:font typeface="Calibri" panose="020F0502020204030204" pitchFamily="34" charset="0"/>
      <p:regular r:id="rId31"/>
      <p:bold r:id="rId32"/>
      <p:italic r:id="rId33"/>
      <p:boldItalic r:id="rId34"/>
    </p:embeddedFont>
    <p:embeddedFont>
      <p:font typeface="Calibri Light" panose="020F0302020204030204" pitchFamily="34" charset="0"/>
      <p:regular r:id="rId35"/>
      <p:italic r:id="rId36"/>
    </p:embeddedFont>
    <p:embeddedFont>
      <p:font typeface="Impact" panose="020B0806030902050204" pitchFamily="34" charset="0"/>
      <p:regular r:id="rId37"/>
    </p:embeddedFont>
    <p:embeddedFont>
      <p:font typeface="Segoe UI Light" panose="020B0502040204020203" pitchFamily="34" charset="0"/>
      <p:regular r:id="rId38"/>
      <p:italic r:id="rId39"/>
    </p:embeddedFont>
  </p:embeddedFontLst>
  <p:defaultTex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p:defaultTextStyle>
  <p:extLst>
    <p:ext uri="{EFAFB233-063F-42B5-8137-9DF3F51BA10A}">
      <p15:sldGuideLst xmlns:p15="http://schemas.microsoft.com/office/powerpoint/2012/main">
        <p15:guide id="1" orient="horz" pos="2160">
          <p15:clr>
            <a:srgbClr val="A4A3A4"/>
          </p15:clr>
        </p15:guide>
        <p15:guide id="2">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DB34E"/>
    <a:srgbClr val="292929"/>
    <a:srgbClr val="C20F2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8" d="100"/>
          <a:sy n="88" d="100"/>
        </p:scale>
        <p:origin x="466" y="72"/>
      </p:cViewPr>
      <p:guideLst>
        <p:guide orient="horz" pos="2160"/>
        <p:guide/>
      </p:guideLst>
    </p:cSldViewPr>
  </p:slideViewPr>
  <p:notesTextViewPr>
    <p:cViewPr>
      <p:scale>
        <a:sx n="1" d="1"/>
        <a:sy n="1" d="1"/>
      </p:scale>
      <p:origin x="0" y="0"/>
    </p:cViewPr>
  </p:notesTextViewPr>
  <p:sorterViewPr>
    <p:cViewPr>
      <p:scale>
        <a:sx n="41" d="100"/>
        <a:sy n="41"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1.fntdata"/><Relationship Id="rId39" Type="http://schemas.openxmlformats.org/officeDocument/2006/relationships/font" Target="fonts/font14.fntdata"/><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font" Target="fonts/font9.fntdata"/><Relationship Id="rId42"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33" Type="http://schemas.openxmlformats.org/officeDocument/2006/relationships/font" Target="fonts/font8.fntdata"/><Relationship Id="rId38" Type="http://schemas.openxmlformats.org/officeDocument/2006/relationships/font" Target="fonts/font13.fntdata"/><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font" Target="fonts/font4.fntdata"/><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font" Target="fonts/font7.fntdata"/><Relationship Id="rId37" Type="http://schemas.openxmlformats.org/officeDocument/2006/relationships/font" Target="fonts/font12.fntdata"/><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font" Target="fonts/font3.fntdata"/><Relationship Id="rId36" Type="http://schemas.openxmlformats.org/officeDocument/2006/relationships/font" Target="fonts/font11.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6.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font" Target="fonts/font2.fntdata"/><Relationship Id="rId30" Type="http://schemas.openxmlformats.org/officeDocument/2006/relationships/font" Target="fonts/font5.fntdata"/><Relationship Id="rId35" Type="http://schemas.openxmlformats.org/officeDocument/2006/relationships/font" Target="fonts/font10.fntdata"/><Relationship Id="rId43"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15B011C9-D658-412B-820F-FA99D714E4E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ea typeface="+mn-ea"/>
              </a:defRPr>
            </a:lvl1pPr>
          </a:lstStyle>
          <a:p>
            <a:pPr>
              <a:defRPr/>
            </a:pPr>
            <a:endParaRPr lang="zh-CN" altLang="en-US"/>
          </a:p>
        </p:txBody>
      </p:sp>
      <p:sp>
        <p:nvSpPr>
          <p:cNvPr id="3" name="日期占位符 2">
            <a:extLst>
              <a:ext uri="{FF2B5EF4-FFF2-40B4-BE49-F238E27FC236}">
                <a16:creationId xmlns:a16="http://schemas.microsoft.com/office/drawing/2014/main" id="{D4D37B2B-171D-41BD-8220-E55489D26764}"/>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a:latin typeface="+mn-lt"/>
                <a:ea typeface="+mn-ea"/>
              </a:defRPr>
            </a:lvl1pPr>
          </a:lstStyle>
          <a:p>
            <a:pPr>
              <a:defRPr/>
            </a:pPr>
            <a:fld id="{3205F51A-C209-4FBC-917D-30A5B6408DCA}" type="datetimeFigureOut">
              <a:rPr lang="zh-CN" altLang="en-US"/>
              <a:pPr>
                <a:defRPr/>
              </a:pPr>
              <a:t>2019/12/1</a:t>
            </a:fld>
            <a:endParaRPr lang="zh-CN" altLang="en-US"/>
          </a:p>
        </p:txBody>
      </p:sp>
      <p:sp>
        <p:nvSpPr>
          <p:cNvPr id="4" name="幻灯片图像占位符 3">
            <a:extLst>
              <a:ext uri="{FF2B5EF4-FFF2-40B4-BE49-F238E27FC236}">
                <a16:creationId xmlns:a16="http://schemas.microsoft.com/office/drawing/2014/main" id="{093DF52B-8DD2-416F-B596-9E924C6498B9}"/>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zh-CN" altLang="en-US" noProof="0"/>
          </a:p>
        </p:txBody>
      </p:sp>
      <p:sp>
        <p:nvSpPr>
          <p:cNvPr id="5" name="备注占位符 4">
            <a:extLst>
              <a:ext uri="{FF2B5EF4-FFF2-40B4-BE49-F238E27FC236}">
                <a16:creationId xmlns:a16="http://schemas.microsoft.com/office/drawing/2014/main" id="{5EEC0DB0-34B5-4259-9DAA-FC6F1E1656CD}"/>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noProof="0"/>
              <a:t>单击此处编辑母版文本样式</a:t>
            </a:r>
          </a:p>
          <a:p>
            <a:pPr lvl="1"/>
            <a:r>
              <a:rPr lang="zh-CN" altLang="en-US" noProof="0"/>
              <a:t>第二级</a:t>
            </a:r>
          </a:p>
          <a:p>
            <a:pPr lvl="2"/>
            <a:r>
              <a:rPr lang="zh-CN" altLang="en-US" noProof="0"/>
              <a:t>第三级</a:t>
            </a:r>
          </a:p>
          <a:p>
            <a:pPr lvl="3"/>
            <a:r>
              <a:rPr lang="zh-CN" altLang="en-US" noProof="0"/>
              <a:t>第四级</a:t>
            </a:r>
          </a:p>
          <a:p>
            <a:pPr lvl="4"/>
            <a:r>
              <a:rPr lang="zh-CN" altLang="en-US" noProof="0"/>
              <a:t>第五级</a:t>
            </a:r>
          </a:p>
        </p:txBody>
      </p:sp>
      <p:sp>
        <p:nvSpPr>
          <p:cNvPr id="6" name="页脚占位符 5">
            <a:extLst>
              <a:ext uri="{FF2B5EF4-FFF2-40B4-BE49-F238E27FC236}">
                <a16:creationId xmlns:a16="http://schemas.microsoft.com/office/drawing/2014/main" id="{4C2F02E7-14C8-4687-8695-F1CA992F32A7}"/>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ea typeface="+mn-ea"/>
              </a:defRPr>
            </a:lvl1pPr>
          </a:lstStyle>
          <a:p>
            <a:pPr>
              <a:defRPr/>
            </a:pPr>
            <a:endParaRPr lang="zh-CN" altLang="en-US"/>
          </a:p>
        </p:txBody>
      </p:sp>
      <p:sp>
        <p:nvSpPr>
          <p:cNvPr id="7" name="灯片编号占位符 6">
            <a:extLst>
              <a:ext uri="{FF2B5EF4-FFF2-40B4-BE49-F238E27FC236}">
                <a16:creationId xmlns:a16="http://schemas.microsoft.com/office/drawing/2014/main" id="{8EEE936B-3235-4289-A9E5-099D63561002}"/>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a:latin typeface="+mn-lt"/>
                <a:ea typeface="+mn-ea"/>
              </a:defRPr>
            </a:lvl1pPr>
          </a:lstStyle>
          <a:p>
            <a:pPr>
              <a:defRPr/>
            </a:pPr>
            <a:fld id="{24C4CE1B-EDFF-4B1B-9C6E-FABADE7AC5CE}" type="slidenum">
              <a:rPr lang="zh-CN" altLang="en-US"/>
              <a:pPr>
                <a:defRPr/>
              </a:pPr>
              <a:t>‹#›</a:t>
            </a:fld>
            <a:endParaRPr lang="zh-CN"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7673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a:extLst>
              <a:ext uri="{FF2B5EF4-FFF2-40B4-BE49-F238E27FC236}">
                <a16:creationId xmlns:a16="http://schemas.microsoft.com/office/drawing/2014/main" id="{529EC162-4700-4A11-BD6D-9E6A6B84DCEA}"/>
              </a:ext>
            </a:extLst>
          </p:cNvPr>
          <p:cNvSpPr>
            <a:spLocks noGrp="1"/>
          </p:cNvSpPr>
          <p:nvPr>
            <p:ph type="dt" sz="half" idx="10"/>
          </p:nvPr>
        </p:nvSpPr>
        <p:spPr/>
        <p:txBody>
          <a:bodyPr/>
          <a:lstStyle>
            <a:lvl1pPr>
              <a:defRPr/>
            </a:lvl1pPr>
          </a:lstStyle>
          <a:p>
            <a:pPr>
              <a:defRPr/>
            </a:pPr>
            <a:fld id="{3D2E51CE-0FD8-48C9-9819-2A345BA78C18}" type="datetimeFigureOut">
              <a:rPr lang="zh-CN" altLang="en-US"/>
              <a:pPr>
                <a:defRPr/>
              </a:pPr>
              <a:t>2019/12/1</a:t>
            </a:fld>
            <a:endParaRPr lang="zh-CN" altLang="en-US"/>
          </a:p>
        </p:txBody>
      </p:sp>
      <p:sp>
        <p:nvSpPr>
          <p:cNvPr id="5" name="页脚占位符 4">
            <a:extLst>
              <a:ext uri="{FF2B5EF4-FFF2-40B4-BE49-F238E27FC236}">
                <a16:creationId xmlns:a16="http://schemas.microsoft.com/office/drawing/2014/main" id="{201992C8-D81F-45F9-A7D0-50BD91DF0633}"/>
              </a:ext>
            </a:extLst>
          </p:cNvPr>
          <p:cNvSpPr>
            <a:spLocks noGrp="1"/>
          </p:cNvSpPr>
          <p:nvPr>
            <p:ph type="ftr" sz="quarter" idx="11"/>
          </p:nvPr>
        </p:nvSpPr>
        <p:spPr/>
        <p:txBody>
          <a:bodyPr/>
          <a:lstStyle>
            <a:lvl1pPr>
              <a:defRPr/>
            </a:lvl1pPr>
          </a:lstStyle>
          <a:p>
            <a:pPr>
              <a:defRPr/>
            </a:pPr>
            <a:endParaRPr lang="zh-CN" altLang="en-US"/>
          </a:p>
        </p:txBody>
      </p:sp>
      <p:sp>
        <p:nvSpPr>
          <p:cNvPr id="6" name="灯片编号占位符 5">
            <a:extLst>
              <a:ext uri="{FF2B5EF4-FFF2-40B4-BE49-F238E27FC236}">
                <a16:creationId xmlns:a16="http://schemas.microsoft.com/office/drawing/2014/main" id="{F547280A-1D21-4473-AC86-6B1A92448477}"/>
              </a:ext>
            </a:extLst>
          </p:cNvPr>
          <p:cNvSpPr>
            <a:spLocks noGrp="1"/>
          </p:cNvSpPr>
          <p:nvPr>
            <p:ph type="sldNum" sz="quarter" idx="12"/>
          </p:nvPr>
        </p:nvSpPr>
        <p:spPr/>
        <p:txBody>
          <a:bodyPr/>
          <a:lstStyle>
            <a:lvl1pPr>
              <a:defRPr/>
            </a:lvl1pPr>
          </a:lstStyle>
          <a:p>
            <a:pPr>
              <a:defRPr/>
            </a:pPr>
            <a:fld id="{11D83BB5-3A06-419E-B6AF-768F1690EA71}" type="slidenum">
              <a:rPr lang="zh-CN" altLang="en-US"/>
              <a:pPr>
                <a:defRPr/>
              </a:pPr>
              <a:t>‹#›</a:t>
            </a:fld>
            <a:endParaRPr lang="zh-CN" altLang="en-US"/>
          </a:p>
        </p:txBody>
      </p:sp>
    </p:spTree>
    <p:extLst>
      <p:ext uri="{BB962C8B-B14F-4D97-AF65-F5344CB8AC3E}">
        <p14:creationId xmlns:p14="http://schemas.microsoft.com/office/powerpoint/2010/main" val="36849441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a:extLst>
              <a:ext uri="{FF2B5EF4-FFF2-40B4-BE49-F238E27FC236}">
                <a16:creationId xmlns:a16="http://schemas.microsoft.com/office/drawing/2014/main" id="{B689F2BC-B8F8-415D-B0B4-EA24FBD617C2}"/>
              </a:ext>
            </a:extLst>
          </p:cNvPr>
          <p:cNvSpPr>
            <a:spLocks noGrp="1"/>
          </p:cNvSpPr>
          <p:nvPr>
            <p:ph type="dt" sz="half" idx="10"/>
          </p:nvPr>
        </p:nvSpPr>
        <p:spPr/>
        <p:txBody>
          <a:bodyPr/>
          <a:lstStyle>
            <a:lvl1pPr>
              <a:defRPr/>
            </a:lvl1pPr>
          </a:lstStyle>
          <a:p>
            <a:pPr>
              <a:defRPr/>
            </a:pPr>
            <a:fld id="{00FC02FA-5F1B-4D41-8F5C-F38DD0CE84AA}" type="datetimeFigureOut">
              <a:rPr lang="zh-CN" altLang="en-US"/>
              <a:pPr>
                <a:defRPr/>
              </a:pPr>
              <a:t>2019/12/1</a:t>
            </a:fld>
            <a:endParaRPr lang="zh-CN" altLang="en-US"/>
          </a:p>
        </p:txBody>
      </p:sp>
      <p:sp>
        <p:nvSpPr>
          <p:cNvPr id="5" name="页脚占位符 4">
            <a:extLst>
              <a:ext uri="{FF2B5EF4-FFF2-40B4-BE49-F238E27FC236}">
                <a16:creationId xmlns:a16="http://schemas.microsoft.com/office/drawing/2014/main" id="{186A5257-1C7A-487B-AD9C-0F0BAF03F93C}"/>
              </a:ext>
            </a:extLst>
          </p:cNvPr>
          <p:cNvSpPr>
            <a:spLocks noGrp="1"/>
          </p:cNvSpPr>
          <p:nvPr>
            <p:ph type="ftr" sz="quarter" idx="11"/>
          </p:nvPr>
        </p:nvSpPr>
        <p:spPr/>
        <p:txBody>
          <a:bodyPr/>
          <a:lstStyle>
            <a:lvl1pPr>
              <a:defRPr/>
            </a:lvl1pPr>
          </a:lstStyle>
          <a:p>
            <a:pPr>
              <a:defRPr/>
            </a:pPr>
            <a:endParaRPr lang="zh-CN" altLang="en-US"/>
          </a:p>
        </p:txBody>
      </p:sp>
      <p:sp>
        <p:nvSpPr>
          <p:cNvPr id="6" name="灯片编号占位符 5">
            <a:extLst>
              <a:ext uri="{FF2B5EF4-FFF2-40B4-BE49-F238E27FC236}">
                <a16:creationId xmlns:a16="http://schemas.microsoft.com/office/drawing/2014/main" id="{6A0E8DAF-7AF9-48C0-AC58-C90DBDCAEEDD}"/>
              </a:ext>
            </a:extLst>
          </p:cNvPr>
          <p:cNvSpPr>
            <a:spLocks noGrp="1"/>
          </p:cNvSpPr>
          <p:nvPr>
            <p:ph type="sldNum" sz="quarter" idx="12"/>
          </p:nvPr>
        </p:nvSpPr>
        <p:spPr/>
        <p:txBody>
          <a:bodyPr/>
          <a:lstStyle>
            <a:lvl1pPr>
              <a:defRPr/>
            </a:lvl1pPr>
          </a:lstStyle>
          <a:p>
            <a:pPr>
              <a:defRPr/>
            </a:pPr>
            <a:fld id="{626E1433-2944-427F-BA98-C20D97F804E4}" type="slidenum">
              <a:rPr lang="zh-CN" altLang="en-US"/>
              <a:pPr>
                <a:defRPr/>
              </a:pPr>
              <a:t>‹#›</a:t>
            </a:fld>
            <a:endParaRPr lang="zh-CN" altLang="en-US"/>
          </a:p>
        </p:txBody>
      </p:sp>
    </p:spTree>
    <p:extLst>
      <p:ext uri="{BB962C8B-B14F-4D97-AF65-F5344CB8AC3E}">
        <p14:creationId xmlns:p14="http://schemas.microsoft.com/office/powerpoint/2010/main" val="16880122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959884FF-77B4-4427-8F81-F85E2DF96BD1}"/>
              </a:ext>
            </a:extLst>
          </p:cNvPr>
          <p:cNvSpPr/>
          <p:nvPr userDrawn="1"/>
        </p:nvSpPr>
        <p:spPr>
          <a:xfrm>
            <a:off x="0" y="590550"/>
            <a:ext cx="971550" cy="533400"/>
          </a:xfrm>
          <a:prstGeom prst="rect">
            <a:avLst/>
          </a:prstGeom>
          <a:solidFill>
            <a:srgbClr val="C20F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cxnSp>
        <p:nvCxnSpPr>
          <p:cNvPr id="3" name="直接连接符 2">
            <a:extLst>
              <a:ext uri="{FF2B5EF4-FFF2-40B4-BE49-F238E27FC236}">
                <a16:creationId xmlns:a16="http://schemas.microsoft.com/office/drawing/2014/main" id="{D074A1A3-9533-4C13-BE93-5B957EB28874}"/>
              </a:ext>
            </a:extLst>
          </p:cNvPr>
          <p:cNvCxnSpPr/>
          <p:nvPr userDrawn="1"/>
        </p:nvCxnSpPr>
        <p:spPr>
          <a:xfrm>
            <a:off x="1200150" y="1123950"/>
            <a:ext cx="5148263" cy="0"/>
          </a:xfrm>
          <a:prstGeom prst="line">
            <a:avLst/>
          </a:prstGeom>
          <a:ln w="73025">
            <a:solidFill>
              <a:srgbClr val="29292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2473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766BD074-A8CD-42CB-AE1D-4556F4AE57D4}"/>
              </a:ext>
            </a:extLst>
          </p:cNvPr>
          <p:cNvSpPr>
            <a:spLocks noGrp="1"/>
          </p:cNvSpPr>
          <p:nvPr>
            <p:ph type="dt" sz="half" idx="10"/>
          </p:nvPr>
        </p:nvSpPr>
        <p:spPr/>
        <p:txBody>
          <a:bodyPr/>
          <a:lstStyle>
            <a:lvl1pPr>
              <a:defRPr/>
            </a:lvl1pPr>
          </a:lstStyle>
          <a:p>
            <a:pPr>
              <a:defRPr/>
            </a:pPr>
            <a:fld id="{D39F0055-BBE0-4AE4-A8CA-943DAB95E042}" type="datetimeFigureOut">
              <a:rPr lang="zh-CN" altLang="en-US"/>
              <a:pPr>
                <a:defRPr/>
              </a:pPr>
              <a:t>2019/12/1</a:t>
            </a:fld>
            <a:endParaRPr lang="zh-CN" altLang="en-US"/>
          </a:p>
        </p:txBody>
      </p:sp>
      <p:sp>
        <p:nvSpPr>
          <p:cNvPr id="5" name="页脚占位符 4">
            <a:extLst>
              <a:ext uri="{FF2B5EF4-FFF2-40B4-BE49-F238E27FC236}">
                <a16:creationId xmlns:a16="http://schemas.microsoft.com/office/drawing/2014/main" id="{46A2F488-523A-462F-A514-98EDB221FAAB}"/>
              </a:ext>
            </a:extLst>
          </p:cNvPr>
          <p:cNvSpPr>
            <a:spLocks noGrp="1"/>
          </p:cNvSpPr>
          <p:nvPr>
            <p:ph type="ftr" sz="quarter" idx="11"/>
          </p:nvPr>
        </p:nvSpPr>
        <p:spPr/>
        <p:txBody>
          <a:bodyPr/>
          <a:lstStyle>
            <a:lvl1pPr>
              <a:defRPr/>
            </a:lvl1pPr>
          </a:lstStyle>
          <a:p>
            <a:pPr>
              <a:defRPr/>
            </a:pPr>
            <a:endParaRPr lang="zh-CN" altLang="en-US"/>
          </a:p>
        </p:txBody>
      </p:sp>
      <p:sp>
        <p:nvSpPr>
          <p:cNvPr id="6" name="灯片编号占位符 5">
            <a:extLst>
              <a:ext uri="{FF2B5EF4-FFF2-40B4-BE49-F238E27FC236}">
                <a16:creationId xmlns:a16="http://schemas.microsoft.com/office/drawing/2014/main" id="{4C0BB274-91AA-4339-BD90-C2A52C7C1FC8}"/>
              </a:ext>
            </a:extLst>
          </p:cNvPr>
          <p:cNvSpPr>
            <a:spLocks noGrp="1"/>
          </p:cNvSpPr>
          <p:nvPr>
            <p:ph type="sldNum" sz="quarter" idx="12"/>
          </p:nvPr>
        </p:nvSpPr>
        <p:spPr/>
        <p:txBody>
          <a:bodyPr/>
          <a:lstStyle>
            <a:lvl1pPr>
              <a:defRPr/>
            </a:lvl1pPr>
          </a:lstStyle>
          <a:p>
            <a:pPr>
              <a:defRPr/>
            </a:pPr>
            <a:fld id="{B6CCA0D9-68AF-4324-A16C-166F6E89E742}" type="slidenum">
              <a:rPr lang="zh-CN" altLang="en-US"/>
              <a:pPr>
                <a:defRPr/>
              </a:pPr>
              <a:t>‹#›</a:t>
            </a:fld>
            <a:endParaRPr lang="zh-CN" altLang="en-US"/>
          </a:p>
        </p:txBody>
      </p:sp>
    </p:spTree>
    <p:extLst>
      <p:ext uri="{BB962C8B-B14F-4D97-AF65-F5344CB8AC3E}">
        <p14:creationId xmlns:p14="http://schemas.microsoft.com/office/powerpoint/2010/main" val="35806895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3">
            <a:extLst>
              <a:ext uri="{FF2B5EF4-FFF2-40B4-BE49-F238E27FC236}">
                <a16:creationId xmlns:a16="http://schemas.microsoft.com/office/drawing/2014/main" id="{43862FB5-C346-420D-B766-959FE00D56F0}"/>
              </a:ext>
            </a:extLst>
          </p:cNvPr>
          <p:cNvSpPr>
            <a:spLocks noGrp="1"/>
          </p:cNvSpPr>
          <p:nvPr>
            <p:ph type="dt" sz="half" idx="10"/>
          </p:nvPr>
        </p:nvSpPr>
        <p:spPr/>
        <p:txBody>
          <a:bodyPr/>
          <a:lstStyle>
            <a:lvl1pPr>
              <a:defRPr/>
            </a:lvl1pPr>
          </a:lstStyle>
          <a:p>
            <a:pPr>
              <a:defRPr/>
            </a:pPr>
            <a:fld id="{30BF826F-88EC-4DC0-B703-5049ABA8C5B5}" type="datetimeFigureOut">
              <a:rPr lang="zh-CN" altLang="en-US"/>
              <a:pPr>
                <a:defRPr/>
              </a:pPr>
              <a:t>2019/12/1</a:t>
            </a:fld>
            <a:endParaRPr lang="zh-CN" altLang="en-US"/>
          </a:p>
        </p:txBody>
      </p:sp>
      <p:sp>
        <p:nvSpPr>
          <p:cNvPr id="6" name="页脚占位符 4">
            <a:extLst>
              <a:ext uri="{FF2B5EF4-FFF2-40B4-BE49-F238E27FC236}">
                <a16:creationId xmlns:a16="http://schemas.microsoft.com/office/drawing/2014/main" id="{36497F2C-FF70-4D12-8496-C98717365D7D}"/>
              </a:ext>
            </a:extLst>
          </p:cNvPr>
          <p:cNvSpPr>
            <a:spLocks noGrp="1"/>
          </p:cNvSpPr>
          <p:nvPr>
            <p:ph type="ftr" sz="quarter" idx="11"/>
          </p:nvPr>
        </p:nvSpPr>
        <p:spPr/>
        <p:txBody>
          <a:bodyPr/>
          <a:lstStyle>
            <a:lvl1pPr>
              <a:defRPr/>
            </a:lvl1pPr>
          </a:lstStyle>
          <a:p>
            <a:pPr>
              <a:defRPr/>
            </a:pPr>
            <a:endParaRPr lang="zh-CN" altLang="en-US"/>
          </a:p>
        </p:txBody>
      </p:sp>
      <p:sp>
        <p:nvSpPr>
          <p:cNvPr id="7" name="灯片编号占位符 5">
            <a:extLst>
              <a:ext uri="{FF2B5EF4-FFF2-40B4-BE49-F238E27FC236}">
                <a16:creationId xmlns:a16="http://schemas.microsoft.com/office/drawing/2014/main" id="{14D9206A-8A8C-455E-99C3-6EEFF38C8968}"/>
              </a:ext>
            </a:extLst>
          </p:cNvPr>
          <p:cNvSpPr>
            <a:spLocks noGrp="1"/>
          </p:cNvSpPr>
          <p:nvPr>
            <p:ph type="sldNum" sz="quarter" idx="12"/>
          </p:nvPr>
        </p:nvSpPr>
        <p:spPr/>
        <p:txBody>
          <a:bodyPr/>
          <a:lstStyle>
            <a:lvl1pPr>
              <a:defRPr/>
            </a:lvl1pPr>
          </a:lstStyle>
          <a:p>
            <a:pPr>
              <a:defRPr/>
            </a:pPr>
            <a:fld id="{CF746867-2A21-4ACF-8AB2-B471E09DA7AE}" type="slidenum">
              <a:rPr lang="zh-CN" altLang="en-US"/>
              <a:pPr>
                <a:defRPr/>
              </a:pPr>
              <a:t>‹#›</a:t>
            </a:fld>
            <a:endParaRPr lang="zh-CN" altLang="en-US"/>
          </a:p>
        </p:txBody>
      </p:sp>
    </p:spTree>
    <p:extLst>
      <p:ext uri="{BB962C8B-B14F-4D97-AF65-F5344CB8AC3E}">
        <p14:creationId xmlns:p14="http://schemas.microsoft.com/office/powerpoint/2010/main" val="22429195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3">
            <a:extLst>
              <a:ext uri="{FF2B5EF4-FFF2-40B4-BE49-F238E27FC236}">
                <a16:creationId xmlns:a16="http://schemas.microsoft.com/office/drawing/2014/main" id="{7234A587-6BC5-4479-895C-B4267404E422}"/>
              </a:ext>
            </a:extLst>
          </p:cNvPr>
          <p:cNvSpPr>
            <a:spLocks noGrp="1"/>
          </p:cNvSpPr>
          <p:nvPr>
            <p:ph type="dt" sz="half" idx="10"/>
          </p:nvPr>
        </p:nvSpPr>
        <p:spPr/>
        <p:txBody>
          <a:bodyPr/>
          <a:lstStyle>
            <a:lvl1pPr>
              <a:defRPr/>
            </a:lvl1pPr>
          </a:lstStyle>
          <a:p>
            <a:pPr>
              <a:defRPr/>
            </a:pPr>
            <a:fld id="{F552D321-A4D5-48FF-8DB5-4830177C327B}" type="datetimeFigureOut">
              <a:rPr lang="zh-CN" altLang="en-US"/>
              <a:pPr>
                <a:defRPr/>
              </a:pPr>
              <a:t>2019/12/1</a:t>
            </a:fld>
            <a:endParaRPr lang="zh-CN" altLang="en-US"/>
          </a:p>
        </p:txBody>
      </p:sp>
      <p:sp>
        <p:nvSpPr>
          <p:cNvPr id="8" name="页脚占位符 4">
            <a:extLst>
              <a:ext uri="{FF2B5EF4-FFF2-40B4-BE49-F238E27FC236}">
                <a16:creationId xmlns:a16="http://schemas.microsoft.com/office/drawing/2014/main" id="{2611054B-4C6F-4385-98AC-55694293DDFB}"/>
              </a:ext>
            </a:extLst>
          </p:cNvPr>
          <p:cNvSpPr>
            <a:spLocks noGrp="1"/>
          </p:cNvSpPr>
          <p:nvPr>
            <p:ph type="ftr" sz="quarter" idx="11"/>
          </p:nvPr>
        </p:nvSpPr>
        <p:spPr/>
        <p:txBody>
          <a:bodyPr/>
          <a:lstStyle>
            <a:lvl1pPr>
              <a:defRPr/>
            </a:lvl1pPr>
          </a:lstStyle>
          <a:p>
            <a:pPr>
              <a:defRPr/>
            </a:pPr>
            <a:endParaRPr lang="zh-CN" altLang="en-US"/>
          </a:p>
        </p:txBody>
      </p:sp>
      <p:sp>
        <p:nvSpPr>
          <p:cNvPr id="9" name="灯片编号占位符 5">
            <a:extLst>
              <a:ext uri="{FF2B5EF4-FFF2-40B4-BE49-F238E27FC236}">
                <a16:creationId xmlns:a16="http://schemas.microsoft.com/office/drawing/2014/main" id="{672939B5-A0B2-4317-A749-F60959F948B0}"/>
              </a:ext>
            </a:extLst>
          </p:cNvPr>
          <p:cNvSpPr>
            <a:spLocks noGrp="1"/>
          </p:cNvSpPr>
          <p:nvPr>
            <p:ph type="sldNum" sz="quarter" idx="12"/>
          </p:nvPr>
        </p:nvSpPr>
        <p:spPr/>
        <p:txBody>
          <a:bodyPr/>
          <a:lstStyle>
            <a:lvl1pPr>
              <a:defRPr/>
            </a:lvl1pPr>
          </a:lstStyle>
          <a:p>
            <a:pPr>
              <a:defRPr/>
            </a:pPr>
            <a:fld id="{D3105B21-A55C-4505-B1FF-D62B07246BE7}" type="slidenum">
              <a:rPr lang="zh-CN" altLang="en-US"/>
              <a:pPr>
                <a:defRPr/>
              </a:pPr>
              <a:t>‹#›</a:t>
            </a:fld>
            <a:endParaRPr lang="zh-CN" altLang="en-US"/>
          </a:p>
        </p:txBody>
      </p:sp>
    </p:spTree>
    <p:extLst>
      <p:ext uri="{BB962C8B-B14F-4D97-AF65-F5344CB8AC3E}">
        <p14:creationId xmlns:p14="http://schemas.microsoft.com/office/powerpoint/2010/main" val="7207960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3">
            <a:extLst>
              <a:ext uri="{FF2B5EF4-FFF2-40B4-BE49-F238E27FC236}">
                <a16:creationId xmlns:a16="http://schemas.microsoft.com/office/drawing/2014/main" id="{97A47AC7-240F-40BB-BC1C-3F4B911A271E}"/>
              </a:ext>
            </a:extLst>
          </p:cNvPr>
          <p:cNvSpPr>
            <a:spLocks noGrp="1"/>
          </p:cNvSpPr>
          <p:nvPr>
            <p:ph type="dt" sz="half" idx="10"/>
          </p:nvPr>
        </p:nvSpPr>
        <p:spPr/>
        <p:txBody>
          <a:bodyPr/>
          <a:lstStyle>
            <a:lvl1pPr>
              <a:defRPr/>
            </a:lvl1pPr>
          </a:lstStyle>
          <a:p>
            <a:pPr>
              <a:defRPr/>
            </a:pPr>
            <a:fld id="{4A2077E8-C4C9-4B4B-BE97-B1161B55C188}" type="datetimeFigureOut">
              <a:rPr lang="zh-CN" altLang="en-US"/>
              <a:pPr>
                <a:defRPr/>
              </a:pPr>
              <a:t>2019/12/1</a:t>
            </a:fld>
            <a:endParaRPr lang="zh-CN" altLang="en-US"/>
          </a:p>
        </p:txBody>
      </p:sp>
      <p:sp>
        <p:nvSpPr>
          <p:cNvPr id="4" name="页脚占位符 4">
            <a:extLst>
              <a:ext uri="{FF2B5EF4-FFF2-40B4-BE49-F238E27FC236}">
                <a16:creationId xmlns:a16="http://schemas.microsoft.com/office/drawing/2014/main" id="{BA3DDC12-1623-4108-90F8-3075CA3791BA}"/>
              </a:ext>
            </a:extLst>
          </p:cNvPr>
          <p:cNvSpPr>
            <a:spLocks noGrp="1"/>
          </p:cNvSpPr>
          <p:nvPr>
            <p:ph type="ftr" sz="quarter" idx="11"/>
          </p:nvPr>
        </p:nvSpPr>
        <p:spPr/>
        <p:txBody>
          <a:bodyPr/>
          <a:lstStyle>
            <a:lvl1pPr>
              <a:defRPr/>
            </a:lvl1pPr>
          </a:lstStyle>
          <a:p>
            <a:pPr>
              <a:defRPr/>
            </a:pPr>
            <a:endParaRPr lang="zh-CN" altLang="en-US"/>
          </a:p>
        </p:txBody>
      </p:sp>
      <p:sp>
        <p:nvSpPr>
          <p:cNvPr id="5" name="灯片编号占位符 5">
            <a:extLst>
              <a:ext uri="{FF2B5EF4-FFF2-40B4-BE49-F238E27FC236}">
                <a16:creationId xmlns:a16="http://schemas.microsoft.com/office/drawing/2014/main" id="{DF6EF184-490A-404E-9457-A3CBD5A81730}"/>
              </a:ext>
            </a:extLst>
          </p:cNvPr>
          <p:cNvSpPr>
            <a:spLocks noGrp="1"/>
          </p:cNvSpPr>
          <p:nvPr>
            <p:ph type="sldNum" sz="quarter" idx="12"/>
          </p:nvPr>
        </p:nvSpPr>
        <p:spPr/>
        <p:txBody>
          <a:bodyPr/>
          <a:lstStyle>
            <a:lvl1pPr>
              <a:defRPr/>
            </a:lvl1pPr>
          </a:lstStyle>
          <a:p>
            <a:pPr>
              <a:defRPr/>
            </a:pPr>
            <a:fld id="{FEF5BB92-57E2-4AEB-A793-DFDF3288BACD}" type="slidenum">
              <a:rPr lang="zh-CN" altLang="en-US"/>
              <a:pPr>
                <a:defRPr/>
              </a:pPr>
              <a:t>‹#›</a:t>
            </a:fld>
            <a:endParaRPr lang="zh-CN" altLang="en-US"/>
          </a:p>
        </p:txBody>
      </p:sp>
    </p:spTree>
    <p:extLst>
      <p:ext uri="{BB962C8B-B14F-4D97-AF65-F5344CB8AC3E}">
        <p14:creationId xmlns:p14="http://schemas.microsoft.com/office/powerpoint/2010/main" val="36708530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3">
            <a:extLst>
              <a:ext uri="{FF2B5EF4-FFF2-40B4-BE49-F238E27FC236}">
                <a16:creationId xmlns:a16="http://schemas.microsoft.com/office/drawing/2014/main" id="{6CDE8595-114F-4181-81C7-88F3C5A5E3F2}"/>
              </a:ext>
            </a:extLst>
          </p:cNvPr>
          <p:cNvSpPr>
            <a:spLocks noGrp="1"/>
          </p:cNvSpPr>
          <p:nvPr>
            <p:ph type="dt" sz="half" idx="10"/>
          </p:nvPr>
        </p:nvSpPr>
        <p:spPr/>
        <p:txBody>
          <a:bodyPr/>
          <a:lstStyle>
            <a:lvl1pPr>
              <a:defRPr/>
            </a:lvl1pPr>
          </a:lstStyle>
          <a:p>
            <a:pPr>
              <a:defRPr/>
            </a:pPr>
            <a:fld id="{11A9EAAD-EF9F-4CCA-9295-51DBF3FEF119}" type="datetimeFigureOut">
              <a:rPr lang="zh-CN" altLang="en-US"/>
              <a:pPr>
                <a:defRPr/>
              </a:pPr>
              <a:t>2019/12/1</a:t>
            </a:fld>
            <a:endParaRPr lang="zh-CN" altLang="en-US"/>
          </a:p>
        </p:txBody>
      </p:sp>
      <p:sp>
        <p:nvSpPr>
          <p:cNvPr id="3" name="页脚占位符 4">
            <a:extLst>
              <a:ext uri="{FF2B5EF4-FFF2-40B4-BE49-F238E27FC236}">
                <a16:creationId xmlns:a16="http://schemas.microsoft.com/office/drawing/2014/main" id="{CA5D79DE-B0BE-4B55-B4F9-9A4C51264272}"/>
              </a:ext>
            </a:extLst>
          </p:cNvPr>
          <p:cNvSpPr>
            <a:spLocks noGrp="1"/>
          </p:cNvSpPr>
          <p:nvPr>
            <p:ph type="ftr" sz="quarter" idx="11"/>
          </p:nvPr>
        </p:nvSpPr>
        <p:spPr/>
        <p:txBody>
          <a:bodyPr/>
          <a:lstStyle>
            <a:lvl1pPr>
              <a:defRPr/>
            </a:lvl1pPr>
          </a:lstStyle>
          <a:p>
            <a:pPr>
              <a:defRPr/>
            </a:pPr>
            <a:endParaRPr lang="zh-CN" altLang="en-US"/>
          </a:p>
        </p:txBody>
      </p:sp>
      <p:sp>
        <p:nvSpPr>
          <p:cNvPr id="4" name="灯片编号占位符 5">
            <a:extLst>
              <a:ext uri="{FF2B5EF4-FFF2-40B4-BE49-F238E27FC236}">
                <a16:creationId xmlns:a16="http://schemas.microsoft.com/office/drawing/2014/main" id="{485012B7-156F-46AF-90B3-0C307377DDFE}"/>
              </a:ext>
            </a:extLst>
          </p:cNvPr>
          <p:cNvSpPr>
            <a:spLocks noGrp="1"/>
          </p:cNvSpPr>
          <p:nvPr>
            <p:ph type="sldNum" sz="quarter" idx="12"/>
          </p:nvPr>
        </p:nvSpPr>
        <p:spPr/>
        <p:txBody>
          <a:bodyPr/>
          <a:lstStyle>
            <a:lvl1pPr>
              <a:defRPr/>
            </a:lvl1pPr>
          </a:lstStyle>
          <a:p>
            <a:pPr>
              <a:defRPr/>
            </a:pPr>
            <a:fld id="{C81A6989-D176-421E-AE34-0DE25EA52552}" type="slidenum">
              <a:rPr lang="zh-CN" altLang="en-US"/>
              <a:pPr>
                <a:defRPr/>
              </a:pPr>
              <a:t>‹#›</a:t>
            </a:fld>
            <a:endParaRPr lang="zh-CN" altLang="en-US"/>
          </a:p>
        </p:txBody>
      </p:sp>
    </p:spTree>
    <p:extLst>
      <p:ext uri="{BB962C8B-B14F-4D97-AF65-F5344CB8AC3E}">
        <p14:creationId xmlns:p14="http://schemas.microsoft.com/office/powerpoint/2010/main" val="40657449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3">
            <a:extLst>
              <a:ext uri="{FF2B5EF4-FFF2-40B4-BE49-F238E27FC236}">
                <a16:creationId xmlns:a16="http://schemas.microsoft.com/office/drawing/2014/main" id="{08FA4F49-0CA3-493F-8935-13B612DF502B}"/>
              </a:ext>
            </a:extLst>
          </p:cNvPr>
          <p:cNvSpPr>
            <a:spLocks noGrp="1"/>
          </p:cNvSpPr>
          <p:nvPr>
            <p:ph type="dt" sz="half" idx="10"/>
          </p:nvPr>
        </p:nvSpPr>
        <p:spPr/>
        <p:txBody>
          <a:bodyPr/>
          <a:lstStyle>
            <a:lvl1pPr>
              <a:defRPr/>
            </a:lvl1pPr>
          </a:lstStyle>
          <a:p>
            <a:pPr>
              <a:defRPr/>
            </a:pPr>
            <a:fld id="{D08E369C-2389-43A2-9D65-87B77BE10670}" type="datetimeFigureOut">
              <a:rPr lang="zh-CN" altLang="en-US"/>
              <a:pPr>
                <a:defRPr/>
              </a:pPr>
              <a:t>2019/12/1</a:t>
            </a:fld>
            <a:endParaRPr lang="zh-CN" altLang="en-US"/>
          </a:p>
        </p:txBody>
      </p:sp>
      <p:sp>
        <p:nvSpPr>
          <p:cNvPr id="6" name="页脚占位符 4">
            <a:extLst>
              <a:ext uri="{FF2B5EF4-FFF2-40B4-BE49-F238E27FC236}">
                <a16:creationId xmlns:a16="http://schemas.microsoft.com/office/drawing/2014/main" id="{DD900510-F0DD-462A-B08E-15EDD7E3E05C}"/>
              </a:ext>
            </a:extLst>
          </p:cNvPr>
          <p:cNvSpPr>
            <a:spLocks noGrp="1"/>
          </p:cNvSpPr>
          <p:nvPr>
            <p:ph type="ftr" sz="quarter" idx="11"/>
          </p:nvPr>
        </p:nvSpPr>
        <p:spPr/>
        <p:txBody>
          <a:bodyPr/>
          <a:lstStyle>
            <a:lvl1pPr>
              <a:defRPr/>
            </a:lvl1pPr>
          </a:lstStyle>
          <a:p>
            <a:pPr>
              <a:defRPr/>
            </a:pPr>
            <a:endParaRPr lang="zh-CN" altLang="en-US"/>
          </a:p>
        </p:txBody>
      </p:sp>
      <p:sp>
        <p:nvSpPr>
          <p:cNvPr id="7" name="灯片编号占位符 5">
            <a:extLst>
              <a:ext uri="{FF2B5EF4-FFF2-40B4-BE49-F238E27FC236}">
                <a16:creationId xmlns:a16="http://schemas.microsoft.com/office/drawing/2014/main" id="{64C86B31-B0C4-4CCF-B2AD-036770CABAAA}"/>
              </a:ext>
            </a:extLst>
          </p:cNvPr>
          <p:cNvSpPr>
            <a:spLocks noGrp="1"/>
          </p:cNvSpPr>
          <p:nvPr>
            <p:ph type="sldNum" sz="quarter" idx="12"/>
          </p:nvPr>
        </p:nvSpPr>
        <p:spPr/>
        <p:txBody>
          <a:bodyPr/>
          <a:lstStyle>
            <a:lvl1pPr>
              <a:defRPr/>
            </a:lvl1pPr>
          </a:lstStyle>
          <a:p>
            <a:pPr>
              <a:defRPr/>
            </a:pPr>
            <a:fld id="{D9F23255-790E-4101-9BA9-D7BD2E895373}" type="slidenum">
              <a:rPr lang="zh-CN" altLang="en-US"/>
              <a:pPr>
                <a:defRPr/>
              </a:pPr>
              <a:t>‹#›</a:t>
            </a:fld>
            <a:endParaRPr lang="zh-CN" altLang="en-US"/>
          </a:p>
        </p:txBody>
      </p:sp>
    </p:spTree>
    <p:extLst>
      <p:ext uri="{BB962C8B-B14F-4D97-AF65-F5344CB8AC3E}">
        <p14:creationId xmlns:p14="http://schemas.microsoft.com/office/powerpoint/2010/main" val="14551579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3">
            <a:extLst>
              <a:ext uri="{FF2B5EF4-FFF2-40B4-BE49-F238E27FC236}">
                <a16:creationId xmlns:a16="http://schemas.microsoft.com/office/drawing/2014/main" id="{4BAC23A8-0A88-4934-AAB2-071A04122DDB}"/>
              </a:ext>
            </a:extLst>
          </p:cNvPr>
          <p:cNvSpPr>
            <a:spLocks noGrp="1"/>
          </p:cNvSpPr>
          <p:nvPr>
            <p:ph type="dt" sz="half" idx="10"/>
          </p:nvPr>
        </p:nvSpPr>
        <p:spPr/>
        <p:txBody>
          <a:bodyPr/>
          <a:lstStyle>
            <a:lvl1pPr>
              <a:defRPr/>
            </a:lvl1pPr>
          </a:lstStyle>
          <a:p>
            <a:pPr>
              <a:defRPr/>
            </a:pPr>
            <a:fld id="{73CC3845-B8C9-45EC-91ED-4D50493C7EEA}" type="datetimeFigureOut">
              <a:rPr lang="zh-CN" altLang="en-US"/>
              <a:pPr>
                <a:defRPr/>
              </a:pPr>
              <a:t>2019/12/1</a:t>
            </a:fld>
            <a:endParaRPr lang="zh-CN" altLang="en-US"/>
          </a:p>
        </p:txBody>
      </p:sp>
      <p:sp>
        <p:nvSpPr>
          <p:cNvPr id="6" name="页脚占位符 4">
            <a:extLst>
              <a:ext uri="{FF2B5EF4-FFF2-40B4-BE49-F238E27FC236}">
                <a16:creationId xmlns:a16="http://schemas.microsoft.com/office/drawing/2014/main" id="{459B7571-FF76-4F55-B711-E11B854B7A91}"/>
              </a:ext>
            </a:extLst>
          </p:cNvPr>
          <p:cNvSpPr>
            <a:spLocks noGrp="1"/>
          </p:cNvSpPr>
          <p:nvPr>
            <p:ph type="ftr" sz="quarter" idx="11"/>
          </p:nvPr>
        </p:nvSpPr>
        <p:spPr/>
        <p:txBody>
          <a:bodyPr/>
          <a:lstStyle>
            <a:lvl1pPr>
              <a:defRPr/>
            </a:lvl1pPr>
          </a:lstStyle>
          <a:p>
            <a:pPr>
              <a:defRPr/>
            </a:pPr>
            <a:endParaRPr lang="zh-CN" altLang="en-US"/>
          </a:p>
        </p:txBody>
      </p:sp>
      <p:sp>
        <p:nvSpPr>
          <p:cNvPr id="7" name="灯片编号占位符 5">
            <a:extLst>
              <a:ext uri="{FF2B5EF4-FFF2-40B4-BE49-F238E27FC236}">
                <a16:creationId xmlns:a16="http://schemas.microsoft.com/office/drawing/2014/main" id="{7A0576B8-CD00-47E2-BCAC-AE7822B0E2A1}"/>
              </a:ext>
            </a:extLst>
          </p:cNvPr>
          <p:cNvSpPr>
            <a:spLocks noGrp="1"/>
          </p:cNvSpPr>
          <p:nvPr>
            <p:ph type="sldNum" sz="quarter" idx="12"/>
          </p:nvPr>
        </p:nvSpPr>
        <p:spPr/>
        <p:txBody>
          <a:bodyPr/>
          <a:lstStyle>
            <a:lvl1pPr>
              <a:defRPr/>
            </a:lvl1pPr>
          </a:lstStyle>
          <a:p>
            <a:pPr>
              <a:defRPr/>
            </a:pPr>
            <a:fld id="{59D0338A-BDA9-40BC-9BA3-1A7F3E1A4082}" type="slidenum">
              <a:rPr lang="zh-CN" altLang="en-US"/>
              <a:pPr>
                <a:defRPr/>
              </a:pPr>
              <a:t>‹#›</a:t>
            </a:fld>
            <a:endParaRPr lang="zh-CN" altLang="en-US"/>
          </a:p>
        </p:txBody>
      </p:sp>
    </p:spTree>
    <p:extLst>
      <p:ext uri="{BB962C8B-B14F-4D97-AF65-F5344CB8AC3E}">
        <p14:creationId xmlns:p14="http://schemas.microsoft.com/office/powerpoint/2010/main" val="39256087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026" name="标题占位符 1">
            <a:extLst>
              <a:ext uri="{FF2B5EF4-FFF2-40B4-BE49-F238E27FC236}">
                <a16:creationId xmlns:a16="http://schemas.microsoft.com/office/drawing/2014/main" id="{D4A16A72-DD49-4173-882D-F307783B8947}"/>
              </a:ext>
            </a:extLst>
          </p:cNvPr>
          <p:cNvSpPr>
            <a:spLocks noGrp="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CN" altLang="en-US"/>
              <a:t>单击此处编辑母版标题样式</a:t>
            </a:r>
          </a:p>
        </p:txBody>
      </p:sp>
      <p:sp>
        <p:nvSpPr>
          <p:cNvPr id="1027" name="文本占位符 2">
            <a:extLst>
              <a:ext uri="{FF2B5EF4-FFF2-40B4-BE49-F238E27FC236}">
                <a16:creationId xmlns:a16="http://schemas.microsoft.com/office/drawing/2014/main" id="{B28D0A1C-1E4A-4ADD-9154-975A722D2F66}"/>
              </a:ext>
            </a:extLst>
          </p:cNvPr>
          <p:cNvSpPr>
            <a:spLocks noGrp="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a:extLst>
              <a:ext uri="{FF2B5EF4-FFF2-40B4-BE49-F238E27FC236}">
                <a16:creationId xmlns:a16="http://schemas.microsoft.com/office/drawing/2014/main" id="{5E323312-FA91-4910-8AFC-639DD6E7EC9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ea typeface="+mn-ea"/>
              </a:defRPr>
            </a:lvl1pPr>
          </a:lstStyle>
          <a:p>
            <a:pPr>
              <a:defRPr/>
            </a:pPr>
            <a:fld id="{8CFAB8B4-77DC-4813-8187-49CB1B3E275E}" type="datetimeFigureOut">
              <a:rPr lang="zh-CN" altLang="en-US"/>
              <a:pPr>
                <a:defRPr/>
              </a:pPr>
              <a:t>2019/12/1</a:t>
            </a:fld>
            <a:endParaRPr lang="zh-CN" altLang="en-US"/>
          </a:p>
        </p:txBody>
      </p:sp>
      <p:sp>
        <p:nvSpPr>
          <p:cNvPr id="5" name="页脚占位符 4">
            <a:extLst>
              <a:ext uri="{FF2B5EF4-FFF2-40B4-BE49-F238E27FC236}">
                <a16:creationId xmlns:a16="http://schemas.microsoft.com/office/drawing/2014/main" id="{BC0509D5-1471-4B6B-9987-8C37BA5DF1B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ea typeface="+mn-ea"/>
              </a:defRPr>
            </a:lvl1pPr>
          </a:lstStyle>
          <a:p>
            <a:pPr>
              <a:defRPr/>
            </a:pPr>
            <a:endParaRPr lang="zh-CN" altLang="en-US"/>
          </a:p>
        </p:txBody>
      </p:sp>
      <p:sp>
        <p:nvSpPr>
          <p:cNvPr id="6" name="灯片编号占位符 5">
            <a:extLst>
              <a:ext uri="{FF2B5EF4-FFF2-40B4-BE49-F238E27FC236}">
                <a16:creationId xmlns:a16="http://schemas.microsoft.com/office/drawing/2014/main" id="{C41730AF-A789-4BE8-9D83-7B22FC58B1A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a:solidFill>
                  <a:schemeClr val="tx1">
                    <a:tint val="75000"/>
                  </a:schemeClr>
                </a:solidFill>
                <a:latin typeface="+mn-lt"/>
                <a:ea typeface="+mn-ea"/>
              </a:defRPr>
            </a:lvl1pPr>
          </a:lstStyle>
          <a:p>
            <a:pPr>
              <a:defRPr/>
            </a:pPr>
            <a:fld id="{5AB66272-C786-4ECA-A0A6-A5972C4296D1}" type="slidenum">
              <a:rPr lang="zh-CN" altLang="en-US"/>
              <a:pPr>
                <a:defRPr/>
              </a:pPr>
              <a:t>‹#›</a:t>
            </a:fld>
            <a:endParaRPr lang="zh-CN" altLang="en-US"/>
          </a:p>
        </p:txBody>
      </p:sp>
    </p:spTree>
  </p:cSld>
  <p:clrMap bg1="lt1" tx1="dk1" bg2="lt2" tx2="dk2" accent1="accent1" accent2="accent2" accent3="accent3" accent4="accent4" accent5="accent5" accent6="accent6" hlink="hlink" folHlink="folHlink"/>
  <p:sldLayoutIdLst>
    <p:sldLayoutId id="2147483684" r:id="rId1"/>
    <p:sldLayoutId id="2147483685"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宋体" panose="02010600030101010101" pitchFamily="2" charset="-122"/>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宋体" panose="02010600030101010101" pitchFamily="2" charset="-122"/>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宋体" panose="02010600030101010101" pitchFamily="2" charset="-122"/>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宋体" panose="02010600030101010101" pitchFamily="2" charset="-122"/>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ea typeface="宋体" panose="02010600030101010101" pitchFamily="2" charset="-122"/>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ea typeface="宋体" panose="02010600030101010101" pitchFamily="2" charset="-122"/>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ea typeface="宋体" panose="02010600030101010101" pitchFamily="2" charset="-122"/>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ea typeface="宋体" panose="02010600030101010101" pitchFamily="2" charset="-122"/>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Layout" Target="../slideLayouts/slideLayout2.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image" Target="../media/image14.jpe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2.xml"/><Relationship Id="rId5" Type="http://schemas.openxmlformats.org/officeDocument/2006/relationships/image" Target="../media/image21.jpeg"/><Relationship Id="rId4" Type="http://schemas.openxmlformats.org/officeDocument/2006/relationships/image" Target="../media/image20.jpe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25.png"/><Relationship Id="rId5" Type="http://schemas.openxmlformats.org/officeDocument/2006/relationships/image" Target="../media/image24.jpeg"/><Relationship Id="rId4" Type="http://schemas.openxmlformats.org/officeDocument/2006/relationships/image" Target="../media/image23.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Layout" Target="../slideLayouts/slideLayout1.xml"/><Relationship Id="rId5" Type="http://schemas.openxmlformats.org/officeDocument/2006/relationships/image" Target="../media/image10.jpeg"/><Relationship Id="rId4" Type="http://schemas.openxmlformats.org/officeDocument/2006/relationships/image" Target="../media/image9.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9" name="Picture 5" descr="D:\Users\zyf\Desktop\红色三条直折箭头 拷贝.png">
            <a:extLst>
              <a:ext uri="{FF2B5EF4-FFF2-40B4-BE49-F238E27FC236}">
                <a16:creationId xmlns:a16="http://schemas.microsoft.com/office/drawing/2014/main" id="{D4D84367-ED8E-4692-8280-0D1259410F4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35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8" name="Picture 4" descr="D:\Users\zyf\Desktop\背景箭头.png">
            <a:extLst>
              <a:ext uri="{FF2B5EF4-FFF2-40B4-BE49-F238E27FC236}">
                <a16:creationId xmlns:a16="http://schemas.microsoft.com/office/drawing/2014/main" id="{EC685DFF-9BE7-44AC-A3EF-7FFCA66748E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1831" r="20399" b="9270"/>
          <a:stretch>
            <a:fillRect/>
          </a:stretch>
        </p:blipFill>
        <p:spPr bwMode="auto">
          <a:xfrm>
            <a:off x="2573338" y="0"/>
            <a:ext cx="7045325" cy="715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3" descr="D:\Users\zyf\Desktop\箭头.png">
            <a:extLst>
              <a:ext uri="{FF2B5EF4-FFF2-40B4-BE49-F238E27FC236}">
                <a16:creationId xmlns:a16="http://schemas.microsoft.com/office/drawing/2014/main" id="{36B07D66-0DE6-4636-9307-81514A45B22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67050" y="431800"/>
            <a:ext cx="6057900" cy="642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6" descr="D:\Users\zyf\Desktop\红色三条直折箭头 拷贝.png">
            <a:extLst>
              <a:ext uri="{FF2B5EF4-FFF2-40B4-BE49-F238E27FC236}">
                <a16:creationId xmlns:a16="http://schemas.microsoft.com/office/drawing/2014/main" id="{57FA97EC-6806-4CBE-BEBD-0B44F8B01A4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646113"/>
            <a:ext cx="12193588" cy="534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a:extLst>
              <a:ext uri="{FF2B5EF4-FFF2-40B4-BE49-F238E27FC236}">
                <a16:creationId xmlns:a16="http://schemas.microsoft.com/office/drawing/2014/main" id="{16CC0A00-9E1C-484C-91F1-F1A91CD81C8B}"/>
              </a:ext>
            </a:extLst>
          </p:cNvPr>
          <p:cNvSpPr txBox="1"/>
          <p:nvPr/>
        </p:nvSpPr>
        <p:spPr>
          <a:xfrm>
            <a:off x="813945" y="2228671"/>
            <a:ext cx="10564110" cy="1200329"/>
          </a:xfrm>
          <a:prstGeom prst="rect">
            <a:avLst/>
          </a:prstGeom>
          <a:noFill/>
          <a:scene3d>
            <a:camera prst="perspectiveFront" fov="300000"/>
            <a:lightRig rig="threePt" dir="t"/>
          </a:scene3d>
          <a:sp3d extrusionH="247650"/>
        </p:spPr>
        <p:txBody>
          <a:bodyPr wrap="none">
            <a:spAutoFit/>
            <a:sp3d extrusionH="508000">
              <a:bevelT w="50800" h="50800"/>
              <a:extrusionClr>
                <a:srgbClr val="DDB34E"/>
              </a:extrusionClr>
            </a:sp3d>
          </a:bodyPr>
          <a:lstStyle/>
          <a:p>
            <a:pPr eaLnBrk="1" fontAlgn="auto" hangingPunct="1">
              <a:spcBef>
                <a:spcPts val="0"/>
              </a:spcBef>
              <a:spcAft>
                <a:spcPts val="0"/>
              </a:spcAft>
              <a:defRPr/>
            </a:pPr>
            <a:r>
              <a:rPr lang="en-US" altLang="zh-CN" sz="7200" b="1" dirty="0">
                <a:solidFill>
                  <a:srgbClr val="DDB34E"/>
                </a:solidFill>
                <a:latin typeface="Aharoni" pitchFamily="2" charset="-79"/>
                <a:ea typeface="+mn-ea"/>
                <a:cs typeface="Aharoni" pitchFamily="2" charset="-79"/>
              </a:rPr>
              <a:t>TITLE OF PRESENTATION</a:t>
            </a:r>
            <a:endParaRPr lang="zh-CN" altLang="en-US" sz="7200" b="1" dirty="0">
              <a:solidFill>
                <a:srgbClr val="DDB34E"/>
              </a:solidFill>
              <a:latin typeface="Aharoni" pitchFamily="2" charset="-79"/>
              <a:ea typeface="+mn-ea"/>
              <a:cs typeface="Aharoni" pitchFamily="2" charset="-79"/>
            </a:endParaRPr>
          </a:p>
        </p:txBody>
      </p:sp>
      <p:sp>
        <p:nvSpPr>
          <p:cNvPr id="6" name="TextBox 5">
            <a:extLst>
              <a:ext uri="{FF2B5EF4-FFF2-40B4-BE49-F238E27FC236}">
                <a16:creationId xmlns:a16="http://schemas.microsoft.com/office/drawing/2014/main" id="{59E593D8-64C4-4F0D-AA77-F8B72C557381}"/>
              </a:ext>
            </a:extLst>
          </p:cNvPr>
          <p:cNvSpPr txBox="1"/>
          <p:nvPr/>
        </p:nvSpPr>
        <p:spPr>
          <a:xfrm>
            <a:off x="3067050" y="3221154"/>
            <a:ext cx="6269665" cy="707886"/>
          </a:xfrm>
          <a:prstGeom prst="rect">
            <a:avLst/>
          </a:prstGeom>
          <a:noFill/>
          <a:scene3d>
            <a:camera prst="perspectiveFront" fov="300000"/>
            <a:lightRig rig="threePt" dir="t"/>
          </a:scene3d>
          <a:sp3d extrusionH="247650"/>
        </p:spPr>
        <p:txBody>
          <a:bodyPr wrap="none">
            <a:spAutoFit/>
            <a:sp3d extrusionH="508000">
              <a:bevelT w="50800" h="50800"/>
              <a:extrusionClr>
                <a:srgbClr val="DDB34E"/>
              </a:extrusionClr>
            </a:sp3d>
          </a:bodyPr>
          <a:lstStyle/>
          <a:p>
            <a:pPr eaLnBrk="1" fontAlgn="auto" hangingPunct="1">
              <a:spcBef>
                <a:spcPts val="0"/>
              </a:spcBef>
              <a:spcAft>
                <a:spcPts val="0"/>
              </a:spcAft>
              <a:defRPr/>
            </a:pPr>
            <a:r>
              <a:rPr lang="en-US" altLang="zh-CN" sz="4000" b="1" dirty="0">
                <a:solidFill>
                  <a:srgbClr val="DDB34E"/>
                </a:solidFill>
                <a:latin typeface="Aharoni" pitchFamily="2" charset="-79"/>
                <a:ea typeface="+mn-ea"/>
                <a:cs typeface="Aharoni" pitchFamily="2" charset="-79"/>
              </a:rPr>
              <a:t>PRESENTATION  SUBTITLE</a:t>
            </a:r>
            <a:endParaRPr lang="zh-CN" altLang="en-US" sz="4000" b="1" dirty="0">
              <a:solidFill>
                <a:srgbClr val="DDB34E"/>
              </a:solidFill>
              <a:latin typeface="Aharoni" pitchFamily="2" charset="-79"/>
              <a:ea typeface="+mn-ea"/>
              <a:cs typeface="Aharoni" pitchFamily="2" charset="-79"/>
            </a:endParaRPr>
          </a:p>
        </p:txBody>
      </p:sp>
    </p:spTree>
  </p:cSld>
  <p:clrMapOvr>
    <a:masterClrMapping/>
  </p:clrMapOvr>
  <p:transition spd="slow">
    <p:blinds dir="vert"/>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4" fill="hold" nodeType="withEffect">
                                  <p:stCondLst>
                                    <p:cond delay="250"/>
                                  </p:stCondLst>
                                  <p:childTnLst>
                                    <p:set>
                                      <p:cBhvr>
                                        <p:cTn id="6" dur="1" fill="hold">
                                          <p:stCondLst>
                                            <p:cond delay="0"/>
                                          </p:stCondLst>
                                        </p:cTn>
                                        <p:tgtEl>
                                          <p:spTgt spid="1027"/>
                                        </p:tgtEl>
                                        <p:attrNameLst>
                                          <p:attrName>style.visibility</p:attrName>
                                        </p:attrNameLst>
                                      </p:cBhvr>
                                      <p:to>
                                        <p:strVal val="visible"/>
                                      </p:to>
                                    </p:set>
                                    <p:animEffect transition="in" filter="wipe(down)">
                                      <p:cBhvr>
                                        <p:cTn id="7" dur="500"/>
                                        <p:tgtEl>
                                          <p:spTgt spid="1027"/>
                                        </p:tgtEl>
                                      </p:cBhvr>
                                    </p:animEffect>
                                  </p:childTnLst>
                                </p:cTn>
                              </p:par>
                              <p:par>
                                <p:cTn id="8" presetID="22" presetClass="entr" presetSubtype="4" fill="hold" nodeType="withEffect">
                                  <p:stCondLst>
                                    <p:cond delay="250"/>
                                  </p:stCondLst>
                                  <p:childTnLst>
                                    <p:set>
                                      <p:cBhvr>
                                        <p:cTn id="9" dur="1" fill="hold">
                                          <p:stCondLst>
                                            <p:cond delay="0"/>
                                          </p:stCondLst>
                                        </p:cTn>
                                        <p:tgtEl>
                                          <p:spTgt spid="1029"/>
                                        </p:tgtEl>
                                        <p:attrNameLst>
                                          <p:attrName>style.visibility</p:attrName>
                                        </p:attrNameLst>
                                      </p:cBhvr>
                                      <p:to>
                                        <p:strVal val="visible"/>
                                      </p:to>
                                    </p:set>
                                    <p:animEffect transition="in" filter="wipe(down)">
                                      <p:cBhvr>
                                        <p:cTn id="10" dur="500"/>
                                        <p:tgtEl>
                                          <p:spTgt spid="1029"/>
                                        </p:tgtEl>
                                      </p:cBhvr>
                                    </p:animEffect>
                                  </p:childTnLst>
                                </p:cTn>
                              </p:par>
                            </p:childTnLst>
                          </p:cTn>
                        </p:par>
                        <p:par>
                          <p:cTn id="11" fill="hold" nodeType="afterGroup">
                            <p:stCondLst>
                              <p:cond delay="750"/>
                            </p:stCondLst>
                            <p:childTnLst>
                              <p:par>
                                <p:cTn id="12" presetID="22" presetClass="entr" presetSubtype="4" fill="hold" nodeType="afterEffect">
                                  <p:stCondLst>
                                    <p:cond delay="0"/>
                                  </p:stCondLst>
                                  <p:childTnLst>
                                    <p:set>
                                      <p:cBhvr>
                                        <p:cTn id="13" dur="1" fill="hold">
                                          <p:stCondLst>
                                            <p:cond delay="0"/>
                                          </p:stCondLst>
                                        </p:cTn>
                                        <p:tgtEl>
                                          <p:spTgt spid="1028"/>
                                        </p:tgtEl>
                                        <p:attrNameLst>
                                          <p:attrName>style.visibility</p:attrName>
                                        </p:attrNameLst>
                                      </p:cBhvr>
                                      <p:to>
                                        <p:strVal val="visible"/>
                                      </p:to>
                                    </p:set>
                                    <p:animEffect transition="in" filter="wipe(down)">
                                      <p:cBhvr>
                                        <p:cTn id="14" dur="500"/>
                                        <p:tgtEl>
                                          <p:spTgt spid="1028"/>
                                        </p:tgtEl>
                                      </p:cBhvr>
                                    </p:animEffect>
                                  </p:childTnLst>
                                </p:cTn>
                              </p:par>
                            </p:childTnLst>
                          </p:cTn>
                        </p:par>
                        <p:par>
                          <p:cTn id="15" fill="hold" nodeType="afterGroup">
                            <p:stCondLst>
                              <p:cond delay="1250"/>
                            </p:stCondLst>
                            <p:childTnLst>
                              <p:par>
                                <p:cTn id="16" presetID="22" presetClass="entr" presetSubtype="8" fill="hold" nodeType="afterEffect">
                                  <p:stCondLst>
                                    <p:cond delay="0"/>
                                  </p:stCondLst>
                                  <p:childTnLst>
                                    <p:set>
                                      <p:cBhvr>
                                        <p:cTn id="17" dur="1" fill="hold">
                                          <p:stCondLst>
                                            <p:cond delay="0"/>
                                          </p:stCondLst>
                                        </p:cTn>
                                        <p:tgtEl>
                                          <p:spTgt spid="1030"/>
                                        </p:tgtEl>
                                        <p:attrNameLst>
                                          <p:attrName>style.visibility</p:attrName>
                                        </p:attrNameLst>
                                      </p:cBhvr>
                                      <p:to>
                                        <p:strVal val="visible"/>
                                      </p:to>
                                    </p:set>
                                    <p:animEffect transition="in" filter="wipe(left)">
                                      <p:cBhvr>
                                        <p:cTn id="18" dur="500"/>
                                        <p:tgtEl>
                                          <p:spTgt spid="1030"/>
                                        </p:tgtEl>
                                      </p:cBhvr>
                                    </p:animEffect>
                                  </p:childTnLst>
                                </p:cTn>
                              </p:par>
                            </p:childTnLst>
                          </p:cTn>
                        </p:par>
                        <p:par>
                          <p:cTn id="19" fill="hold" nodeType="afterGroup">
                            <p:stCondLst>
                              <p:cond delay="1750"/>
                            </p:stCondLst>
                            <p:childTnLst>
                              <p:par>
                                <p:cTn id="20" presetID="10" presetClass="entr" presetSubtype="0" fill="hold" nodeType="after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par>
                          <p:cTn id="23" fill="hold" nodeType="afterGroup">
                            <p:stCondLst>
                              <p:cond delay="2250"/>
                            </p:stCondLst>
                            <p:childTnLst>
                              <p:par>
                                <p:cTn id="24" presetID="10" presetClass="entr" presetSubtype="0" fill="hold" nodeType="afterEffect">
                                  <p:stCondLst>
                                    <p:cond delay="0"/>
                                  </p:stCondLst>
                                  <p:childTnLst>
                                    <p:set>
                                      <p:cBhvr>
                                        <p:cTn id="25" dur="1" fill="hold">
                                          <p:stCondLst>
                                            <p:cond delay="0"/>
                                          </p:stCondLst>
                                        </p:cTn>
                                        <p:tgtEl>
                                          <p:spTgt spid="6"/>
                                        </p:tgtEl>
                                        <p:attrNameLst>
                                          <p:attrName>style.visibility</p:attrName>
                                        </p:attrNameLst>
                                      </p:cBhvr>
                                      <p:to>
                                        <p:strVal val="visible"/>
                                      </p:to>
                                    </p:set>
                                    <p:animEffect transition="in" filter="fade">
                                      <p:cBhvr>
                                        <p:cTn id="2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文本框 56">
            <a:extLst>
              <a:ext uri="{FF2B5EF4-FFF2-40B4-BE49-F238E27FC236}">
                <a16:creationId xmlns:a16="http://schemas.microsoft.com/office/drawing/2014/main" id="{A3ED3D04-3F19-4693-B87B-709754913BF2}"/>
              </a:ext>
            </a:extLst>
          </p:cNvPr>
          <p:cNvSpPr txBox="1">
            <a:spLocks noChangeArrowheads="1"/>
          </p:cNvSpPr>
          <p:nvPr/>
        </p:nvSpPr>
        <p:spPr bwMode="auto">
          <a:xfrm>
            <a:off x="1154113" y="566738"/>
            <a:ext cx="509587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00000"/>
              </a:lnSpc>
              <a:spcBef>
                <a:spcPct val="0"/>
              </a:spcBef>
              <a:buFontTx/>
              <a:buNone/>
            </a:pPr>
            <a:r>
              <a:rPr lang="en-US" altLang="zh-CN" sz="3200" b="1">
                <a:solidFill>
                  <a:srgbClr val="C20F2A"/>
                </a:solidFill>
                <a:latin typeface="Agency FB" panose="020B0503020202020204" pitchFamily="34" charset="0"/>
              </a:rPr>
              <a:t>CLICK TO ADD YOUR TITLE IN HERE</a:t>
            </a:r>
          </a:p>
        </p:txBody>
      </p:sp>
      <p:grpSp>
        <p:nvGrpSpPr>
          <p:cNvPr id="21" name="组合 20">
            <a:extLst>
              <a:ext uri="{FF2B5EF4-FFF2-40B4-BE49-F238E27FC236}">
                <a16:creationId xmlns:a16="http://schemas.microsoft.com/office/drawing/2014/main" id="{DD3959FC-AF94-4C86-8B4B-5FF164B70F20}"/>
              </a:ext>
            </a:extLst>
          </p:cNvPr>
          <p:cNvGrpSpPr>
            <a:grpSpLocks/>
          </p:cNvGrpSpPr>
          <p:nvPr/>
        </p:nvGrpSpPr>
        <p:grpSpPr bwMode="auto">
          <a:xfrm>
            <a:off x="1725613" y="1971675"/>
            <a:ext cx="2314575" cy="2314575"/>
            <a:chOff x="1724832" y="1971675"/>
            <a:chExt cx="2314575" cy="2314575"/>
          </a:xfrm>
        </p:grpSpPr>
        <p:sp>
          <p:nvSpPr>
            <p:cNvPr id="2" name="椭圆 1">
              <a:extLst>
                <a:ext uri="{FF2B5EF4-FFF2-40B4-BE49-F238E27FC236}">
                  <a16:creationId xmlns:a16="http://schemas.microsoft.com/office/drawing/2014/main" id="{BC6A500C-62F8-4482-A921-6ECD6BAD037B}"/>
                </a:ext>
              </a:extLst>
            </p:cNvPr>
            <p:cNvSpPr/>
            <p:nvPr/>
          </p:nvSpPr>
          <p:spPr>
            <a:xfrm>
              <a:off x="1724832" y="1971675"/>
              <a:ext cx="2314575" cy="2314575"/>
            </a:xfrm>
            <a:prstGeom prst="ellipse">
              <a:avLst/>
            </a:prstGeom>
            <a:noFill/>
            <a:ln w="3175">
              <a:solidFill>
                <a:srgbClr val="C20F2A"/>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6" name="椭圆 5">
              <a:extLst>
                <a:ext uri="{FF2B5EF4-FFF2-40B4-BE49-F238E27FC236}">
                  <a16:creationId xmlns:a16="http://schemas.microsoft.com/office/drawing/2014/main" id="{3E7B35B5-E53C-4385-B4ED-276FE1E41323}"/>
                </a:ext>
              </a:extLst>
            </p:cNvPr>
            <p:cNvSpPr/>
            <p:nvPr/>
          </p:nvSpPr>
          <p:spPr>
            <a:xfrm>
              <a:off x="2197907" y="2444750"/>
              <a:ext cx="1368425" cy="1368425"/>
            </a:xfrm>
            <a:prstGeom prst="ellipse">
              <a:avLst/>
            </a:prstGeom>
            <a:solidFill>
              <a:srgbClr val="C20F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grpSp>
      <p:sp>
        <p:nvSpPr>
          <p:cNvPr id="11" name="Freeform 8">
            <a:extLst>
              <a:ext uri="{FF2B5EF4-FFF2-40B4-BE49-F238E27FC236}">
                <a16:creationId xmlns:a16="http://schemas.microsoft.com/office/drawing/2014/main" id="{5A13F3A3-C038-4E02-B28C-9FCE430770A1}"/>
              </a:ext>
            </a:extLst>
          </p:cNvPr>
          <p:cNvSpPr>
            <a:spLocks noEditPoints="1"/>
          </p:cNvSpPr>
          <p:nvPr/>
        </p:nvSpPr>
        <p:spPr bwMode="auto">
          <a:xfrm>
            <a:off x="2603500" y="2779713"/>
            <a:ext cx="557213" cy="698500"/>
          </a:xfrm>
          <a:custGeom>
            <a:avLst/>
            <a:gdLst>
              <a:gd name="T0" fmla="*/ 700631054 w 156"/>
              <a:gd name="T1" fmla="*/ 1245910173 h 196"/>
              <a:gd name="T2" fmla="*/ 828018518 w 156"/>
              <a:gd name="T3" fmla="*/ 1436611365 h 196"/>
              <a:gd name="T4" fmla="*/ 866234043 w 156"/>
              <a:gd name="T5" fmla="*/ 1525605967 h 196"/>
              <a:gd name="T6" fmla="*/ 955405982 w 156"/>
              <a:gd name="T7" fmla="*/ 1563745492 h 196"/>
              <a:gd name="T8" fmla="*/ 1044577922 w 156"/>
              <a:gd name="T9" fmla="*/ 1525605967 h 196"/>
              <a:gd name="T10" fmla="*/ 1082793447 w 156"/>
              <a:gd name="T11" fmla="*/ 1436611365 h 196"/>
              <a:gd name="T12" fmla="*/ 1210180911 w 156"/>
              <a:gd name="T13" fmla="*/ 1245910173 h 196"/>
              <a:gd name="T14" fmla="*/ 1197443593 w 156"/>
              <a:gd name="T15" fmla="*/ 1500178429 h 196"/>
              <a:gd name="T16" fmla="*/ 1133749861 w 156"/>
              <a:gd name="T17" fmla="*/ 1614597005 h 196"/>
              <a:gd name="T18" fmla="*/ 1184706276 w 156"/>
              <a:gd name="T19" fmla="*/ 1652736531 h 196"/>
              <a:gd name="T20" fmla="*/ 1019099714 w 156"/>
              <a:gd name="T21" fmla="*/ 1767158671 h 196"/>
              <a:gd name="T22" fmla="*/ 891712250 w 156"/>
              <a:gd name="T23" fmla="*/ 1894292798 h 196"/>
              <a:gd name="T24" fmla="*/ 726109261 w 156"/>
              <a:gd name="T25" fmla="*/ 1767158671 h 196"/>
              <a:gd name="T26" fmla="*/ 828018518 w 156"/>
              <a:gd name="T27" fmla="*/ 1652736531 h 196"/>
              <a:gd name="T28" fmla="*/ 726109261 w 156"/>
              <a:gd name="T29" fmla="*/ 1563745492 h 196"/>
              <a:gd name="T30" fmla="*/ 700631054 w 156"/>
              <a:gd name="T31" fmla="*/ 1436611365 h 196"/>
              <a:gd name="T32" fmla="*/ 1719734340 w 156"/>
              <a:gd name="T33" fmla="*/ 686522151 h 196"/>
              <a:gd name="T34" fmla="*/ 1949031061 w 156"/>
              <a:gd name="T35" fmla="*/ 851795804 h 196"/>
              <a:gd name="T36" fmla="*/ 1859859122 w 156"/>
              <a:gd name="T37" fmla="*/ 889935329 h 196"/>
              <a:gd name="T38" fmla="*/ 1464955840 w 156"/>
              <a:gd name="T39" fmla="*/ 775516753 h 196"/>
              <a:gd name="T40" fmla="*/ 1859859122 w 156"/>
              <a:gd name="T41" fmla="*/ 1640024543 h 196"/>
              <a:gd name="T42" fmla="*/ 955405982 w 156"/>
              <a:gd name="T43" fmla="*/ 2147483646 h 196"/>
              <a:gd name="T44" fmla="*/ 50956414 w 156"/>
              <a:gd name="T45" fmla="*/ 1640024543 h 196"/>
              <a:gd name="T46" fmla="*/ 420377918 w 156"/>
              <a:gd name="T47" fmla="*/ 813656278 h 196"/>
              <a:gd name="T48" fmla="*/ 433118807 w 156"/>
              <a:gd name="T49" fmla="*/ 661094612 h 196"/>
              <a:gd name="T50" fmla="*/ 484071650 w 156"/>
              <a:gd name="T51" fmla="*/ 661094612 h 196"/>
              <a:gd name="T52" fmla="*/ 433118807 w 156"/>
              <a:gd name="T53" fmla="*/ 25427538 h 196"/>
              <a:gd name="T54" fmla="*/ 687893736 w 156"/>
              <a:gd name="T55" fmla="*/ 88994602 h 196"/>
              <a:gd name="T56" fmla="*/ 929927775 w 156"/>
              <a:gd name="T57" fmla="*/ 0 h 196"/>
              <a:gd name="T58" fmla="*/ 1401262107 w 156"/>
              <a:gd name="T59" fmla="*/ 12711987 h 196"/>
              <a:gd name="T60" fmla="*/ 1592343304 w 156"/>
              <a:gd name="T61" fmla="*/ 317835319 h 196"/>
              <a:gd name="T62" fmla="*/ 1503174936 w 156"/>
              <a:gd name="T63" fmla="*/ 622955087 h 196"/>
              <a:gd name="T64" fmla="*/ 1974509269 w 156"/>
              <a:gd name="T65" fmla="*/ 470393421 h 196"/>
              <a:gd name="T66" fmla="*/ 585984479 w 156"/>
              <a:gd name="T67" fmla="*/ 648382625 h 196"/>
              <a:gd name="T68" fmla="*/ 1337568375 w 156"/>
              <a:gd name="T69" fmla="*/ 622955087 h 196"/>
              <a:gd name="T70" fmla="*/ 1439481204 w 156"/>
              <a:gd name="T71" fmla="*/ 127134128 h 196"/>
              <a:gd name="T72" fmla="*/ 1299352850 w 156"/>
              <a:gd name="T73" fmla="*/ 177985640 h 196"/>
              <a:gd name="T74" fmla="*/ 1121012543 w 156"/>
              <a:gd name="T75" fmla="*/ 190701191 h 196"/>
              <a:gd name="T76" fmla="*/ 917190457 w 156"/>
              <a:gd name="T77" fmla="*/ 101706589 h 196"/>
              <a:gd name="T78" fmla="*/ 675152846 w 156"/>
              <a:gd name="T79" fmla="*/ 228840717 h 196"/>
              <a:gd name="T80" fmla="*/ 522290747 w 156"/>
              <a:gd name="T81" fmla="*/ 114418577 h 196"/>
              <a:gd name="T82" fmla="*/ 420377918 w 156"/>
              <a:gd name="T83" fmla="*/ 266980242 h 196"/>
              <a:gd name="T84" fmla="*/ 585984479 w 156"/>
              <a:gd name="T85" fmla="*/ 648382625 h 196"/>
              <a:gd name="T86" fmla="*/ 522290747 w 156"/>
              <a:gd name="T87" fmla="*/ 813656278 h 196"/>
              <a:gd name="T88" fmla="*/ 216559404 w 156"/>
              <a:gd name="T89" fmla="*/ 1538317954 h 196"/>
              <a:gd name="T90" fmla="*/ 101909257 w 156"/>
              <a:gd name="T91" fmla="*/ 1843437722 h 196"/>
              <a:gd name="T92" fmla="*/ 1808902708 w 156"/>
              <a:gd name="T93" fmla="*/ 1843437722 h 196"/>
              <a:gd name="T94" fmla="*/ 1694256133 w 156"/>
              <a:gd name="T95" fmla="*/ 1538317954 h 196"/>
              <a:gd name="T96" fmla="*/ 1350309265 w 156"/>
              <a:gd name="T97" fmla="*/ 775516753 h 19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56" h="196">
                <a:moveTo>
                  <a:pt x="55" y="113"/>
                </a:moveTo>
                <a:cubicBezTo>
                  <a:pt x="55" y="98"/>
                  <a:pt x="55" y="98"/>
                  <a:pt x="55" y="98"/>
                </a:cubicBezTo>
                <a:cubicBezTo>
                  <a:pt x="65" y="98"/>
                  <a:pt x="65" y="98"/>
                  <a:pt x="65" y="98"/>
                </a:cubicBezTo>
                <a:cubicBezTo>
                  <a:pt x="65" y="113"/>
                  <a:pt x="65" y="113"/>
                  <a:pt x="65" y="113"/>
                </a:cubicBezTo>
                <a:cubicBezTo>
                  <a:pt x="65" y="115"/>
                  <a:pt x="65" y="116"/>
                  <a:pt x="66" y="117"/>
                </a:cubicBezTo>
                <a:cubicBezTo>
                  <a:pt x="66" y="118"/>
                  <a:pt x="67" y="119"/>
                  <a:pt x="68" y="120"/>
                </a:cubicBezTo>
                <a:cubicBezTo>
                  <a:pt x="69" y="121"/>
                  <a:pt x="70" y="122"/>
                  <a:pt x="71" y="123"/>
                </a:cubicBezTo>
                <a:cubicBezTo>
                  <a:pt x="72" y="123"/>
                  <a:pt x="74" y="123"/>
                  <a:pt x="75" y="123"/>
                </a:cubicBezTo>
                <a:cubicBezTo>
                  <a:pt x="76" y="123"/>
                  <a:pt x="78" y="123"/>
                  <a:pt x="79" y="123"/>
                </a:cubicBezTo>
                <a:cubicBezTo>
                  <a:pt x="80" y="122"/>
                  <a:pt x="81" y="121"/>
                  <a:pt x="82" y="120"/>
                </a:cubicBezTo>
                <a:cubicBezTo>
                  <a:pt x="83" y="119"/>
                  <a:pt x="84" y="118"/>
                  <a:pt x="84" y="117"/>
                </a:cubicBezTo>
                <a:cubicBezTo>
                  <a:pt x="85" y="116"/>
                  <a:pt x="85" y="115"/>
                  <a:pt x="85" y="113"/>
                </a:cubicBezTo>
                <a:cubicBezTo>
                  <a:pt x="85" y="98"/>
                  <a:pt x="85" y="98"/>
                  <a:pt x="85" y="98"/>
                </a:cubicBezTo>
                <a:cubicBezTo>
                  <a:pt x="95" y="98"/>
                  <a:pt x="95" y="98"/>
                  <a:pt x="95" y="98"/>
                </a:cubicBezTo>
                <a:cubicBezTo>
                  <a:pt x="95" y="113"/>
                  <a:pt x="95" y="113"/>
                  <a:pt x="95" y="113"/>
                </a:cubicBezTo>
                <a:cubicBezTo>
                  <a:pt x="95" y="115"/>
                  <a:pt x="95" y="117"/>
                  <a:pt x="94" y="118"/>
                </a:cubicBezTo>
                <a:cubicBezTo>
                  <a:pt x="94" y="120"/>
                  <a:pt x="93" y="122"/>
                  <a:pt x="92" y="123"/>
                </a:cubicBezTo>
                <a:cubicBezTo>
                  <a:pt x="92" y="125"/>
                  <a:pt x="90" y="126"/>
                  <a:pt x="89" y="127"/>
                </a:cubicBezTo>
                <a:cubicBezTo>
                  <a:pt x="88" y="128"/>
                  <a:pt x="87" y="129"/>
                  <a:pt x="85" y="130"/>
                </a:cubicBezTo>
                <a:cubicBezTo>
                  <a:pt x="93" y="130"/>
                  <a:pt x="93" y="130"/>
                  <a:pt x="93" y="130"/>
                </a:cubicBezTo>
                <a:cubicBezTo>
                  <a:pt x="93" y="139"/>
                  <a:pt x="93" y="139"/>
                  <a:pt x="93" y="139"/>
                </a:cubicBezTo>
                <a:cubicBezTo>
                  <a:pt x="80" y="139"/>
                  <a:pt x="80" y="139"/>
                  <a:pt x="80" y="139"/>
                </a:cubicBezTo>
                <a:cubicBezTo>
                  <a:pt x="80" y="149"/>
                  <a:pt x="80" y="149"/>
                  <a:pt x="80" y="149"/>
                </a:cubicBezTo>
                <a:cubicBezTo>
                  <a:pt x="70" y="149"/>
                  <a:pt x="70" y="149"/>
                  <a:pt x="70" y="149"/>
                </a:cubicBezTo>
                <a:cubicBezTo>
                  <a:pt x="70" y="139"/>
                  <a:pt x="70" y="139"/>
                  <a:pt x="70" y="139"/>
                </a:cubicBezTo>
                <a:cubicBezTo>
                  <a:pt x="57" y="139"/>
                  <a:pt x="57" y="139"/>
                  <a:pt x="57" y="139"/>
                </a:cubicBezTo>
                <a:cubicBezTo>
                  <a:pt x="57" y="130"/>
                  <a:pt x="57" y="130"/>
                  <a:pt x="57" y="130"/>
                </a:cubicBezTo>
                <a:cubicBezTo>
                  <a:pt x="65" y="130"/>
                  <a:pt x="65" y="130"/>
                  <a:pt x="65" y="130"/>
                </a:cubicBezTo>
                <a:cubicBezTo>
                  <a:pt x="63" y="129"/>
                  <a:pt x="62" y="128"/>
                  <a:pt x="60" y="127"/>
                </a:cubicBezTo>
                <a:cubicBezTo>
                  <a:pt x="59" y="126"/>
                  <a:pt x="58" y="124"/>
                  <a:pt x="57" y="123"/>
                </a:cubicBezTo>
                <a:cubicBezTo>
                  <a:pt x="56" y="121"/>
                  <a:pt x="56" y="120"/>
                  <a:pt x="55" y="118"/>
                </a:cubicBezTo>
                <a:cubicBezTo>
                  <a:pt x="55" y="117"/>
                  <a:pt x="55" y="115"/>
                  <a:pt x="55" y="113"/>
                </a:cubicBezTo>
                <a:close/>
                <a:moveTo>
                  <a:pt x="152" y="45"/>
                </a:moveTo>
                <a:cubicBezTo>
                  <a:pt x="135" y="54"/>
                  <a:pt x="135" y="54"/>
                  <a:pt x="135" y="54"/>
                </a:cubicBezTo>
                <a:cubicBezTo>
                  <a:pt x="150" y="59"/>
                  <a:pt x="150" y="59"/>
                  <a:pt x="150" y="59"/>
                </a:cubicBezTo>
                <a:cubicBezTo>
                  <a:pt x="153" y="60"/>
                  <a:pt x="155" y="63"/>
                  <a:pt x="153" y="67"/>
                </a:cubicBezTo>
                <a:cubicBezTo>
                  <a:pt x="153" y="69"/>
                  <a:pt x="150" y="71"/>
                  <a:pt x="148" y="71"/>
                </a:cubicBezTo>
                <a:cubicBezTo>
                  <a:pt x="147" y="71"/>
                  <a:pt x="146" y="71"/>
                  <a:pt x="146" y="70"/>
                </a:cubicBezTo>
                <a:cubicBezTo>
                  <a:pt x="118" y="61"/>
                  <a:pt x="118" y="61"/>
                  <a:pt x="118" y="61"/>
                </a:cubicBezTo>
                <a:cubicBezTo>
                  <a:pt x="115" y="61"/>
                  <a:pt x="115" y="61"/>
                  <a:pt x="115" y="61"/>
                </a:cubicBezTo>
                <a:cubicBezTo>
                  <a:pt x="146" y="129"/>
                  <a:pt x="146" y="129"/>
                  <a:pt x="146" y="129"/>
                </a:cubicBezTo>
                <a:cubicBezTo>
                  <a:pt x="146" y="129"/>
                  <a:pt x="146" y="129"/>
                  <a:pt x="146" y="129"/>
                </a:cubicBezTo>
                <a:cubicBezTo>
                  <a:pt x="149" y="134"/>
                  <a:pt x="150" y="140"/>
                  <a:pt x="150" y="145"/>
                </a:cubicBezTo>
                <a:cubicBezTo>
                  <a:pt x="150" y="173"/>
                  <a:pt x="116" y="196"/>
                  <a:pt x="75" y="196"/>
                </a:cubicBezTo>
                <a:cubicBezTo>
                  <a:pt x="33" y="196"/>
                  <a:pt x="0" y="173"/>
                  <a:pt x="0" y="145"/>
                </a:cubicBezTo>
                <a:cubicBezTo>
                  <a:pt x="0" y="140"/>
                  <a:pt x="1" y="134"/>
                  <a:pt x="4" y="129"/>
                </a:cubicBezTo>
                <a:cubicBezTo>
                  <a:pt x="4" y="129"/>
                  <a:pt x="4" y="129"/>
                  <a:pt x="4" y="129"/>
                </a:cubicBezTo>
                <a:cubicBezTo>
                  <a:pt x="33" y="64"/>
                  <a:pt x="33" y="64"/>
                  <a:pt x="33" y="64"/>
                </a:cubicBezTo>
                <a:cubicBezTo>
                  <a:pt x="30" y="63"/>
                  <a:pt x="28" y="61"/>
                  <a:pt x="28" y="58"/>
                </a:cubicBezTo>
                <a:cubicBezTo>
                  <a:pt x="28" y="55"/>
                  <a:pt x="30" y="52"/>
                  <a:pt x="34" y="52"/>
                </a:cubicBezTo>
                <a:cubicBezTo>
                  <a:pt x="38" y="52"/>
                  <a:pt x="38" y="52"/>
                  <a:pt x="38" y="52"/>
                </a:cubicBezTo>
                <a:cubicBezTo>
                  <a:pt x="38" y="52"/>
                  <a:pt x="38" y="52"/>
                  <a:pt x="38" y="52"/>
                </a:cubicBezTo>
                <a:cubicBezTo>
                  <a:pt x="26" y="25"/>
                  <a:pt x="26" y="25"/>
                  <a:pt x="26" y="25"/>
                </a:cubicBezTo>
                <a:cubicBezTo>
                  <a:pt x="22" y="16"/>
                  <a:pt x="26" y="6"/>
                  <a:pt x="34" y="2"/>
                </a:cubicBezTo>
                <a:cubicBezTo>
                  <a:pt x="36" y="1"/>
                  <a:pt x="39" y="1"/>
                  <a:pt x="41" y="1"/>
                </a:cubicBezTo>
                <a:cubicBezTo>
                  <a:pt x="46" y="1"/>
                  <a:pt x="51" y="3"/>
                  <a:pt x="54" y="7"/>
                </a:cubicBezTo>
                <a:cubicBezTo>
                  <a:pt x="58" y="3"/>
                  <a:pt x="65" y="0"/>
                  <a:pt x="72" y="0"/>
                </a:cubicBezTo>
                <a:cubicBezTo>
                  <a:pt x="72" y="0"/>
                  <a:pt x="73" y="0"/>
                  <a:pt x="73" y="0"/>
                </a:cubicBezTo>
                <a:cubicBezTo>
                  <a:pt x="83" y="0"/>
                  <a:pt x="91" y="4"/>
                  <a:pt x="95" y="11"/>
                </a:cubicBezTo>
                <a:cubicBezTo>
                  <a:pt x="98" y="5"/>
                  <a:pt x="103" y="1"/>
                  <a:pt x="110" y="1"/>
                </a:cubicBezTo>
                <a:cubicBezTo>
                  <a:pt x="112" y="1"/>
                  <a:pt x="114" y="2"/>
                  <a:pt x="116" y="3"/>
                </a:cubicBezTo>
                <a:cubicBezTo>
                  <a:pt x="125" y="7"/>
                  <a:pt x="129" y="17"/>
                  <a:pt x="125" y="25"/>
                </a:cubicBezTo>
                <a:cubicBezTo>
                  <a:pt x="114" y="49"/>
                  <a:pt x="114" y="49"/>
                  <a:pt x="114" y="49"/>
                </a:cubicBezTo>
                <a:cubicBezTo>
                  <a:pt x="118" y="49"/>
                  <a:pt x="118" y="49"/>
                  <a:pt x="118" y="49"/>
                </a:cubicBezTo>
                <a:cubicBezTo>
                  <a:pt x="147" y="34"/>
                  <a:pt x="147" y="34"/>
                  <a:pt x="147" y="34"/>
                </a:cubicBezTo>
                <a:cubicBezTo>
                  <a:pt x="150" y="32"/>
                  <a:pt x="153" y="34"/>
                  <a:pt x="155" y="37"/>
                </a:cubicBezTo>
                <a:cubicBezTo>
                  <a:pt x="156" y="39"/>
                  <a:pt x="155" y="43"/>
                  <a:pt x="152" y="45"/>
                </a:cubicBezTo>
                <a:close/>
                <a:moveTo>
                  <a:pt x="46" y="51"/>
                </a:moveTo>
                <a:cubicBezTo>
                  <a:pt x="105" y="49"/>
                  <a:pt x="105" y="49"/>
                  <a:pt x="105" y="49"/>
                </a:cubicBezTo>
                <a:cubicBezTo>
                  <a:pt x="105" y="49"/>
                  <a:pt x="105" y="49"/>
                  <a:pt x="105" y="49"/>
                </a:cubicBezTo>
                <a:cubicBezTo>
                  <a:pt x="118" y="22"/>
                  <a:pt x="118" y="22"/>
                  <a:pt x="118" y="22"/>
                </a:cubicBezTo>
                <a:cubicBezTo>
                  <a:pt x="120" y="17"/>
                  <a:pt x="118" y="12"/>
                  <a:pt x="113" y="10"/>
                </a:cubicBezTo>
                <a:cubicBezTo>
                  <a:pt x="112" y="10"/>
                  <a:pt x="111" y="9"/>
                  <a:pt x="110" y="9"/>
                </a:cubicBezTo>
                <a:cubicBezTo>
                  <a:pt x="106" y="9"/>
                  <a:pt x="103" y="11"/>
                  <a:pt x="102" y="14"/>
                </a:cubicBezTo>
                <a:cubicBezTo>
                  <a:pt x="95" y="28"/>
                  <a:pt x="95" y="28"/>
                  <a:pt x="95" y="28"/>
                </a:cubicBezTo>
                <a:cubicBezTo>
                  <a:pt x="88" y="15"/>
                  <a:pt x="88" y="15"/>
                  <a:pt x="88" y="15"/>
                </a:cubicBezTo>
                <a:cubicBezTo>
                  <a:pt x="86" y="11"/>
                  <a:pt x="81" y="8"/>
                  <a:pt x="73" y="8"/>
                </a:cubicBezTo>
                <a:cubicBezTo>
                  <a:pt x="72" y="8"/>
                  <a:pt x="72" y="8"/>
                  <a:pt x="72" y="8"/>
                </a:cubicBezTo>
                <a:cubicBezTo>
                  <a:pt x="67" y="8"/>
                  <a:pt x="62" y="10"/>
                  <a:pt x="59" y="13"/>
                </a:cubicBezTo>
                <a:cubicBezTo>
                  <a:pt x="53" y="18"/>
                  <a:pt x="53" y="18"/>
                  <a:pt x="53" y="18"/>
                </a:cubicBezTo>
                <a:cubicBezTo>
                  <a:pt x="48" y="12"/>
                  <a:pt x="48" y="12"/>
                  <a:pt x="48" y="12"/>
                </a:cubicBezTo>
                <a:cubicBezTo>
                  <a:pt x="46" y="10"/>
                  <a:pt x="44" y="9"/>
                  <a:pt x="41" y="9"/>
                </a:cubicBezTo>
                <a:cubicBezTo>
                  <a:pt x="40" y="9"/>
                  <a:pt x="39" y="9"/>
                  <a:pt x="37" y="10"/>
                </a:cubicBezTo>
                <a:cubicBezTo>
                  <a:pt x="33" y="12"/>
                  <a:pt x="31" y="17"/>
                  <a:pt x="33" y="21"/>
                </a:cubicBezTo>
                <a:cubicBezTo>
                  <a:pt x="45" y="49"/>
                  <a:pt x="45" y="49"/>
                  <a:pt x="45" y="49"/>
                </a:cubicBezTo>
                <a:lnTo>
                  <a:pt x="46" y="51"/>
                </a:lnTo>
                <a:close/>
                <a:moveTo>
                  <a:pt x="106" y="61"/>
                </a:moveTo>
                <a:cubicBezTo>
                  <a:pt x="41" y="64"/>
                  <a:pt x="41" y="64"/>
                  <a:pt x="41" y="64"/>
                </a:cubicBezTo>
                <a:cubicBezTo>
                  <a:pt x="16" y="121"/>
                  <a:pt x="16" y="121"/>
                  <a:pt x="16" y="121"/>
                </a:cubicBezTo>
                <a:cubicBezTo>
                  <a:pt x="17" y="121"/>
                  <a:pt x="17" y="121"/>
                  <a:pt x="17" y="121"/>
                </a:cubicBezTo>
                <a:cubicBezTo>
                  <a:pt x="11" y="133"/>
                  <a:pt x="11" y="133"/>
                  <a:pt x="11" y="133"/>
                </a:cubicBezTo>
                <a:cubicBezTo>
                  <a:pt x="9" y="137"/>
                  <a:pt x="8" y="141"/>
                  <a:pt x="8" y="145"/>
                </a:cubicBezTo>
                <a:cubicBezTo>
                  <a:pt x="8" y="168"/>
                  <a:pt x="39" y="188"/>
                  <a:pt x="75" y="188"/>
                </a:cubicBezTo>
                <a:cubicBezTo>
                  <a:pt x="111" y="188"/>
                  <a:pt x="142" y="168"/>
                  <a:pt x="142" y="145"/>
                </a:cubicBezTo>
                <a:cubicBezTo>
                  <a:pt x="142" y="141"/>
                  <a:pt x="141" y="137"/>
                  <a:pt x="139" y="133"/>
                </a:cubicBezTo>
                <a:cubicBezTo>
                  <a:pt x="133" y="121"/>
                  <a:pt x="133" y="121"/>
                  <a:pt x="133" y="121"/>
                </a:cubicBezTo>
                <a:cubicBezTo>
                  <a:pt x="134" y="121"/>
                  <a:pt x="134" y="121"/>
                  <a:pt x="134" y="121"/>
                </a:cubicBezTo>
                <a:lnTo>
                  <a:pt x="106" y="6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nvGrpSpPr>
          <p:cNvPr id="23" name="组合 22">
            <a:extLst>
              <a:ext uri="{FF2B5EF4-FFF2-40B4-BE49-F238E27FC236}">
                <a16:creationId xmlns:a16="http://schemas.microsoft.com/office/drawing/2014/main" id="{BBF541A2-02DB-4458-851D-D0920652D45F}"/>
              </a:ext>
            </a:extLst>
          </p:cNvPr>
          <p:cNvGrpSpPr>
            <a:grpSpLocks/>
          </p:cNvGrpSpPr>
          <p:nvPr/>
        </p:nvGrpSpPr>
        <p:grpSpPr bwMode="auto">
          <a:xfrm>
            <a:off x="8151813" y="1971675"/>
            <a:ext cx="2314575" cy="2314575"/>
            <a:chOff x="8152594" y="1971675"/>
            <a:chExt cx="2314575" cy="2314575"/>
          </a:xfrm>
        </p:grpSpPr>
        <p:sp>
          <p:nvSpPr>
            <p:cNvPr id="9" name="椭圆 8">
              <a:extLst>
                <a:ext uri="{FF2B5EF4-FFF2-40B4-BE49-F238E27FC236}">
                  <a16:creationId xmlns:a16="http://schemas.microsoft.com/office/drawing/2014/main" id="{DD3CFBC1-D6BC-4B97-8667-7EE59E362987}"/>
                </a:ext>
              </a:extLst>
            </p:cNvPr>
            <p:cNvSpPr/>
            <p:nvPr/>
          </p:nvSpPr>
          <p:spPr>
            <a:xfrm>
              <a:off x="8152594" y="1971675"/>
              <a:ext cx="2314575" cy="2314575"/>
            </a:xfrm>
            <a:prstGeom prst="ellipse">
              <a:avLst/>
            </a:prstGeom>
            <a:noFill/>
            <a:ln w="3175">
              <a:solidFill>
                <a:srgbClr val="C20F2A"/>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10" name="椭圆 9">
              <a:extLst>
                <a:ext uri="{FF2B5EF4-FFF2-40B4-BE49-F238E27FC236}">
                  <a16:creationId xmlns:a16="http://schemas.microsoft.com/office/drawing/2014/main" id="{042EFC8C-F77B-4050-800C-F009A1142DA0}"/>
                </a:ext>
              </a:extLst>
            </p:cNvPr>
            <p:cNvSpPr/>
            <p:nvPr/>
          </p:nvSpPr>
          <p:spPr>
            <a:xfrm>
              <a:off x="8625669" y="2444750"/>
              <a:ext cx="1368425" cy="1368425"/>
            </a:xfrm>
            <a:prstGeom prst="ellipse">
              <a:avLst/>
            </a:prstGeom>
            <a:solidFill>
              <a:srgbClr val="C20F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grpSp>
      <p:sp>
        <p:nvSpPr>
          <p:cNvPr id="12" name="Freeform 28">
            <a:extLst>
              <a:ext uri="{FF2B5EF4-FFF2-40B4-BE49-F238E27FC236}">
                <a16:creationId xmlns:a16="http://schemas.microsoft.com/office/drawing/2014/main" id="{DDE45822-C47F-4045-8AB6-279A0E420C99}"/>
              </a:ext>
            </a:extLst>
          </p:cNvPr>
          <p:cNvSpPr>
            <a:spLocks noEditPoints="1"/>
          </p:cNvSpPr>
          <p:nvPr/>
        </p:nvSpPr>
        <p:spPr bwMode="auto">
          <a:xfrm>
            <a:off x="9032875" y="2779713"/>
            <a:ext cx="554038" cy="698500"/>
          </a:xfrm>
          <a:custGeom>
            <a:avLst/>
            <a:gdLst>
              <a:gd name="T0" fmla="*/ 732157665 w 156"/>
              <a:gd name="T1" fmla="*/ 1576457480 h 196"/>
              <a:gd name="T2" fmla="*/ 732157665 w 156"/>
              <a:gd name="T3" fmla="*/ 1551029941 h 196"/>
              <a:gd name="T4" fmla="*/ 643792156 w 156"/>
              <a:gd name="T5" fmla="*/ 1538317954 h 196"/>
              <a:gd name="T6" fmla="*/ 770027583 w 156"/>
              <a:gd name="T7" fmla="*/ 1423895814 h 196"/>
              <a:gd name="T8" fmla="*/ 883637337 w 156"/>
              <a:gd name="T9" fmla="*/ 1271337712 h 196"/>
              <a:gd name="T10" fmla="*/ 1060364805 w 156"/>
              <a:gd name="T11" fmla="*/ 1220482635 h 196"/>
              <a:gd name="T12" fmla="*/ 1274962190 w 156"/>
              <a:gd name="T13" fmla="*/ 1296765250 h 196"/>
              <a:gd name="T14" fmla="*/ 1148730314 w 156"/>
              <a:gd name="T15" fmla="*/ 1360328750 h 196"/>
              <a:gd name="T16" fmla="*/ 984624969 w 156"/>
              <a:gd name="T17" fmla="*/ 1373044301 h 196"/>
              <a:gd name="T18" fmla="*/ 1047742682 w 156"/>
              <a:gd name="T19" fmla="*/ 1423895814 h 196"/>
              <a:gd name="T20" fmla="*/ 858389541 w 156"/>
              <a:gd name="T21" fmla="*/ 1538317954 h 196"/>
              <a:gd name="T22" fmla="*/ 858389541 w 156"/>
              <a:gd name="T23" fmla="*/ 1551029941 h 196"/>
              <a:gd name="T24" fmla="*/ 858389541 w 156"/>
              <a:gd name="T25" fmla="*/ 1576457480 h 196"/>
              <a:gd name="T26" fmla="*/ 984624969 w 156"/>
              <a:gd name="T27" fmla="*/ 1690879620 h 196"/>
              <a:gd name="T28" fmla="*/ 984624969 w 156"/>
              <a:gd name="T29" fmla="*/ 1741731133 h 196"/>
              <a:gd name="T30" fmla="*/ 1148730314 w 156"/>
              <a:gd name="T31" fmla="*/ 1741731133 h 196"/>
              <a:gd name="T32" fmla="*/ 1274962190 w 156"/>
              <a:gd name="T33" fmla="*/ 1805298196 h 196"/>
              <a:gd name="T34" fmla="*/ 1060364805 w 156"/>
              <a:gd name="T35" fmla="*/ 1881577247 h 196"/>
              <a:gd name="T36" fmla="*/ 883637337 w 156"/>
              <a:gd name="T37" fmla="*/ 1830725735 h 196"/>
              <a:gd name="T38" fmla="*/ 770027583 w 156"/>
              <a:gd name="T39" fmla="*/ 1690879620 h 196"/>
              <a:gd name="T40" fmla="*/ 643792156 w 156"/>
              <a:gd name="T41" fmla="*/ 1576457480 h 196"/>
              <a:gd name="T42" fmla="*/ 1704156961 w 156"/>
              <a:gd name="T43" fmla="*/ 673810163 h 196"/>
              <a:gd name="T44" fmla="*/ 1944002142 w 156"/>
              <a:gd name="T45" fmla="*/ 839083816 h 196"/>
              <a:gd name="T46" fmla="*/ 1843014510 w 156"/>
              <a:gd name="T47" fmla="*/ 889935329 h 196"/>
              <a:gd name="T48" fmla="*/ 1451689657 w 156"/>
              <a:gd name="T49" fmla="*/ 775516753 h 196"/>
              <a:gd name="T50" fmla="*/ 1843014510 w 156"/>
              <a:gd name="T51" fmla="*/ 1640024543 h 196"/>
              <a:gd name="T52" fmla="*/ 946755051 w 156"/>
              <a:gd name="T53" fmla="*/ 2147483646 h 196"/>
              <a:gd name="T54" fmla="*/ 50492040 w 156"/>
              <a:gd name="T55" fmla="*/ 1640024543 h 196"/>
              <a:gd name="T56" fmla="*/ 416572649 w 156"/>
              <a:gd name="T57" fmla="*/ 813656278 h 196"/>
              <a:gd name="T58" fmla="*/ 429194771 w 156"/>
              <a:gd name="T59" fmla="*/ 661094612 h 196"/>
              <a:gd name="T60" fmla="*/ 479690362 w 156"/>
              <a:gd name="T61" fmla="*/ 648382625 h 196"/>
              <a:gd name="T62" fmla="*/ 429194771 w 156"/>
              <a:gd name="T63" fmla="*/ 25427538 h 196"/>
              <a:gd name="T64" fmla="*/ 681662074 w 156"/>
              <a:gd name="T65" fmla="*/ 88994602 h 196"/>
              <a:gd name="T66" fmla="*/ 921507255 w 156"/>
              <a:gd name="T67" fmla="*/ 0 h 196"/>
              <a:gd name="T68" fmla="*/ 1388571944 w 156"/>
              <a:gd name="T69" fmla="*/ 12711987 h 196"/>
              <a:gd name="T70" fmla="*/ 1577925085 w 156"/>
              <a:gd name="T71" fmla="*/ 317835319 h 196"/>
              <a:gd name="T72" fmla="*/ 1489559575 w 156"/>
              <a:gd name="T73" fmla="*/ 622955087 h 196"/>
              <a:gd name="T74" fmla="*/ 1956627815 w 156"/>
              <a:gd name="T75" fmla="*/ 457681434 h 196"/>
              <a:gd name="T76" fmla="*/ 593300116 w 156"/>
              <a:gd name="T77" fmla="*/ 648382625 h 196"/>
              <a:gd name="T78" fmla="*/ 1338079904 w 156"/>
              <a:gd name="T79" fmla="*/ 622955087 h 196"/>
              <a:gd name="T80" fmla="*/ 1426445413 w 156"/>
              <a:gd name="T81" fmla="*/ 127134128 h 196"/>
              <a:gd name="T82" fmla="*/ 1287587864 w 156"/>
              <a:gd name="T83" fmla="*/ 177985640 h 196"/>
              <a:gd name="T84" fmla="*/ 1110860396 w 156"/>
              <a:gd name="T85" fmla="*/ 177985640 h 196"/>
              <a:gd name="T86" fmla="*/ 921507255 w 156"/>
              <a:gd name="T87" fmla="*/ 101706589 h 196"/>
              <a:gd name="T88" fmla="*/ 669039952 w 156"/>
              <a:gd name="T89" fmla="*/ 228840717 h 196"/>
              <a:gd name="T90" fmla="*/ 517560280 w 156"/>
              <a:gd name="T91" fmla="*/ 114418577 h 196"/>
              <a:gd name="T92" fmla="*/ 416572649 w 156"/>
              <a:gd name="T93" fmla="*/ 266980242 h 196"/>
              <a:gd name="T94" fmla="*/ 593300116 w 156"/>
              <a:gd name="T95" fmla="*/ 648382625 h 196"/>
              <a:gd name="T96" fmla="*/ 530182402 w 156"/>
              <a:gd name="T97" fmla="*/ 800940727 h 196"/>
              <a:gd name="T98" fmla="*/ 214597385 w 156"/>
              <a:gd name="T99" fmla="*/ 1538317954 h 196"/>
              <a:gd name="T100" fmla="*/ 100987632 w 156"/>
              <a:gd name="T101" fmla="*/ 1843437722 h 196"/>
              <a:gd name="T102" fmla="*/ 1792522470 w 156"/>
              <a:gd name="T103" fmla="*/ 1843437722 h 196"/>
              <a:gd name="T104" fmla="*/ 1678912716 w 156"/>
              <a:gd name="T105" fmla="*/ 1538317954 h 196"/>
              <a:gd name="T106" fmla="*/ 1338079904 w 156"/>
              <a:gd name="T107" fmla="*/ 775516753 h 19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56" h="196">
                <a:moveTo>
                  <a:pt x="51" y="124"/>
                </a:moveTo>
                <a:cubicBezTo>
                  <a:pt x="58" y="124"/>
                  <a:pt x="58" y="124"/>
                  <a:pt x="58" y="124"/>
                </a:cubicBezTo>
                <a:cubicBezTo>
                  <a:pt x="58" y="124"/>
                  <a:pt x="58" y="123"/>
                  <a:pt x="58" y="123"/>
                </a:cubicBezTo>
                <a:cubicBezTo>
                  <a:pt x="58" y="123"/>
                  <a:pt x="58" y="122"/>
                  <a:pt x="58" y="122"/>
                </a:cubicBezTo>
                <a:cubicBezTo>
                  <a:pt x="58" y="121"/>
                  <a:pt x="58" y="121"/>
                  <a:pt x="58" y="121"/>
                </a:cubicBezTo>
                <a:cubicBezTo>
                  <a:pt x="51" y="121"/>
                  <a:pt x="51" y="121"/>
                  <a:pt x="51" y="121"/>
                </a:cubicBezTo>
                <a:cubicBezTo>
                  <a:pt x="53" y="112"/>
                  <a:pt x="53" y="112"/>
                  <a:pt x="53" y="112"/>
                </a:cubicBezTo>
                <a:cubicBezTo>
                  <a:pt x="61" y="112"/>
                  <a:pt x="61" y="112"/>
                  <a:pt x="61" y="112"/>
                </a:cubicBezTo>
                <a:cubicBezTo>
                  <a:pt x="62" y="109"/>
                  <a:pt x="63" y="107"/>
                  <a:pt x="64" y="105"/>
                </a:cubicBezTo>
                <a:cubicBezTo>
                  <a:pt x="66" y="103"/>
                  <a:pt x="68" y="102"/>
                  <a:pt x="70" y="100"/>
                </a:cubicBezTo>
                <a:cubicBezTo>
                  <a:pt x="72" y="99"/>
                  <a:pt x="74" y="98"/>
                  <a:pt x="77" y="97"/>
                </a:cubicBezTo>
                <a:cubicBezTo>
                  <a:pt x="79" y="96"/>
                  <a:pt x="82" y="96"/>
                  <a:pt x="84" y="96"/>
                </a:cubicBezTo>
                <a:cubicBezTo>
                  <a:pt x="88" y="96"/>
                  <a:pt x="91" y="97"/>
                  <a:pt x="93" y="98"/>
                </a:cubicBezTo>
                <a:cubicBezTo>
                  <a:pt x="96" y="99"/>
                  <a:pt x="99" y="100"/>
                  <a:pt x="101" y="102"/>
                </a:cubicBezTo>
                <a:cubicBezTo>
                  <a:pt x="96" y="111"/>
                  <a:pt x="96" y="111"/>
                  <a:pt x="96" y="111"/>
                </a:cubicBezTo>
                <a:cubicBezTo>
                  <a:pt x="95" y="109"/>
                  <a:pt x="93" y="108"/>
                  <a:pt x="91" y="107"/>
                </a:cubicBezTo>
                <a:cubicBezTo>
                  <a:pt x="89" y="107"/>
                  <a:pt x="87" y="106"/>
                  <a:pt x="84" y="106"/>
                </a:cubicBezTo>
                <a:cubicBezTo>
                  <a:pt x="82" y="106"/>
                  <a:pt x="80" y="107"/>
                  <a:pt x="78" y="108"/>
                </a:cubicBezTo>
                <a:cubicBezTo>
                  <a:pt x="75" y="109"/>
                  <a:pt x="74" y="110"/>
                  <a:pt x="72" y="112"/>
                </a:cubicBezTo>
                <a:cubicBezTo>
                  <a:pt x="83" y="112"/>
                  <a:pt x="83" y="112"/>
                  <a:pt x="83" y="112"/>
                </a:cubicBezTo>
                <a:cubicBezTo>
                  <a:pt x="81" y="121"/>
                  <a:pt x="81" y="121"/>
                  <a:pt x="81" y="121"/>
                </a:cubicBezTo>
                <a:cubicBezTo>
                  <a:pt x="68" y="121"/>
                  <a:pt x="68" y="121"/>
                  <a:pt x="68" y="121"/>
                </a:cubicBezTo>
                <a:cubicBezTo>
                  <a:pt x="68" y="121"/>
                  <a:pt x="68" y="121"/>
                  <a:pt x="68" y="121"/>
                </a:cubicBezTo>
                <a:cubicBezTo>
                  <a:pt x="68" y="122"/>
                  <a:pt x="68" y="122"/>
                  <a:pt x="68" y="122"/>
                </a:cubicBezTo>
                <a:cubicBezTo>
                  <a:pt x="68" y="122"/>
                  <a:pt x="68" y="123"/>
                  <a:pt x="68" y="123"/>
                </a:cubicBezTo>
                <a:cubicBezTo>
                  <a:pt x="68" y="123"/>
                  <a:pt x="68" y="124"/>
                  <a:pt x="68" y="124"/>
                </a:cubicBezTo>
                <a:cubicBezTo>
                  <a:pt x="80" y="124"/>
                  <a:pt x="80" y="124"/>
                  <a:pt x="80" y="124"/>
                </a:cubicBezTo>
                <a:cubicBezTo>
                  <a:pt x="78" y="133"/>
                  <a:pt x="78" y="133"/>
                  <a:pt x="78" y="133"/>
                </a:cubicBezTo>
                <a:cubicBezTo>
                  <a:pt x="72" y="133"/>
                  <a:pt x="72" y="133"/>
                  <a:pt x="72" y="133"/>
                </a:cubicBezTo>
                <a:cubicBezTo>
                  <a:pt x="74" y="135"/>
                  <a:pt x="76" y="136"/>
                  <a:pt x="78" y="137"/>
                </a:cubicBezTo>
                <a:cubicBezTo>
                  <a:pt x="80" y="138"/>
                  <a:pt x="82" y="138"/>
                  <a:pt x="84" y="138"/>
                </a:cubicBezTo>
                <a:cubicBezTo>
                  <a:pt x="87" y="138"/>
                  <a:pt x="89" y="138"/>
                  <a:pt x="91" y="137"/>
                </a:cubicBezTo>
                <a:cubicBezTo>
                  <a:pt x="93" y="136"/>
                  <a:pt x="95" y="135"/>
                  <a:pt x="96" y="133"/>
                </a:cubicBezTo>
                <a:cubicBezTo>
                  <a:pt x="101" y="142"/>
                  <a:pt x="101" y="142"/>
                  <a:pt x="101" y="142"/>
                </a:cubicBezTo>
                <a:cubicBezTo>
                  <a:pt x="99" y="144"/>
                  <a:pt x="96" y="146"/>
                  <a:pt x="93" y="147"/>
                </a:cubicBezTo>
                <a:cubicBezTo>
                  <a:pt x="91" y="148"/>
                  <a:pt x="88" y="148"/>
                  <a:pt x="84" y="148"/>
                </a:cubicBezTo>
                <a:cubicBezTo>
                  <a:pt x="82" y="148"/>
                  <a:pt x="79" y="148"/>
                  <a:pt x="77" y="147"/>
                </a:cubicBezTo>
                <a:cubicBezTo>
                  <a:pt x="74" y="146"/>
                  <a:pt x="72" y="145"/>
                  <a:pt x="70" y="144"/>
                </a:cubicBezTo>
                <a:cubicBezTo>
                  <a:pt x="68" y="143"/>
                  <a:pt x="66" y="141"/>
                  <a:pt x="65" y="139"/>
                </a:cubicBezTo>
                <a:cubicBezTo>
                  <a:pt x="63" y="137"/>
                  <a:pt x="62" y="135"/>
                  <a:pt x="61" y="133"/>
                </a:cubicBezTo>
                <a:cubicBezTo>
                  <a:pt x="49" y="133"/>
                  <a:pt x="49" y="133"/>
                  <a:pt x="49" y="133"/>
                </a:cubicBezTo>
                <a:lnTo>
                  <a:pt x="51" y="124"/>
                </a:lnTo>
                <a:close/>
                <a:moveTo>
                  <a:pt x="152" y="44"/>
                </a:moveTo>
                <a:cubicBezTo>
                  <a:pt x="135" y="53"/>
                  <a:pt x="135" y="53"/>
                  <a:pt x="135" y="53"/>
                </a:cubicBezTo>
                <a:cubicBezTo>
                  <a:pt x="150" y="59"/>
                  <a:pt x="150" y="59"/>
                  <a:pt x="150" y="59"/>
                </a:cubicBezTo>
                <a:cubicBezTo>
                  <a:pt x="153" y="60"/>
                  <a:pt x="155" y="63"/>
                  <a:pt x="154" y="66"/>
                </a:cubicBezTo>
                <a:cubicBezTo>
                  <a:pt x="153" y="69"/>
                  <a:pt x="150" y="70"/>
                  <a:pt x="148" y="70"/>
                </a:cubicBezTo>
                <a:cubicBezTo>
                  <a:pt x="147" y="70"/>
                  <a:pt x="147" y="70"/>
                  <a:pt x="146" y="70"/>
                </a:cubicBezTo>
                <a:cubicBezTo>
                  <a:pt x="119" y="61"/>
                  <a:pt x="119" y="61"/>
                  <a:pt x="119" y="61"/>
                </a:cubicBezTo>
                <a:cubicBezTo>
                  <a:pt x="115" y="61"/>
                  <a:pt x="115" y="61"/>
                  <a:pt x="115" y="61"/>
                </a:cubicBezTo>
                <a:cubicBezTo>
                  <a:pt x="146" y="129"/>
                  <a:pt x="146" y="129"/>
                  <a:pt x="146" y="129"/>
                </a:cubicBezTo>
                <a:cubicBezTo>
                  <a:pt x="146" y="129"/>
                  <a:pt x="146" y="129"/>
                  <a:pt x="146" y="129"/>
                </a:cubicBezTo>
                <a:cubicBezTo>
                  <a:pt x="149" y="134"/>
                  <a:pt x="150" y="139"/>
                  <a:pt x="150" y="145"/>
                </a:cubicBezTo>
                <a:cubicBezTo>
                  <a:pt x="150" y="173"/>
                  <a:pt x="117" y="196"/>
                  <a:pt x="75" y="196"/>
                </a:cubicBezTo>
                <a:cubicBezTo>
                  <a:pt x="34" y="196"/>
                  <a:pt x="0" y="173"/>
                  <a:pt x="0" y="145"/>
                </a:cubicBezTo>
                <a:cubicBezTo>
                  <a:pt x="0" y="139"/>
                  <a:pt x="1" y="134"/>
                  <a:pt x="4" y="129"/>
                </a:cubicBezTo>
                <a:cubicBezTo>
                  <a:pt x="4" y="129"/>
                  <a:pt x="4" y="129"/>
                  <a:pt x="4" y="129"/>
                </a:cubicBezTo>
                <a:cubicBezTo>
                  <a:pt x="33" y="64"/>
                  <a:pt x="33" y="64"/>
                  <a:pt x="33" y="64"/>
                </a:cubicBezTo>
                <a:cubicBezTo>
                  <a:pt x="30" y="63"/>
                  <a:pt x="28" y="61"/>
                  <a:pt x="28" y="58"/>
                </a:cubicBezTo>
                <a:cubicBezTo>
                  <a:pt x="28" y="55"/>
                  <a:pt x="30" y="52"/>
                  <a:pt x="34" y="52"/>
                </a:cubicBezTo>
                <a:cubicBezTo>
                  <a:pt x="38" y="51"/>
                  <a:pt x="38" y="51"/>
                  <a:pt x="38" y="51"/>
                </a:cubicBezTo>
                <a:cubicBezTo>
                  <a:pt x="38" y="51"/>
                  <a:pt x="38" y="51"/>
                  <a:pt x="38" y="51"/>
                </a:cubicBezTo>
                <a:cubicBezTo>
                  <a:pt x="26" y="24"/>
                  <a:pt x="26" y="24"/>
                  <a:pt x="26" y="24"/>
                </a:cubicBezTo>
                <a:cubicBezTo>
                  <a:pt x="22" y="16"/>
                  <a:pt x="26" y="6"/>
                  <a:pt x="34" y="2"/>
                </a:cubicBezTo>
                <a:cubicBezTo>
                  <a:pt x="37" y="1"/>
                  <a:pt x="39" y="1"/>
                  <a:pt x="41" y="1"/>
                </a:cubicBezTo>
                <a:cubicBezTo>
                  <a:pt x="46" y="1"/>
                  <a:pt x="51" y="3"/>
                  <a:pt x="54" y="7"/>
                </a:cubicBezTo>
                <a:cubicBezTo>
                  <a:pt x="58" y="3"/>
                  <a:pt x="65" y="0"/>
                  <a:pt x="72" y="0"/>
                </a:cubicBezTo>
                <a:cubicBezTo>
                  <a:pt x="73" y="0"/>
                  <a:pt x="73" y="0"/>
                  <a:pt x="73" y="0"/>
                </a:cubicBezTo>
                <a:cubicBezTo>
                  <a:pt x="83" y="0"/>
                  <a:pt x="91" y="4"/>
                  <a:pt x="95" y="10"/>
                </a:cubicBezTo>
                <a:cubicBezTo>
                  <a:pt x="98" y="5"/>
                  <a:pt x="104" y="1"/>
                  <a:pt x="110" y="1"/>
                </a:cubicBezTo>
                <a:cubicBezTo>
                  <a:pt x="112" y="1"/>
                  <a:pt x="114" y="2"/>
                  <a:pt x="117" y="3"/>
                </a:cubicBezTo>
                <a:cubicBezTo>
                  <a:pt x="125" y="6"/>
                  <a:pt x="129" y="16"/>
                  <a:pt x="125" y="25"/>
                </a:cubicBezTo>
                <a:cubicBezTo>
                  <a:pt x="114" y="49"/>
                  <a:pt x="114" y="49"/>
                  <a:pt x="114" y="49"/>
                </a:cubicBezTo>
                <a:cubicBezTo>
                  <a:pt x="118" y="49"/>
                  <a:pt x="118" y="49"/>
                  <a:pt x="118" y="49"/>
                </a:cubicBezTo>
                <a:cubicBezTo>
                  <a:pt x="147" y="34"/>
                  <a:pt x="147" y="34"/>
                  <a:pt x="147" y="34"/>
                </a:cubicBezTo>
                <a:cubicBezTo>
                  <a:pt x="150" y="32"/>
                  <a:pt x="153" y="33"/>
                  <a:pt x="155" y="36"/>
                </a:cubicBezTo>
                <a:cubicBezTo>
                  <a:pt x="156" y="39"/>
                  <a:pt x="155" y="43"/>
                  <a:pt x="152" y="44"/>
                </a:cubicBezTo>
                <a:close/>
                <a:moveTo>
                  <a:pt x="47" y="51"/>
                </a:moveTo>
                <a:cubicBezTo>
                  <a:pt x="105" y="49"/>
                  <a:pt x="105" y="49"/>
                  <a:pt x="105" y="49"/>
                </a:cubicBezTo>
                <a:cubicBezTo>
                  <a:pt x="105" y="49"/>
                  <a:pt x="105" y="49"/>
                  <a:pt x="106" y="49"/>
                </a:cubicBezTo>
                <a:cubicBezTo>
                  <a:pt x="118" y="22"/>
                  <a:pt x="118" y="22"/>
                  <a:pt x="118" y="22"/>
                </a:cubicBezTo>
                <a:cubicBezTo>
                  <a:pt x="120" y="17"/>
                  <a:pt x="118" y="12"/>
                  <a:pt x="113" y="10"/>
                </a:cubicBezTo>
                <a:cubicBezTo>
                  <a:pt x="112" y="9"/>
                  <a:pt x="111" y="9"/>
                  <a:pt x="110" y="9"/>
                </a:cubicBezTo>
                <a:cubicBezTo>
                  <a:pt x="106" y="9"/>
                  <a:pt x="103" y="11"/>
                  <a:pt x="102" y="14"/>
                </a:cubicBezTo>
                <a:cubicBezTo>
                  <a:pt x="95" y="28"/>
                  <a:pt x="95" y="28"/>
                  <a:pt x="95" y="28"/>
                </a:cubicBezTo>
                <a:cubicBezTo>
                  <a:pt x="88" y="14"/>
                  <a:pt x="88" y="14"/>
                  <a:pt x="88" y="14"/>
                </a:cubicBezTo>
                <a:cubicBezTo>
                  <a:pt x="86" y="11"/>
                  <a:pt x="81" y="8"/>
                  <a:pt x="73" y="8"/>
                </a:cubicBezTo>
                <a:cubicBezTo>
                  <a:pt x="73" y="8"/>
                  <a:pt x="73" y="8"/>
                  <a:pt x="73" y="8"/>
                </a:cubicBezTo>
                <a:cubicBezTo>
                  <a:pt x="67" y="8"/>
                  <a:pt x="62" y="10"/>
                  <a:pt x="59" y="12"/>
                </a:cubicBezTo>
                <a:cubicBezTo>
                  <a:pt x="53" y="18"/>
                  <a:pt x="53" y="18"/>
                  <a:pt x="53" y="18"/>
                </a:cubicBezTo>
                <a:cubicBezTo>
                  <a:pt x="48" y="12"/>
                  <a:pt x="48" y="12"/>
                  <a:pt x="48" y="12"/>
                </a:cubicBezTo>
                <a:cubicBezTo>
                  <a:pt x="46" y="10"/>
                  <a:pt x="44" y="9"/>
                  <a:pt x="41" y="9"/>
                </a:cubicBezTo>
                <a:cubicBezTo>
                  <a:pt x="40" y="9"/>
                  <a:pt x="39" y="9"/>
                  <a:pt x="38" y="9"/>
                </a:cubicBezTo>
                <a:cubicBezTo>
                  <a:pt x="33" y="11"/>
                  <a:pt x="31" y="17"/>
                  <a:pt x="33" y="21"/>
                </a:cubicBezTo>
                <a:cubicBezTo>
                  <a:pt x="45" y="48"/>
                  <a:pt x="45" y="48"/>
                  <a:pt x="45" y="48"/>
                </a:cubicBezTo>
                <a:lnTo>
                  <a:pt x="47" y="51"/>
                </a:lnTo>
                <a:close/>
                <a:moveTo>
                  <a:pt x="106" y="61"/>
                </a:moveTo>
                <a:cubicBezTo>
                  <a:pt x="42" y="63"/>
                  <a:pt x="42" y="63"/>
                  <a:pt x="42" y="63"/>
                </a:cubicBezTo>
                <a:cubicBezTo>
                  <a:pt x="16" y="121"/>
                  <a:pt x="16" y="121"/>
                  <a:pt x="16" y="121"/>
                </a:cubicBezTo>
                <a:cubicBezTo>
                  <a:pt x="17" y="121"/>
                  <a:pt x="17" y="121"/>
                  <a:pt x="17" y="121"/>
                </a:cubicBezTo>
                <a:cubicBezTo>
                  <a:pt x="11" y="132"/>
                  <a:pt x="11" y="132"/>
                  <a:pt x="11" y="132"/>
                </a:cubicBezTo>
                <a:cubicBezTo>
                  <a:pt x="9" y="136"/>
                  <a:pt x="8" y="141"/>
                  <a:pt x="8" y="145"/>
                </a:cubicBezTo>
                <a:cubicBezTo>
                  <a:pt x="8" y="168"/>
                  <a:pt x="39" y="188"/>
                  <a:pt x="75" y="188"/>
                </a:cubicBezTo>
                <a:cubicBezTo>
                  <a:pt x="111" y="188"/>
                  <a:pt x="142" y="168"/>
                  <a:pt x="142" y="145"/>
                </a:cubicBezTo>
                <a:cubicBezTo>
                  <a:pt x="142" y="141"/>
                  <a:pt x="141" y="136"/>
                  <a:pt x="139" y="132"/>
                </a:cubicBezTo>
                <a:cubicBezTo>
                  <a:pt x="133" y="121"/>
                  <a:pt x="133" y="121"/>
                  <a:pt x="133" y="121"/>
                </a:cubicBezTo>
                <a:cubicBezTo>
                  <a:pt x="134" y="121"/>
                  <a:pt x="134" y="121"/>
                  <a:pt x="134" y="121"/>
                </a:cubicBezTo>
                <a:lnTo>
                  <a:pt x="106" y="6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nvGrpSpPr>
          <p:cNvPr id="22" name="组合 21">
            <a:extLst>
              <a:ext uri="{FF2B5EF4-FFF2-40B4-BE49-F238E27FC236}">
                <a16:creationId xmlns:a16="http://schemas.microsoft.com/office/drawing/2014/main" id="{DECBCA15-912B-4A41-A800-515E4FA48F3B}"/>
              </a:ext>
            </a:extLst>
          </p:cNvPr>
          <p:cNvGrpSpPr>
            <a:grpSpLocks/>
          </p:cNvGrpSpPr>
          <p:nvPr/>
        </p:nvGrpSpPr>
        <p:grpSpPr bwMode="auto">
          <a:xfrm>
            <a:off x="4938713" y="1971675"/>
            <a:ext cx="2314575" cy="2314575"/>
            <a:chOff x="4938713" y="1971675"/>
            <a:chExt cx="2314575" cy="2314575"/>
          </a:xfrm>
        </p:grpSpPr>
        <p:sp>
          <p:nvSpPr>
            <p:cNvPr id="7" name="椭圆 6">
              <a:extLst>
                <a:ext uri="{FF2B5EF4-FFF2-40B4-BE49-F238E27FC236}">
                  <a16:creationId xmlns:a16="http://schemas.microsoft.com/office/drawing/2014/main" id="{00547685-9041-460F-9A27-E6EF56080751}"/>
                </a:ext>
              </a:extLst>
            </p:cNvPr>
            <p:cNvSpPr/>
            <p:nvPr/>
          </p:nvSpPr>
          <p:spPr>
            <a:xfrm>
              <a:off x="4938713" y="1971675"/>
              <a:ext cx="2314575" cy="2314575"/>
            </a:xfrm>
            <a:prstGeom prst="ellipse">
              <a:avLst/>
            </a:prstGeom>
            <a:noFill/>
            <a:ln w="3175">
              <a:solidFill>
                <a:srgbClr val="C20F2A"/>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8" name="椭圆 7">
              <a:extLst>
                <a:ext uri="{FF2B5EF4-FFF2-40B4-BE49-F238E27FC236}">
                  <a16:creationId xmlns:a16="http://schemas.microsoft.com/office/drawing/2014/main" id="{7921CA47-2626-4E05-A46A-98EC856B30A2}"/>
                </a:ext>
              </a:extLst>
            </p:cNvPr>
            <p:cNvSpPr/>
            <p:nvPr/>
          </p:nvSpPr>
          <p:spPr>
            <a:xfrm>
              <a:off x="5411788" y="2444750"/>
              <a:ext cx="1368425" cy="1368425"/>
            </a:xfrm>
            <a:prstGeom prst="ellipse">
              <a:avLst/>
            </a:prstGeom>
            <a:solidFill>
              <a:srgbClr val="C20F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grpSp>
      <p:sp>
        <p:nvSpPr>
          <p:cNvPr id="13" name="Freeform 31">
            <a:extLst>
              <a:ext uri="{FF2B5EF4-FFF2-40B4-BE49-F238E27FC236}">
                <a16:creationId xmlns:a16="http://schemas.microsoft.com/office/drawing/2014/main" id="{B9095BE6-C364-4F25-A2ED-320AE2951EC1}"/>
              </a:ext>
            </a:extLst>
          </p:cNvPr>
          <p:cNvSpPr>
            <a:spLocks noEditPoints="1"/>
          </p:cNvSpPr>
          <p:nvPr/>
        </p:nvSpPr>
        <p:spPr bwMode="auto">
          <a:xfrm>
            <a:off x="5818188" y="2779713"/>
            <a:ext cx="555625" cy="698500"/>
          </a:xfrm>
          <a:custGeom>
            <a:avLst/>
            <a:gdLst>
              <a:gd name="T0" fmla="*/ 1860955525 w 156"/>
              <a:gd name="T1" fmla="*/ 432253895 h 196"/>
              <a:gd name="T2" fmla="*/ 1443189635 w 156"/>
              <a:gd name="T3" fmla="*/ 622955087 h 196"/>
              <a:gd name="T4" fmla="*/ 1468509752 w 156"/>
              <a:gd name="T5" fmla="*/ 38139526 h 196"/>
              <a:gd name="T6" fmla="*/ 1202657436 w 156"/>
              <a:gd name="T7" fmla="*/ 127134128 h 196"/>
              <a:gd name="T8" fmla="*/ 911488566 w 156"/>
              <a:gd name="T9" fmla="*/ 0 h 196"/>
              <a:gd name="T10" fmla="*/ 519042792 w 156"/>
              <a:gd name="T11" fmla="*/ 12711987 h 196"/>
              <a:gd name="T12" fmla="*/ 329147264 w 156"/>
              <a:gd name="T13" fmla="*/ 305119768 h 196"/>
              <a:gd name="T14" fmla="*/ 481064399 w 156"/>
              <a:gd name="T15" fmla="*/ 648382625 h 196"/>
              <a:gd name="T16" fmla="*/ 354467380 w 156"/>
              <a:gd name="T17" fmla="*/ 737373663 h 196"/>
              <a:gd name="T18" fmla="*/ 50636671 w 156"/>
              <a:gd name="T19" fmla="*/ 1640024543 h 196"/>
              <a:gd name="T20" fmla="*/ 0 w 156"/>
              <a:gd name="T21" fmla="*/ 1843437722 h 196"/>
              <a:gd name="T22" fmla="*/ 1898933918 w 156"/>
              <a:gd name="T23" fmla="*/ 1843437722 h 196"/>
              <a:gd name="T24" fmla="*/ 1848293686 w 156"/>
              <a:gd name="T25" fmla="*/ 1640024543 h 196"/>
              <a:gd name="T26" fmla="*/ 1493826306 w 156"/>
              <a:gd name="T27" fmla="*/ 775516753 h 196"/>
              <a:gd name="T28" fmla="*/ 1873613802 w 156"/>
              <a:gd name="T29" fmla="*/ 889935329 h 196"/>
              <a:gd name="T30" fmla="*/ 1898933918 w 156"/>
              <a:gd name="T31" fmla="*/ 750089214 h 196"/>
              <a:gd name="T32" fmla="*/ 1924254034 w 156"/>
              <a:gd name="T33" fmla="*/ 559388023 h 196"/>
              <a:gd name="T34" fmla="*/ 569679463 w 156"/>
              <a:gd name="T35" fmla="*/ 610243099 h 196"/>
              <a:gd name="T36" fmla="*/ 468402560 w 156"/>
              <a:gd name="T37" fmla="*/ 114418577 h 196"/>
              <a:gd name="T38" fmla="*/ 607657857 w 156"/>
              <a:gd name="T39" fmla="*/ 152561666 h 196"/>
              <a:gd name="T40" fmla="*/ 746913153 w 156"/>
              <a:gd name="T41" fmla="*/ 152561666 h 196"/>
              <a:gd name="T42" fmla="*/ 924146843 w 156"/>
              <a:gd name="T43" fmla="*/ 101706589 h 196"/>
              <a:gd name="T44" fmla="*/ 1202657436 w 156"/>
              <a:gd name="T45" fmla="*/ 355974844 h 196"/>
              <a:gd name="T46" fmla="*/ 1392549403 w 156"/>
              <a:gd name="T47" fmla="*/ 114418577 h 196"/>
              <a:gd name="T48" fmla="*/ 1493826306 w 156"/>
              <a:gd name="T49" fmla="*/ 279695793 h 196"/>
              <a:gd name="T50" fmla="*/ 1329254455 w 156"/>
              <a:gd name="T51" fmla="*/ 622955087 h 196"/>
              <a:gd name="T52" fmla="*/ 569679463 w 156"/>
              <a:gd name="T53" fmla="*/ 610243099 h 196"/>
              <a:gd name="T54" fmla="*/ 1683721835 w 156"/>
              <a:gd name="T55" fmla="*/ 1538317954 h 196"/>
              <a:gd name="T56" fmla="*/ 1797657015 w 156"/>
              <a:gd name="T57" fmla="*/ 1843437722 h 196"/>
              <a:gd name="T58" fmla="*/ 101276903 w 156"/>
              <a:gd name="T59" fmla="*/ 1843437722 h 196"/>
              <a:gd name="T60" fmla="*/ 202553806 w 156"/>
              <a:gd name="T61" fmla="*/ 1538317954 h 196"/>
              <a:gd name="T62" fmla="*/ 519042792 w 156"/>
              <a:gd name="T63" fmla="*/ 800940727 h 196"/>
              <a:gd name="T64" fmla="*/ 1696380112 w 156"/>
              <a:gd name="T65" fmla="*/ 1538317954 h 196"/>
              <a:gd name="T66" fmla="*/ 1050743862 w 156"/>
              <a:gd name="T67" fmla="*/ 1640024543 h 196"/>
              <a:gd name="T68" fmla="*/ 1025423746 w 156"/>
              <a:gd name="T69" fmla="*/ 1614597005 h 196"/>
              <a:gd name="T70" fmla="*/ 822869940 w 156"/>
              <a:gd name="T71" fmla="*/ 1601885018 h 196"/>
              <a:gd name="T72" fmla="*/ 734254876 w 156"/>
              <a:gd name="T73" fmla="*/ 1525605967 h 196"/>
              <a:gd name="T74" fmla="*/ 734254876 w 156"/>
              <a:gd name="T75" fmla="*/ 1398471839 h 196"/>
              <a:gd name="T76" fmla="*/ 822869940 w 156"/>
              <a:gd name="T77" fmla="*/ 1309477237 h 196"/>
              <a:gd name="T78" fmla="*/ 898826727 w 156"/>
              <a:gd name="T79" fmla="*/ 1296765250 h 196"/>
              <a:gd name="T80" fmla="*/ 1012765469 w 156"/>
              <a:gd name="T81" fmla="*/ 1131491597 h 196"/>
              <a:gd name="T82" fmla="*/ 1152020765 w 156"/>
              <a:gd name="T83" fmla="*/ 1296765250 h 196"/>
              <a:gd name="T84" fmla="*/ 886168450 w 156"/>
              <a:gd name="T85" fmla="*/ 1423895814 h 196"/>
              <a:gd name="T86" fmla="*/ 848190056 w 156"/>
              <a:gd name="T87" fmla="*/ 1449323352 h 196"/>
              <a:gd name="T88" fmla="*/ 886168450 w 156"/>
              <a:gd name="T89" fmla="*/ 1487462878 h 196"/>
              <a:gd name="T90" fmla="*/ 1076063978 w 156"/>
              <a:gd name="T91" fmla="*/ 1500178429 h 196"/>
              <a:gd name="T92" fmla="*/ 1164679042 w 156"/>
              <a:gd name="T93" fmla="*/ 1576457480 h 196"/>
              <a:gd name="T94" fmla="*/ 1164679042 w 156"/>
              <a:gd name="T95" fmla="*/ 1703591607 h 196"/>
              <a:gd name="T96" fmla="*/ 1076063978 w 156"/>
              <a:gd name="T97" fmla="*/ 1792586209 h 196"/>
              <a:gd name="T98" fmla="*/ 1012765469 w 156"/>
              <a:gd name="T99" fmla="*/ 1805298196 h 196"/>
              <a:gd name="T100" fmla="*/ 898826727 w 156"/>
              <a:gd name="T101" fmla="*/ 1983283837 h 196"/>
              <a:gd name="T102" fmla="*/ 721593037 w 156"/>
              <a:gd name="T103" fmla="*/ 1805298196 h 196"/>
              <a:gd name="T104" fmla="*/ 1025423746 w 156"/>
              <a:gd name="T105" fmla="*/ 1678164069 h 19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56" h="196">
                <a:moveTo>
                  <a:pt x="155" y="36"/>
                </a:moveTo>
                <a:cubicBezTo>
                  <a:pt x="153" y="33"/>
                  <a:pt x="150" y="32"/>
                  <a:pt x="147" y="34"/>
                </a:cubicBezTo>
                <a:cubicBezTo>
                  <a:pt x="118" y="49"/>
                  <a:pt x="118" y="49"/>
                  <a:pt x="118" y="49"/>
                </a:cubicBezTo>
                <a:cubicBezTo>
                  <a:pt x="114" y="49"/>
                  <a:pt x="114" y="49"/>
                  <a:pt x="114" y="49"/>
                </a:cubicBezTo>
                <a:cubicBezTo>
                  <a:pt x="125" y="25"/>
                  <a:pt x="125" y="25"/>
                  <a:pt x="125" y="25"/>
                </a:cubicBezTo>
                <a:cubicBezTo>
                  <a:pt x="129" y="16"/>
                  <a:pt x="125" y="6"/>
                  <a:pt x="116" y="3"/>
                </a:cubicBezTo>
                <a:cubicBezTo>
                  <a:pt x="114" y="2"/>
                  <a:pt x="112" y="1"/>
                  <a:pt x="110" y="1"/>
                </a:cubicBezTo>
                <a:cubicBezTo>
                  <a:pt x="103" y="1"/>
                  <a:pt x="97" y="5"/>
                  <a:pt x="95" y="10"/>
                </a:cubicBezTo>
                <a:cubicBezTo>
                  <a:pt x="91" y="4"/>
                  <a:pt x="83" y="0"/>
                  <a:pt x="73" y="0"/>
                </a:cubicBezTo>
                <a:cubicBezTo>
                  <a:pt x="73" y="0"/>
                  <a:pt x="72" y="0"/>
                  <a:pt x="72" y="0"/>
                </a:cubicBezTo>
                <a:cubicBezTo>
                  <a:pt x="65" y="0"/>
                  <a:pt x="58" y="3"/>
                  <a:pt x="54" y="7"/>
                </a:cubicBezTo>
                <a:cubicBezTo>
                  <a:pt x="50" y="3"/>
                  <a:pt x="46" y="1"/>
                  <a:pt x="41" y="1"/>
                </a:cubicBezTo>
                <a:cubicBezTo>
                  <a:pt x="39" y="1"/>
                  <a:pt x="36" y="1"/>
                  <a:pt x="34" y="2"/>
                </a:cubicBezTo>
                <a:cubicBezTo>
                  <a:pt x="26" y="6"/>
                  <a:pt x="22" y="16"/>
                  <a:pt x="26" y="24"/>
                </a:cubicBezTo>
                <a:cubicBezTo>
                  <a:pt x="38" y="51"/>
                  <a:pt x="38" y="51"/>
                  <a:pt x="38" y="51"/>
                </a:cubicBezTo>
                <a:cubicBezTo>
                  <a:pt x="38" y="51"/>
                  <a:pt x="38" y="51"/>
                  <a:pt x="38" y="51"/>
                </a:cubicBezTo>
                <a:cubicBezTo>
                  <a:pt x="34" y="52"/>
                  <a:pt x="34" y="52"/>
                  <a:pt x="34" y="52"/>
                </a:cubicBezTo>
                <a:cubicBezTo>
                  <a:pt x="30" y="52"/>
                  <a:pt x="28" y="55"/>
                  <a:pt x="28" y="58"/>
                </a:cubicBezTo>
                <a:cubicBezTo>
                  <a:pt x="28" y="61"/>
                  <a:pt x="30" y="63"/>
                  <a:pt x="32" y="64"/>
                </a:cubicBezTo>
                <a:cubicBezTo>
                  <a:pt x="4" y="129"/>
                  <a:pt x="4" y="129"/>
                  <a:pt x="4" y="129"/>
                </a:cubicBezTo>
                <a:cubicBezTo>
                  <a:pt x="4" y="129"/>
                  <a:pt x="4" y="129"/>
                  <a:pt x="4" y="129"/>
                </a:cubicBezTo>
                <a:cubicBezTo>
                  <a:pt x="1" y="134"/>
                  <a:pt x="0" y="139"/>
                  <a:pt x="0" y="145"/>
                </a:cubicBezTo>
                <a:cubicBezTo>
                  <a:pt x="0" y="173"/>
                  <a:pt x="33" y="196"/>
                  <a:pt x="75" y="196"/>
                </a:cubicBezTo>
                <a:cubicBezTo>
                  <a:pt x="116" y="196"/>
                  <a:pt x="150" y="173"/>
                  <a:pt x="150" y="145"/>
                </a:cubicBezTo>
                <a:cubicBezTo>
                  <a:pt x="150" y="139"/>
                  <a:pt x="148" y="134"/>
                  <a:pt x="146" y="129"/>
                </a:cubicBezTo>
                <a:cubicBezTo>
                  <a:pt x="146" y="129"/>
                  <a:pt x="146" y="129"/>
                  <a:pt x="146" y="129"/>
                </a:cubicBezTo>
                <a:cubicBezTo>
                  <a:pt x="115" y="61"/>
                  <a:pt x="115" y="61"/>
                  <a:pt x="115" y="61"/>
                </a:cubicBezTo>
                <a:cubicBezTo>
                  <a:pt x="118" y="61"/>
                  <a:pt x="118" y="61"/>
                  <a:pt x="118" y="61"/>
                </a:cubicBezTo>
                <a:cubicBezTo>
                  <a:pt x="146" y="70"/>
                  <a:pt x="146" y="70"/>
                  <a:pt x="146" y="70"/>
                </a:cubicBezTo>
                <a:cubicBezTo>
                  <a:pt x="146" y="70"/>
                  <a:pt x="147" y="70"/>
                  <a:pt x="148" y="70"/>
                </a:cubicBezTo>
                <a:cubicBezTo>
                  <a:pt x="150" y="70"/>
                  <a:pt x="153" y="69"/>
                  <a:pt x="153" y="66"/>
                </a:cubicBezTo>
                <a:cubicBezTo>
                  <a:pt x="154" y="63"/>
                  <a:pt x="153" y="60"/>
                  <a:pt x="150" y="59"/>
                </a:cubicBezTo>
                <a:cubicBezTo>
                  <a:pt x="134" y="53"/>
                  <a:pt x="134" y="53"/>
                  <a:pt x="134" y="53"/>
                </a:cubicBezTo>
                <a:cubicBezTo>
                  <a:pt x="152" y="44"/>
                  <a:pt x="152" y="44"/>
                  <a:pt x="152" y="44"/>
                </a:cubicBezTo>
                <a:cubicBezTo>
                  <a:pt x="155" y="43"/>
                  <a:pt x="156" y="39"/>
                  <a:pt x="155" y="36"/>
                </a:cubicBezTo>
                <a:close/>
                <a:moveTo>
                  <a:pt x="45" y="48"/>
                </a:moveTo>
                <a:cubicBezTo>
                  <a:pt x="33" y="21"/>
                  <a:pt x="33" y="21"/>
                  <a:pt x="33" y="21"/>
                </a:cubicBezTo>
                <a:cubicBezTo>
                  <a:pt x="31" y="17"/>
                  <a:pt x="33" y="11"/>
                  <a:pt x="37" y="9"/>
                </a:cubicBezTo>
                <a:cubicBezTo>
                  <a:pt x="39" y="9"/>
                  <a:pt x="40" y="9"/>
                  <a:pt x="41" y="9"/>
                </a:cubicBezTo>
                <a:cubicBezTo>
                  <a:pt x="43" y="9"/>
                  <a:pt x="46" y="10"/>
                  <a:pt x="48" y="12"/>
                </a:cubicBezTo>
                <a:cubicBezTo>
                  <a:pt x="53" y="18"/>
                  <a:pt x="53" y="18"/>
                  <a:pt x="53" y="18"/>
                </a:cubicBezTo>
                <a:cubicBezTo>
                  <a:pt x="59" y="12"/>
                  <a:pt x="59" y="12"/>
                  <a:pt x="59" y="12"/>
                </a:cubicBezTo>
                <a:cubicBezTo>
                  <a:pt x="62" y="10"/>
                  <a:pt x="67" y="8"/>
                  <a:pt x="72" y="8"/>
                </a:cubicBezTo>
                <a:cubicBezTo>
                  <a:pt x="73" y="8"/>
                  <a:pt x="73" y="8"/>
                  <a:pt x="73" y="8"/>
                </a:cubicBezTo>
                <a:cubicBezTo>
                  <a:pt x="81" y="8"/>
                  <a:pt x="86" y="11"/>
                  <a:pt x="88" y="14"/>
                </a:cubicBezTo>
                <a:cubicBezTo>
                  <a:pt x="95" y="28"/>
                  <a:pt x="95" y="28"/>
                  <a:pt x="95" y="28"/>
                </a:cubicBezTo>
                <a:cubicBezTo>
                  <a:pt x="102" y="14"/>
                  <a:pt x="102" y="14"/>
                  <a:pt x="102" y="14"/>
                </a:cubicBezTo>
                <a:cubicBezTo>
                  <a:pt x="103" y="11"/>
                  <a:pt x="106" y="9"/>
                  <a:pt x="110" y="9"/>
                </a:cubicBezTo>
                <a:cubicBezTo>
                  <a:pt x="111" y="9"/>
                  <a:pt x="112" y="9"/>
                  <a:pt x="113" y="10"/>
                </a:cubicBezTo>
                <a:cubicBezTo>
                  <a:pt x="118" y="12"/>
                  <a:pt x="120" y="17"/>
                  <a:pt x="118" y="22"/>
                </a:cubicBezTo>
                <a:cubicBezTo>
                  <a:pt x="105" y="49"/>
                  <a:pt x="105" y="49"/>
                  <a:pt x="105" y="49"/>
                </a:cubicBezTo>
                <a:cubicBezTo>
                  <a:pt x="105" y="49"/>
                  <a:pt x="105" y="49"/>
                  <a:pt x="105" y="49"/>
                </a:cubicBezTo>
                <a:cubicBezTo>
                  <a:pt x="46" y="51"/>
                  <a:pt x="46" y="51"/>
                  <a:pt x="46" y="51"/>
                </a:cubicBezTo>
                <a:lnTo>
                  <a:pt x="45" y="48"/>
                </a:lnTo>
                <a:close/>
                <a:moveTo>
                  <a:pt x="134" y="121"/>
                </a:moveTo>
                <a:cubicBezTo>
                  <a:pt x="133" y="121"/>
                  <a:pt x="133" y="121"/>
                  <a:pt x="133" y="121"/>
                </a:cubicBezTo>
                <a:cubicBezTo>
                  <a:pt x="139" y="132"/>
                  <a:pt x="139" y="132"/>
                  <a:pt x="139" y="132"/>
                </a:cubicBezTo>
                <a:cubicBezTo>
                  <a:pt x="141" y="136"/>
                  <a:pt x="142" y="141"/>
                  <a:pt x="142" y="145"/>
                </a:cubicBezTo>
                <a:cubicBezTo>
                  <a:pt x="142" y="168"/>
                  <a:pt x="111" y="188"/>
                  <a:pt x="75" y="188"/>
                </a:cubicBezTo>
                <a:cubicBezTo>
                  <a:pt x="39" y="188"/>
                  <a:pt x="8" y="168"/>
                  <a:pt x="8" y="145"/>
                </a:cubicBezTo>
                <a:cubicBezTo>
                  <a:pt x="8" y="141"/>
                  <a:pt x="9" y="136"/>
                  <a:pt x="11" y="132"/>
                </a:cubicBezTo>
                <a:cubicBezTo>
                  <a:pt x="16" y="121"/>
                  <a:pt x="16" y="121"/>
                  <a:pt x="16" y="121"/>
                </a:cubicBezTo>
                <a:cubicBezTo>
                  <a:pt x="16" y="121"/>
                  <a:pt x="16" y="121"/>
                  <a:pt x="16" y="121"/>
                </a:cubicBezTo>
                <a:cubicBezTo>
                  <a:pt x="41" y="63"/>
                  <a:pt x="41" y="63"/>
                  <a:pt x="41" y="63"/>
                </a:cubicBezTo>
                <a:cubicBezTo>
                  <a:pt x="106" y="61"/>
                  <a:pt x="106" y="61"/>
                  <a:pt x="106" y="61"/>
                </a:cubicBezTo>
                <a:lnTo>
                  <a:pt x="134" y="121"/>
                </a:lnTo>
                <a:close/>
                <a:moveTo>
                  <a:pt x="82" y="131"/>
                </a:moveTo>
                <a:cubicBezTo>
                  <a:pt x="83" y="130"/>
                  <a:pt x="83" y="130"/>
                  <a:pt x="83" y="129"/>
                </a:cubicBezTo>
                <a:cubicBezTo>
                  <a:pt x="83" y="128"/>
                  <a:pt x="83" y="128"/>
                  <a:pt x="82" y="128"/>
                </a:cubicBezTo>
                <a:cubicBezTo>
                  <a:pt x="82" y="127"/>
                  <a:pt x="81" y="127"/>
                  <a:pt x="81" y="127"/>
                </a:cubicBezTo>
                <a:cubicBezTo>
                  <a:pt x="70" y="127"/>
                  <a:pt x="70" y="127"/>
                  <a:pt x="70" y="127"/>
                </a:cubicBezTo>
                <a:cubicBezTo>
                  <a:pt x="68" y="127"/>
                  <a:pt x="66" y="127"/>
                  <a:pt x="65" y="126"/>
                </a:cubicBezTo>
                <a:cubicBezTo>
                  <a:pt x="63" y="126"/>
                  <a:pt x="62" y="125"/>
                  <a:pt x="61" y="124"/>
                </a:cubicBezTo>
                <a:cubicBezTo>
                  <a:pt x="60" y="122"/>
                  <a:pt x="59" y="121"/>
                  <a:pt x="58" y="120"/>
                </a:cubicBezTo>
                <a:cubicBezTo>
                  <a:pt x="57" y="118"/>
                  <a:pt x="57" y="116"/>
                  <a:pt x="57" y="114"/>
                </a:cubicBezTo>
                <a:cubicBezTo>
                  <a:pt x="57" y="113"/>
                  <a:pt x="57" y="111"/>
                  <a:pt x="58" y="110"/>
                </a:cubicBezTo>
                <a:cubicBezTo>
                  <a:pt x="59" y="108"/>
                  <a:pt x="60" y="107"/>
                  <a:pt x="61" y="105"/>
                </a:cubicBezTo>
                <a:cubicBezTo>
                  <a:pt x="62" y="104"/>
                  <a:pt x="63" y="103"/>
                  <a:pt x="65" y="103"/>
                </a:cubicBezTo>
                <a:cubicBezTo>
                  <a:pt x="66" y="102"/>
                  <a:pt x="68" y="102"/>
                  <a:pt x="70" y="102"/>
                </a:cubicBezTo>
                <a:cubicBezTo>
                  <a:pt x="71" y="102"/>
                  <a:pt x="71" y="102"/>
                  <a:pt x="71" y="102"/>
                </a:cubicBezTo>
                <a:cubicBezTo>
                  <a:pt x="71" y="89"/>
                  <a:pt x="71" y="89"/>
                  <a:pt x="71" y="89"/>
                </a:cubicBezTo>
                <a:cubicBezTo>
                  <a:pt x="80" y="89"/>
                  <a:pt x="80" y="89"/>
                  <a:pt x="80" y="89"/>
                </a:cubicBezTo>
                <a:cubicBezTo>
                  <a:pt x="80" y="102"/>
                  <a:pt x="80" y="102"/>
                  <a:pt x="80" y="102"/>
                </a:cubicBezTo>
                <a:cubicBezTo>
                  <a:pt x="91" y="102"/>
                  <a:pt x="91" y="102"/>
                  <a:pt x="91" y="102"/>
                </a:cubicBezTo>
                <a:cubicBezTo>
                  <a:pt x="91" y="112"/>
                  <a:pt x="91" y="112"/>
                  <a:pt x="91" y="112"/>
                </a:cubicBezTo>
                <a:cubicBezTo>
                  <a:pt x="70" y="112"/>
                  <a:pt x="70" y="112"/>
                  <a:pt x="70" y="112"/>
                </a:cubicBezTo>
                <a:cubicBezTo>
                  <a:pt x="69" y="112"/>
                  <a:pt x="69" y="112"/>
                  <a:pt x="68" y="113"/>
                </a:cubicBezTo>
                <a:cubicBezTo>
                  <a:pt x="68" y="113"/>
                  <a:pt x="67" y="114"/>
                  <a:pt x="67" y="114"/>
                </a:cubicBezTo>
                <a:cubicBezTo>
                  <a:pt x="67" y="115"/>
                  <a:pt x="68" y="116"/>
                  <a:pt x="68" y="116"/>
                </a:cubicBezTo>
                <a:cubicBezTo>
                  <a:pt x="69" y="117"/>
                  <a:pt x="69" y="117"/>
                  <a:pt x="70" y="117"/>
                </a:cubicBezTo>
                <a:cubicBezTo>
                  <a:pt x="81" y="117"/>
                  <a:pt x="81" y="117"/>
                  <a:pt x="81" y="117"/>
                </a:cubicBezTo>
                <a:cubicBezTo>
                  <a:pt x="82" y="117"/>
                  <a:pt x="84" y="117"/>
                  <a:pt x="85" y="118"/>
                </a:cubicBezTo>
                <a:cubicBezTo>
                  <a:pt x="87" y="119"/>
                  <a:pt x="88" y="119"/>
                  <a:pt x="90" y="120"/>
                </a:cubicBezTo>
                <a:cubicBezTo>
                  <a:pt x="91" y="122"/>
                  <a:pt x="92" y="123"/>
                  <a:pt x="92" y="124"/>
                </a:cubicBezTo>
                <a:cubicBezTo>
                  <a:pt x="93" y="126"/>
                  <a:pt x="93" y="127"/>
                  <a:pt x="93" y="129"/>
                </a:cubicBezTo>
                <a:cubicBezTo>
                  <a:pt x="93" y="131"/>
                  <a:pt x="93" y="133"/>
                  <a:pt x="92" y="134"/>
                </a:cubicBezTo>
                <a:cubicBezTo>
                  <a:pt x="92" y="136"/>
                  <a:pt x="91" y="137"/>
                  <a:pt x="90" y="138"/>
                </a:cubicBezTo>
                <a:cubicBezTo>
                  <a:pt x="88" y="139"/>
                  <a:pt x="87" y="140"/>
                  <a:pt x="85" y="141"/>
                </a:cubicBezTo>
                <a:cubicBezTo>
                  <a:pt x="84" y="142"/>
                  <a:pt x="82" y="142"/>
                  <a:pt x="81" y="142"/>
                </a:cubicBezTo>
                <a:cubicBezTo>
                  <a:pt x="80" y="142"/>
                  <a:pt x="80" y="142"/>
                  <a:pt x="80" y="142"/>
                </a:cubicBezTo>
                <a:cubicBezTo>
                  <a:pt x="80" y="156"/>
                  <a:pt x="80" y="156"/>
                  <a:pt x="80" y="156"/>
                </a:cubicBezTo>
                <a:cubicBezTo>
                  <a:pt x="71" y="156"/>
                  <a:pt x="71" y="156"/>
                  <a:pt x="71" y="156"/>
                </a:cubicBezTo>
                <a:cubicBezTo>
                  <a:pt x="71" y="142"/>
                  <a:pt x="71" y="142"/>
                  <a:pt x="71" y="142"/>
                </a:cubicBezTo>
                <a:cubicBezTo>
                  <a:pt x="57" y="142"/>
                  <a:pt x="57" y="142"/>
                  <a:pt x="57" y="142"/>
                </a:cubicBezTo>
                <a:cubicBezTo>
                  <a:pt x="57" y="132"/>
                  <a:pt x="57" y="132"/>
                  <a:pt x="57" y="132"/>
                </a:cubicBezTo>
                <a:cubicBezTo>
                  <a:pt x="81" y="132"/>
                  <a:pt x="81" y="132"/>
                  <a:pt x="81" y="132"/>
                </a:cubicBezTo>
                <a:cubicBezTo>
                  <a:pt x="81" y="132"/>
                  <a:pt x="82" y="131"/>
                  <a:pt x="82" y="13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8" name="文本框 56">
            <a:extLst>
              <a:ext uri="{FF2B5EF4-FFF2-40B4-BE49-F238E27FC236}">
                <a16:creationId xmlns:a16="http://schemas.microsoft.com/office/drawing/2014/main" id="{881D1D05-2502-4871-BB77-A0A3B053668B}"/>
              </a:ext>
            </a:extLst>
          </p:cNvPr>
          <p:cNvSpPr txBox="1"/>
          <p:nvPr/>
        </p:nvSpPr>
        <p:spPr>
          <a:xfrm>
            <a:off x="1524000" y="4621213"/>
            <a:ext cx="2716213" cy="1384300"/>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ctr" eaLnBrk="1" fontAlgn="auto" hangingPunct="1">
              <a:lnSpc>
                <a:spcPct val="100000"/>
              </a:lnSpc>
              <a:spcBef>
                <a:spcPts val="0"/>
              </a:spcBef>
              <a:spcAft>
                <a:spcPts val="0"/>
              </a:spcAft>
              <a:defRPr/>
            </a:pPr>
            <a:r>
              <a:rPr lang="en-US" altLang="zh-CN" sz="2000" dirty="0">
                <a:solidFill>
                  <a:schemeClr val="tx1">
                    <a:lumMod val="75000"/>
                    <a:lumOff val="25000"/>
                  </a:schemeClr>
                </a:solidFill>
                <a:latin typeface="Impact" pitchFamily="34" charset="0"/>
                <a:ea typeface="+mn-ea"/>
              </a:rPr>
              <a:t>Your Title</a:t>
            </a:r>
          </a:p>
          <a:p>
            <a:pPr algn="ctr" eaLnBrk="1" fontAlgn="auto" hangingPunct="1">
              <a:lnSpc>
                <a:spcPct val="100000"/>
              </a:lnSpc>
              <a:spcBef>
                <a:spcPts val="0"/>
              </a:spcBef>
              <a:spcAft>
                <a:spcPts val="0"/>
              </a:spcAft>
              <a:defRPr/>
            </a:pPr>
            <a:r>
              <a:rPr lang="en-US" altLang="zh-CN" sz="1600" dirty="0">
                <a:solidFill>
                  <a:schemeClr val="tx1">
                    <a:lumMod val="75000"/>
                    <a:lumOff val="25000"/>
                  </a:schemeClr>
                </a:solidFill>
                <a:latin typeface="+mn-lt"/>
                <a:ea typeface="+mn-ea"/>
              </a:rPr>
              <a:t>click to add subtitle click to add subtitle click to add subtitle click to add subtitle</a:t>
            </a:r>
            <a:r>
              <a:rPr lang="zh-CN" altLang="en-US" sz="1600" dirty="0">
                <a:solidFill>
                  <a:schemeClr val="tx1">
                    <a:lumMod val="75000"/>
                    <a:lumOff val="25000"/>
                  </a:schemeClr>
                </a:solidFill>
                <a:latin typeface="+mn-lt"/>
                <a:ea typeface="+mn-ea"/>
              </a:rPr>
              <a:t> </a:t>
            </a:r>
            <a:r>
              <a:rPr lang="en-US" altLang="zh-CN" sz="1600" dirty="0">
                <a:solidFill>
                  <a:schemeClr val="tx1">
                    <a:lumMod val="75000"/>
                    <a:lumOff val="25000"/>
                  </a:schemeClr>
                </a:solidFill>
                <a:latin typeface="+mn-lt"/>
                <a:ea typeface="+mn-ea"/>
              </a:rPr>
              <a:t>click to add subtitle</a:t>
            </a:r>
            <a:endParaRPr lang="zh-CN" altLang="en-US" sz="1600" dirty="0">
              <a:solidFill>
                <a:schemeClr val="tx1">
                  <a:lumMod val="75000"/>
                  <a:lumOff val="25000"/>
                </a:schemeClr>
              </a:solidFill>
              <a:latin typeface="+mn-lt"/>
              <a:ea typeface="+mn-ea"/>
            </a:endParaRPr>
          </a:p>
        </p:txBody>
      </p:sp>
      <p:sp>
        <p:nvSpPr>
          <p:cNvPr id="19" name="文本框 56">
            <a:extLst>
              <a:ext uri="{FF2B5EF4-FFF2-40B4-BE49-F238E27FC236}">
                <a16:creationId xmlns:a16="http://schemas.microsoft.com/office/drawing/2014/main" id="{14B08295-56E6-46D4-9391-21413DE8ED83}"/>
              </a:ext>
            </a:extLst>
          </p:cNvPr>
          <p:cNvSpPr txBox="1"/>
          <p:nvPr/>
        </p:nvSpPr>
        <p:spPr>
          <a:xfrm>
            <a:off x="4737100" y="4621213"/>
            <a:ext cx="2717800" cy="1384300"/>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ctr" eaLnBrk="1" fontAlgn="auto" hangingPunct="1">
              <a:lnSpc>
                <a:spcPct val="100000"/>
              </a:lnSpc>
              <a:spcBef>
                <a:spcPts val="0"/>
              </a:spcBef>
              <a:spcAft>
                <a:spcPts val="0"/>
              </a:spcAft>
              <a:defRPr/>
            </a:pPr>
            <a:r>
              <a:rPr lang="en-US" altLang="zh-CN" sz="2000" dirty="0">
                <a:solidFill>
                  <a:schemeClr val="tx1">
                    <a:lumMod val="75000"/>
                    <a:lumOff val="25000"/>
                  </a:schemeClr>
                </a:solidFill>
                <a:latin typeface="Impact" pitchFamily="34" charset="0"/>
                <a:ea typeface="+mn-ea"/>
              </a:rPr>
              <a:t>Your Title</a:t>
            </a:r>
          </a:p>
          <a:p>
            <a:pPr algn="ctr" eaLnBrk="1" fontAlgn="auto" hangingPunct="1">
              <a:lnSpc>
                <a:spcPct val="100000"/>
              </a:lnSpc>
              <a:spcBef>
                <a:spcPts val="0"/>
              </a:spcBef>
              <a:spcAft>
                <a:spcPts val="0"/>
              </a:spcAft>
              <a:defRPr/>
            </a:pPr>
            <a:r>
              <a:rPr lang="en-US" altLang="zh-CN" sz="1600" dirty="0">
                <a:solidFill>
                  <a:schemeClr val="tx1">
                    <a:lumMod val="75000"/>
                    <a:lumOff val="25000"/>
                  </a:schemeClr>
                </a:solidFill>
                <a:latin typeface="+mn-lt"/>
                <a:ea typeface="+mn-ea"/>
              </a:rPr>
              <a:t>click to add subtitle click to add subtitle click to add subtitle click to add subtitle</a:t>
            </a:r>
            <a:r>
              <a:rPr lang="zh-CN" altLang="en-US" sz="1600" dirty="0">
                <a:solidFill>
                  <a:schemeClr val="tx1">
                    <a:lumMod val="75000"/>
                    <a:lumOff val="25000"/>
                  </a:schemeClr>
                </a:solidFill>
                <a:latin typeface="+mn-lt"/>
                <a:ea typeface="+mn-ea"/>
              </a:rPr>
              <a:t> </a:t>
            </a:r>
            <a:r>
              <a:rPr lang="en-US" altLang="zh-CN" sz="1600" dirty="0">
                <a:solidFill>
                  <a:schemeClr val="tx1">
                    <a:lumMod val="75000"/>
                    <a:lumOff val="25000"/>
                  </a:schemeClr>
                </a:solidFill>
                <a:latin typeface="+mn-lt"/>
                <a:ea typeface="+mn-ea"/>
              </a:rPr>
              <a:t>click to add subtitle</a:t>
            </a:r>
            <a:endParaRPr lang="zh-CN" altLang="en-US" sz="1600" dirty="0">
              <a:solidFill>
                <a:schemeClr val="tx1">
                  <a:lumMod val="75000"/>
                  <a:lumOff val="25000"/>
                </a:schemeClr>
              </a:solidFill>
              <a:latin typeface="+mn-lt"/>
              <a:ea typeface="+mn-ea"/>
            </a:endParaRPr>
          </a:p>
        </p:txBody>
      </p:sp>
      <p:sp>
        <p:nvSpPr>
          <p:cNvPr id="20" name="文本框 56">
            <a:extLst>
              <a:ext uri="{FF2B5EF4-FFF2-40B4-BE49-F238E27FC236}">
                <a16:creationId xmlns:a16="http://schemas.microsoft.com/office/drawing/2014/main" id="{B5E50BBE-9B74-4F05-8C8D-A1FD39C06F08}"/>
              </a:ext>
            </a:extLst>
          </p:cNvPr>
          <p:cNvSpPr txBox="1"/>
          <p:nvPr/>
        </p:nvSpPr>
        <p:spPr>
          <a:xfrm>
            <a:off x="7951788" y="4621213"/>
            <a:ext cx="2716212" cy="1384300"/>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ctr" eaLnBrk="1" fontAlgn="auto" hangingPunct="1">
              <a:lnSpc>
                <a:spcPct val="100000"/>
              </a:lnSpc>
              <a:spcBef>
                <a:spcPts val="0"/>
              </a:spcBef>
              <a:spcAft>
                <a:spcPts val="0"/>
              </a:spcAft>
              <a:defRPr/>
            </a:pPr>
            <a:r>
              <a:rPr lang="en-US" altLang="zh-CN" sz="2000" dirty="0">
                <a:solidFill>
                  <a:schemeClr val="tx1">
                    <a:lumMod val="75000"/>
                    <a:lumOff val="25000"/>
                  </a:schemeClr>
                </a:solidFill>
                <a:latin typeface="Impact" pitchFamily="34" charset="0"/>
                <a:ea typeface="+mn-ea"/>
              </a:rPr>
              <a:t>Your Title</a:t>
            </a:r>
          </a:p>
          <a:p>
            <a:pPr algn="ctr" eaLnBrk="1" fontAlgn="auto" hangingPunct="1">
              <a:lnSpc>
                <a:spcPct val="100000"/>
              </a:lnSpc>
              <a:spcBef>
                <a:spcPts val="0"/>
              </a:spcBef>
              <a:spcAft>
                <a:spcPts val="0"/>
              </a:spcAft>
              <a:defRPr/>
            </a:pPr>
            <a:r>
              <a:rPr lang="en-US" altLang="zh-CN" sz="1600" dirty="0">
                <a:solidFill>
                  <a:schemeClr val="tx1">
                    <a:lumMod val="75000"/>
                    <a:lumOff val="25000"/>
                  </a:schemeClr>
                </a:solidFill>
                <a:latin typeface="+mn-lt"/>
                <a:ea typeface="+mn-ea"/>
              </a:rPr>
              <a:t>click to add subtitle click to add subtitle click to add subtitle click to add subtitle</a:t>
            </a:r>
            <a:r>
              <a:rPr lang="zh-CN" altLang="en-US" sz="1600" dirty="0">
                <a:solidFill>
                  <a:schemeClr val="tx1">
                    <a:lumMod val="75000"/>
                    <a:lumOff val="25000"/>
                  </a:schemeClr>
                </a:solidFill>
                <a:latin typeface="+mn-lt"/>
                <a:ea typeface="+mn-ea"/>
              </a:rPr>
              <a:t> </a:t>
            </a:r>
            <a:r>
              <a:rPr lang="en-US" altLang="zh-CN" sz="1600" dirty="0">
                <a:solidFill>
                  <a:schemeClr val="tx1">
                    <a:lumMod val="75000"/>
                    <a:lumOff val="25000"/>
                  </a:schemeClr>
                </a:solidFill>
                <a:latin typeface="+mn-lt"/>
                <a:ea typeface="+mn-ea"/>
              </a:rPr>
              <a:t>click to add subtitle</a:t>
            </a:r>
            <a:endParaRPr lang="zh-CN" altLang="en-US" sz="1600" dirty="0">
              <a:solidFill>
                <a:schemeClr val="tx1">
                  <a:lumMod val="75000"/>
                  <a:lumOff val="25000"/>
                </a:schemeClr>
              </a:solidFill>
              <a:latin typeface="+mn-lt"/>
              <a:ea typeface="+mn-ea"/>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31" presetClass="entr" presetSubtype="0" fill="hold" nodeType="after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p:cTn id="7" dur="500" fill="hold"/>
                                        <p:tgtEl>
                                          <p:spTgt spid="21"/>
                                        </p:tgtEl>
                                        <p:attrNameLst>
                                          <p:attrName>ppt_w</p:attrName>
                                        </p:attrNameLst>
                                      </p:cBhvr>
                                      <p:tavLst>
                                        <p:tav tm="0">
                                          <p:val>
                                            <p:fltVal val="0"/>
                                          </p:val>
                                        </p:tav>
                                        <p:tav tm="100000">
                                          <p:val>
                                            <p:strVal val="#ppt_w"/>
                                          </p:val>
                                        </p:tav>
                                      </p:tavLst>
                                    </p:anim>
                                    <p:anim calcmode="lin" valueType="num">
                                      <p:cBhvr>
                                        <p:cTn id="8" dur="500" fill="hold"/>
                                        <p:tgtEl>
                                          <p:spTgt spid="21"/>
                                        </p:tgtEl>
                                        <p:attrNameLst>
                                          <p:attrName>ppt_h</p:attrName>
                                        </p:attrNameLst>
                                      </p:cBhvr>
                                      <p:tavLst>
                                        <p:tav tm="0">
                                          <p:val>
                                            <p:fltVal val="0"/>
                                          </p:val>
                                        </p:tav>
                                        <p:tav tm="100000">
                                          <p:val>
                                            <p:strVal val="#ppt_h"/>
                                          </p:val>
                                        </p:tav>
                                      </p:tavLst>
                                    </p:anim>
                                    <p:anim calcmode="lin" valueType="num">
                                      <p:cBhvr>
                                        <p:cTn id="9" dur="500" fill="hold"/>
                                        <p:tgtEl>
                                          <p:spTgt spid="21"/>
                                        </p:tgtEl>
                                        <p:attrNameLst>
                                          <p:attrName>style.rotation</p:attrName>
                                        </p:attrNameLst>
                                      </p:cBhvr>
                                      <p:tavLst>
                                        <p:tav tm="0">
                                          <p:val>
                                            <p:fltVal val="90"/>
                                          </p:val>
                                        </p:tav>
                                        <p:tav tm="100000">
                                          <p:val>
                                            <p:fltVal val="0"/>
                                          </p:val>
                                        </p:tav>
                                      </p:tavLst>
                                    </p:anim>
                                    <p:animEffect transition="in" filter="fade">
                                      <p:cBhvr>
                                        <p:cTn id="10" dur="500"/>
                                        <p:tgtEl>
                                          <p:spTgt spid="21"/>
                                        </p:tgtEl>
                                      </p:cBhvr>
                                    </p:animEffect>
                                  </p:childTnLst>
                                </p:cTn>
                              </p:par>
                            </p:childTnLst>
                          </p:cTn>
                        </p:par>
                        <p:par>
                          <p:cTn id="11" fill="hold" nodeType="afterGroup">
                            <p:stCondLst>
                              <p:cond delay="500"/>
                            </p:stCondLst>
                            <p:childTnLst>
                              <p:par>
                                <p:cTn id="12" presetID="10" presetClass="entr" presetSubtype="0" fill="hold" nodeType="after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250"/>
                                        <p:tgtEl>
                                          <p:spTgt spid="11"/>
                                        </p:tgtEl>
                                      </p:cBhvr>
                                    </p:animEffect>
                                  </p:childTnLst>
                                </p:cTn>
                              </p:par>
                            </p:childTnLst>
                          </p:cTn>
                        </p:par>
                        <p:par>
                          <p:cTn id="15" fill="hold" nodeType="afterGroup">
                            <p:stCondLst>
                              <p:cond delay="750"/>
                            </p:stCondLst>
                            <p:childTnLst>
                              <p:par>
                                <p:cTn id="16" presetID="31" presetClass="entr" presetSubtype="0" fill="hold" nodeType="afterEffect">
                                  <p:stCondLst>
                                    <p:cond delay="0"/>
                                  </p:stCondLst>
                                  <p:childTnLst>
                                    <p:set>
                                      <p:cBhvr>
                                        <p:cTn id="17" dur="1" fill="hold">
                                          <p:stCondLst>
                                            <p:cond delay="0"/>
                                          </p:stCondLst>
                                        </p:cTn>
                                        <p:tgtEl>
                                          <p:spTgt spid="22"/>
                                        </p:tgtEl>
                                        <p:attrNameLst>
                                          <p:attrName>style.visibility</p:attrName>
                                        </p:attrNameLst>
                                      </p:cBhvr>
                                      <p:to>
                                        <p:strVal val="visible"/>
                                      </p:to>
                                    </p:set>
                                    <p:anim calcmode="lin" valueType="num">
                                      <p:cBhvr>
                                        <p:cTn id="18" dur="500" fill="hold"/>
                                        <p:tgtEl>
                                          <p:spTgt spid="22"/>
                                        </p:tgtEl>
                                        <p:attrNameLst>
                                          <p:attrName>ppt_w</p:attrName>
                                        </p:attrNameLst>
                                      </p:cBhvr>
                                      <p:tavLst>
                                        <p:tav tm="0">
                                          <p:val>
                                            <p:fltVal val="0"/>
                                          </p:val>
                                        </p:tav>
                                        <p:tav tm="100000">
                                          <p:val>
                                            <p:strVal val="#ppt_w"/>
                                          </p:val>
                                        </p:tav>
                                      </p:tavLst>
                                    </p:anim>
                                    <p:anim calcmode="lin" valueType="num">
                                      <p:cBhvr>
                                        <p:cTn id="19" dur="500" fill="hold"/>
                                        <p:tgtEl>
                                          <p:spTgt spid="22"/>
                                        </p:tgtEl>
                                        <p:attrNameLst>
                                          <p:attrName>ppt_h</p:attrName>
                                        </p:attrNameLst>
                                      </p:cBhvr>
                                      <p:tavLst>
                                        <p:tav tm="0">
                                          <p:val>
                                            <p:fltVal val="0"/>
                                          </p:val>
                                        </p:tav>
                                        <p:tav tm="100000">
                                          <p:val>
                                            <p:strVal val="#ppt_h"/>
                                          </p:val>
                                        </p:tav>
                                      </p:tavLst>
                                    </p:anim>
                                    <p:anim calcmode="lin" valueType="num">
                                      <p:cBhvr>
                                        <p:cTn id="20" dur="500" fill="hold"/>
                                        <p:tgtEl>
                                          <p:spTgt spid="22"/>
                                        </p:tgtEl>
                                        <p:attrNameLst>
                                          <p:attrName>style.rotation</p:attrName>
                                        </p:attrNameLst>
                                      </p:cBhvr>
                                      <p:tavLst>
                                        <p:tav tm="0">
                                          <p:val>
                                            <p:fltVal val="90"/>
                                          </p:val>
                                        </p:tav>
                                        <p:tav tm="100000">
                                          <p:val>
                                            <p:fltVal val="0"/>
                                          </p:val>
                                        </p:tav>
                                      </p:tavLst>
                                    </p:anim>
                                    <p:animEffect transition="in" filter="fade">
                                      <p:cBhvr>
                                        <p:cTn id="21" dur="500"/>
                                        <p:tgtEl>
                                          <p:spTgt spid="22"/>
                                        </p:tgtEl>
                                      </p:cBhvr>
                                    </p:animEffect>
                                  </p:childTnLst>
                                </p:cTn>
                              </p:par>
                            </p:childTnLst>
                          </p:cTn>
                        </p:par>
                        <p:par>
                          <p:cTn id="22" fill="hold" nodeType="afterGroup">
                            <p:stCondLst>
                              <p:cond delay="1250"/>
                            </p:stCondLst>
                            <p:childTnLst>
                              <p:par>
                                <p:cTn id="23" presetID="10" presetClass="entr" presetSubtype="0" fill="hold" nodeType="after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fade">
                                      <p:cBhvr>
                                        <p:cTn id="25" dur="250"/>
                                        <p:tgtEl>
                                          <p:spTgt spid="13"/>
                                        </p:tgtEl>
                                      </p:cBhvr>
                                    </p:animEffect>
                                  </p:childTnLst>
                                </p:cTn>
                              </p:par>
                            </p:childTnLst>
                          </p:cTn>
                        </p:par>
                        <p:par>
                          <p:cTn id="26" fill="hold" nodeType="afterGroup">
                            <p:stCondLst>
                              <p:cond delay="1500"/>
                            </p:stCondLst>
                            <p:childTnLst>
                              <p:par>
                                <p:cTn id="27" presetID="31" presetClass="entr" presetSubtype="0" fill="hold" nodeType="afterEffect">
                                  <p:stCondLst>
                                    <p:cond delay="0"/>
                                  </p:stCondLst>
                                  <p:childTnLst>
                                    <p:set>
                                      <p:cBhvr>
                                        <p:cTn id="28" dur="1" fill="hold">
                                          <p:stCondLst>
                                            <p:cond delay="0"/>
                                          </p:stCondLst>
                                        </p:cTn>
                                        <p:tgtEl>
                                          <p:spTgt spid="23"/>
                                        </p:tgtEl>
                                        <p:attrNameLst>
                                          <p:attrName>style.visibility</p:attrName>
                                        </p:attrNameLst>
                                      </p:cBhvr>
                                      <p:to>
                                        <p:strVal val="visible"/>
                                      </p:to>
                                    </p:set>
                                    <p:anim calcmode="lin" valueType="num">
                                      <p:cBhvr>
                                        <p:cTn id="29" dur="500" fill="hold"/>
                                        <p:tgtEl>
                                          <p:spTgt spid="23"/>
                                        </p:tgtEl>
                                        <p:attrNameLst>
                                          <p:attrName>ppt_w</p:attrName>
                                        </p:attrNameLst>
                                      </p:cBhvr>
                                      <p:tavLst>
                                        <p:tav tm="0">
                                          <p:val>
                                            <p:fltVal val="0"/>
                                          </p:val>
                                        </p:tav>
                                        <p:tav tm="100000">
                                          <p:val>
                                            <p:strVal val="#ppt_w"/>
                                          </p:val>
                                        </p:tav>
                                      </p:tavLst>
                                    </p:anim>
                                    <p:anim calcmode="lin" valueType="num">
                                      <p:cBhvr>
                                        <p:cTn id="30" dur="500" fill="hold"/>
                                        <p:tgtEl>
                                          <p:spTgt spid="23"/>
                                        </p:tgtEl>
                                        <p:attrNameLst>
                                          <p:attrName>ppt_h</p:attrName>
                                        </p:attrNameLst>
                                      </p:cBhvr>
                                      <p:tavLst>
                                        <p:tav tm="0">
                                          <p:val>
                                            <p:fltVal val="0"/>
                                          </p:val>
                                        </p:tav>
                                        <p:tav tm="100000">
                                          <p:val>
                                            <p:strVal val="#ppt_h"/>
                                          </p:val>
                                        </p:tav>
                                      </p:tavLst>
                                    </p:anim>
                                    <p:anim calcmode="lin" valueType="num">
                                      <p:cBhvr>
                                        <p:cTn id="31" dur="500" fill="hold"/>
                                        <p:tgtEl>
                                          <p:spTgt spid="23"/>
                                        </p:tgtEl>
                                        <p:attrNameLst>
                                          <p:attrName>style.rotation</p:attrName>
                                        </p:attrNameLst>
                                      </p:cBhvr>
                                      <p:tavLst>
                                        <p:tav tm="0">
                                          <p:val>
                                            <p:fltVal val="90"/>
                                          </p:val>
                                        </p:tav>
                                        <p:tav tm="100000">
                                          <p:val>
                                            <p:fltVal val="0"/>
                                          </p:val>
                                        </p:tav>
                                      </p:tavLst>
                                    </p:anim>
                                    <p:animEffect transition="in" filter="fade">
                                      <p:cBhvr>
                                        <p:cTn id="32" dur="500"/>
                                        <p:tgtEl>
                                          <p:spTgt spid="23"/>
                                        </p:tgtEl>
                                      </p:cBhvr>
                                    </p:animEffect>
                                  </p:childTnLst>
                                </p:cTn>
                              </p:par>
                            </p:childTnLst>
                          </p:cTn>
                        </p:par>
                        <p:par>
                          <p:cTn id="33" fill="hold" nodeType="afterGroup">
                            <p:stCondLst>
                              <p:cond delay="2000"/>
                            </p:stCondLst>
                            <p:childTnLst>
                              <p:par>
                                <p:cTn id="34" presetID="10" presetClass="entr" presetSubtype="0" fill="hold" nodeType="afterEffect">
                                  <p:stCondLst>
                                    <p:cond delay="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250"/>
                                        <p:tgtEl>
                                          <p:spTgt spid="12"/>
                                        </p:tgtEl>
                                      </p:cBhvr>
                                    </p:animEffect>
                                  </p:childTnLst>
                                </p:cTn>
                              </p:par>
                            </p:childTnLst>
                          </p:cTn>
                        </p:par>
                        <p:par>
                          <p:cTn id="37" fill="hold" nodeType="afterGroup">
                            <p:stCondLst>
                              <p:cond delay="2250"/>
                            </p:stCondLst>
                            <p:childTnLst>
                              <p:par>
                                <p:cTn id="38" presetID="42" presetClass="entr" presetSubtype="0" fill="hold" grpId="0" nodeType="afterEffect">
                                  <p:stCondLst>
                                    <p:cond delay="0"/>
                                  </p:stCondLst>
                                  <p:childTnLst>
                                    <p:set>
                                      <p:cBhvr>
                                        <p:cTn id="39" dur="1" fill="hold">
                                          <p:stCondLst>
                                            <p:cond delay="0"/>
                                          </p:stCondLst>
                                        </p:cTn>
                                        <p:tgtEl>
                                          <p:spTgt spid="18"/>
                                        </p:tgtEl>
                                        <p:attrNameLst>
                                          <p:attrName>style.visibility</p:attrName>
                                        </p:attrNameLst>
                                      </p:cBhvr>
                                      <p:to>
                                        <p:strVal val="visible"/>
                                      </p:to>
                                    </p:set>
                                    <p:animEffect transition="in" filter="fade">
                                      <p:cBhvr>
                                        <p:cTn id="40" dur="500"/>
                                        <p:tgtEl>
                                          <p:spTgt spid="18"/>
                                        </p:tgtEl>
                                      </p:cBhvr>
                                    </p:animEffect>
                                    <p:anim calcmode="lin" valueType="num">
                                      <p:cBhvr>
                                        <p:cTn id="41" dur="500" fill="hold"/>
                                        <p:tgtEl>
                                          <p:spTgt spid="18"/>
                                        </p:tgtEl>
                                        <p:attrNameLst>
                                          <p:attrName>ppt_x</p:attrName>
                                        </p:attrNameLst>
                                      </p:cBhvr>
                                      <p:tavLst>
                                        <p:tav tm="0">
                                          <p:val>
                                            <p:strVal val="#ppt_x"/>
                                          </p:val>
                                        </p:tav>
                                        <p:tav tm="100000">
                                          <p:val>
                                            <p:strVal val="#ppt_x"/>
                                          </p:val>
                                        </p:tav>
                                      </p:tavLst>
                                    </p:anim>
                                    <p:anim calcmode="lin" valueType="num">
                                      <p:cBhvr>
                                        <p:cTn id="42" dur="500" fill="hold"/>
                                        <p:tgtEl>
                                          <p:spTgt spid="18"/>
                                        </p:tgtEl>
                                        <p:attrNameLst>
                                          <p:attrName>ppt_y</p:attrName>
                                        </p:attrNameLst>
                                      </p:cBhvr>
                                      <p:tavLst>
                                        <p:tav tm="0">
                                          <p:val>
                                            <p:strVal val="#ppt_y+.1"/>
                                          </p:val>
                                        </p:tav>
                                        <p:tav tm="100000">
                                          <p:val>
                                            <p:strVal val="#ppt_y"/>
                                          </p:val>
                                        </p:tav>
                                      </p:tavLst>
                                    </p:anim>
                                  </p:childTnLst>
                                </p:cTn>
                              </p:par>
                            </p:childTnLst>
                          </p:cTn>
                        </p:par>
                        <p:par>
                          <p:cTn id="43" fill="hold" nodeType="afterGroup">
                            <p:stCondLst>
                              <p:cond delay="2750"/>
                            </p:stCondLst>
                            <p:childTnLst>
                              <p:par>
                                <p:cTn id="44" presetID="42" presetClass="entr" presetSubtype="0" fill="hold" grpId="0" nodeType="after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fade">
                                      <p:cBhvr>
                                        <p:cTn id="46" dur="500"/>
                                        <p:tgtEl>
                                          <p:spTgt spid="19"/>
                                        </p:tgtEl>
                                      </p:cBhvr>
                                    </p:animEffect>
                                    <p:anim calcmode="lin" valueType="num">
                                      <p:cBhvr>
                                        <p:cTn id="47" dur="500" fill="hold"/>
                                        <p:tgtEl>
                                          <p:spTgt spid="19"/>
                                        </p:tgtEl>
                                        <p:attrNameLst>
                                          <p:attrName>ppt_x</p:attrName>
                                        </p:attrNameLst>
                                      </p:cBhvr>
                                      <p:tavLst>
                                        <p:tav tm="0">
                                          <p:val>
                                            <p:strVal val="#ppt_x"/>
                                          </p:val>
                                        </p:tav>
                                        <p:tav tm="100000">
                                          <p:val>
                                            <p:strVal val="#ppt_x"/>
                                          </p:val>
                                        </p:tav>
                                      </p:tavLst>
                                    </p:anim>
                                    <p:anim calcmode="lin" valueType="num">
                                      <p:cBhvr>
                                        <p:cTn id="48" dur="500" fill="hold"/>
                                        <p:tgtEl>
                                          <p:spTgt spid="19"/>
                                        </p:tgtEl>
                                        <p:attrNameLst>
                                          <p:attrName>ppt_y</p:attrName>
                                        </p:attrNameLst>
                                      </p:cBhvr>
                                      <p:tavLst>
                                        <p:tav tm="0">
                                          <p:val>
                                            <p:strVal val="#ppt_y+.1"/>
                                          </p:val>
                                        </p:tav>
                                        <p:tav tm="100000">
                                          <p:val>
                                            <p:strVal val="#ppt_y"/>
                                          </p:val>
                                        </p:tav>
                                      </p:tavLst>
                                    </p:anim>
                                  </p:childTnLst>
                                </p:cTn>
                              </p:par>
                            </p:childTnLst>
                          </p:cTn>
                        </p:par>
                        <p:par>
                          <p:cTn id="49" fill="hold" nodeType="afterGroup">
                            <p:stCondLst>
                              <p:cond delay="3250"/>
                            </p:stCondLst>
                            <p:childTnLst>
                              <p:par>
                                <p:cTn id="50" presetID="42" presetClass="entr" presetSubtype="0" fill="hold" grpId="0" nodeType="afterEffect">
                                  <p:stCondLst>
                                    <p:cond delay="0"/>
                                  </p:stCondLst>
                                  <p:childTnLst>
                                    <p:set>
                                      <p:cBhvr>
                                        <p:cTn id="51" dur="1" fill="hold">
                                          <p:stCondLst>
                                            <p:cond delay="0"/>
                                          </p:stCondLst>
                                        </p:cTn>
                                        <p:tgtEl>
                                          <p:spTgt spid="20"/>
                                        </p:tgtEl>
                                        <p:attrNameLst>
                                          <p:attrName>style.visibility</p:attrName>
                                        </p:attrNameLst>
                                      </p:cBhvr>
                                      <p:to>
                                        <p:strVal val="visible"/>
                                      </p:to>
                                    </p:set>
                                    <p:animEffect transition="in" filter="fade">
                                      <p:cBhvr>
                                        <p:cTn id="52" dur="500"/>
                                        <p:tgtEl>
                                          <p:spTgt spid="20"/>
                                        </p:tgtEl>
                                      </p:cBhvr>
                                    </p:animEffect>
                                    <p:anim calcmode="lin" valueType="num">
                                      <p:cBhvr>
                                        <p:cTn id="53" dur="500" fill="hold"/>
                                        <p:tgtEl>
                                          <p:spTgt spid="20"/>
                                        </p:tgtEl>
                                        <p:attrNameLst>
                                          <p:attrName>ppt_x</p:attrName>
                                        </p:attrNameLst>
                                      </p:cBhvr>
                                      <p:tavLst>
                                        <p:tav tm="0">
                                          <p:val>
                                            <p:strVal val="#ppt_x"/>
                                          </p:val>
                                        </p:tav>
                                        <p:tav tm="100000">
                                          <p:val>
                                            <p:strVal val="#ppt_x"/>
                                          </p:val>
                                        </p:tav>
                                      </p:tavLst>
                                    </p:anim>
                                    <p:anim calcmode="lin" valueType="num">
                                      <p:cBhvr>
                                        <p:cTn id="54" dur="500" fill="hold"/>
                                        <p:tgtEl>
                                          <p:spTgt spid="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文本框 56">
            <a:extLst>
              <a:ext uri="{FF2B5EF4-FFF2-40B4-BE49-F238E27FC236}">
                <a16:creationId xmlns:a16="http://schemas.microsoft.com/office/drawing/2014/main" id="{92210A56-6CAF-4C0A-9A78-625BF47EC621}"/>
              </a:ext>
            </a:extLst>
          </p:cNvPr>
          <p:cNvSpPr txBox="1">
            <a:spLocks noChangeArrowheads="1"/>
          </p:cNvSpPr>
          <p:nvPr/>
        </p:nvSpPr>
        <p:spPr bwMode="auto">
          <a:xfrm>
            <a:off x="1154113" y="566738"/>
            <a:ext cx="509587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00000"/>
              </a:lnSpc>
              <a:spcBef>
                <a:spcPct val="0"/>
              </a:spcBef>
              <a:buFontTx/>
              <a:buNone/>
            </a:pPr>
            <a:r>
              <a:rPr lang="en-US" altLang="zh-CN" sz="3200" b="1">
                <a:solidFill>
                  <a:srgbClr val="C20F2A"/>
                </a:solidFill>
                <a:latin typeface="Agency FB" panose="020B0503020202020204" pitchFamily="34" charset="0"/>
              </a:rPr>
              <a:t>CLICK TO ADD YOUR TITLE IN HERE</a:t>
            </a:r>
          </a:p>
        </p:txBody>
      </p:sp>
      <p:sp>
        <p:nvSpPr>
          <p:cNvPr id="31" name="椭圆 30">
            <a:extLst>
              <a:ext uri="{FF2B5EF4-FFF2-40B4-BE49-F238E27FC236}">
                <a16:creationId xmlns:a16="http://schemas.microsoft.com/office/drawing/2014/main" id="{32D7ACB8-D8AC-45A4-A02D-D84553C78D04}"/>
              </a:ext>
            </a:extLst>
          </p:cNvPr>
          <p:cNvSpPr/>
          <p:nvPr/>
        </p:nvSpPr>
        <p:spPr>
          <a:xfrm>
            <a:off x="7656513" y="1866900"/>
            <a:ext cx="541337" cy="541338"/>
          </a:xfrm>
          <a:prstGeom prst="ellipse">
            <a:avLst/>
          </a:prstGeom>
          <a:solidFill>
            <a:srgbClr val="292929"/>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altLang="zh-CN" sz="2800" b="1" dirty="0">
                <a:latin typeface="Agency FB" panose="020B0503020202020204" pitchFamily="34" charset="0"/>
              </a:rPr>
              <a:t>2</a:t>
            </a:r>
            <a:endParaRPr lang="zh-CN" altLang="en-US" sz="2800" b="1" dirty="0">
              <a:latin typeface="Agency FB" panose="020B0503020202020204" pitchFamily="34" charset="0"/>
            </a:endParaRPr>
          </a:p>
        </p:txBody>
      </p:sp>
      <p:sp>
        <p:nvSpPr>
          <p:cNvPr id="33" name="椭圆 32">
            <a:extLst>
              <a:ext uri="{FF2B5EF4-FFF2-40B4-BE49-F238E27FC236}">
                <a16:creationId xmlns:a16="http://schemas.microsoft.com/office/drawing/2014/main" id="{B12B0A39-DA3E-4FDC-A26B-494C483F1B2C}"/>
              </a:ext>
            </a:extLst>
          </p:cNvPr>
          <p:cNvSpPr/>
          <p:nvPr/>
        </p:nvSpPr>
        <p:spPr>
          <a:xfrm>
            <a:off x="7386638" y="4913313"/>
            <a:ext cx="539750" cy="541337"/>
          </a:xfrm>
          <a:prstGeom prst="ellipse">
            <a:avLst/>
          </a:prstGeom>
          <a:solidFill>
            <a:srgbClr val="292929"/>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altLang="zh-CN" sz="2800" b="1" dirty="0">
                <a:latin typeface="Agency FB" panose="020B0503020202020204" pitchFamily="34" charset="0"/>
              </a:rPr>
              <a:t>3</a:t>
            </a:r>
            <a:endParaRPr lang="zh-CN" altLang="en-US" sz="2800" b="1" dirty="0">
              <a:latin typeface="Agency FB" panose="020B0503020202020204" pitchFamily="34" charset="0"/>
            </a:endParaRPr>
          </a:p>
        </p:txBody>
      </p:sp>
      <p:sp>
        <p:nvSpPr>
          <p:cNvPr id="35" name="椭圆 34">
            <a:extLst>
              <a:ext uri="{FF2B5EF4-FFF2-40B4-BE49-F238E27FC236}">
                <a16:creationId xmlns:a16="http://schemas.microsoft.com/office/drawing/2014/main" id="{68F701AC-50B2-4EAC-AFB8-5D626E1A49D6}"/>
              </a:ext>
            </a:extLst>
          </p:cNvPr>
          <p:cNvSpPr/>
          <p:nvPr/>
        </p:nvSpPr>
        <p:spPr>
          <a:xfrm>
            <a:off x="3994150" y="3068638"/>
            <a:ext cx="541338" cy="541337"/>
          </a:xfrm>
          <a:prstGeom prst="ellipse">
            <a:avLst/>
          </a:prstGeom>
          <a:solidFill>
            <a:srgbClr val="292929"/>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altLang="zh-CN" sz="2800" b="1" dirty="0">
                <a:latin typeface="Agency FB" panose="020B0503020202020204" pitchFamily="34" charset="0"/>
              </a:rPr>
              <a:t>1</a:t>
            </a:r>
            <a:endParaRPr lang="zh-CN" altLang="en-US" sz="2800" b="1" dirty="0">
              <a:latin typeface="Agency FB" panose="020B0503020202020204" pitchFamily="34" charset="0"/>
            </a:endParaRPr>
          </a:p>
        </p:txBody>
      </p:sp>
      <p:sp>
        <p:nvSpPr>
          <p:cNvPr id="36" name="任意多边形 35">
            <a:extLst>
              <a:ext uri="{FF2B5EF4-FFF2-40B4-BE49-F238E27FC236}">
                <a16:creationId xmlns:a16="http://schemas.microsoft.com/office/drawing/2014/main" id="{188BC7CF-66C3-4C76-890D-074F7484A8E7}"/>
              </a:ext>
            </a:extLst>
          </p:cNvPr>
          <p:cNvSpPr/>
          <p:nvPr/>
        </p:nvSpPr>
        <p:spPr>
          <a:xfrm rot="900000">
            <a:off x="5764213" y="1951038"/>
            <a:ext cx="1852612" cy="925512"/>
          </a:xfrm>
          <a:custGeom>
            <a:avLst/>
            <a:gdLst>
              <a:gd name="connsiteX0" fmla="*/ 1213505 w 1391850"/>
              <a:gd name="connsiteY0" fmla="*/ 0 h 696292"/>
              <a:gd name="connsiteX1" fmla="*/ 1391850 w 1391850"/>
              <a:gd name="connsiteY1" fmla="*/ 680523 h 696292"/>
              <a:gd name="connsiteX2" fmla="*/ 664395 w 1391850"/>
              <a:gd name="connsiteY2" fmla="*/ 679784 h 696292"/>
              <a:gd name="connsiteX3" fmla="*/ 810270 w 1391850"/>
              <a:gd name="connsiteY3" fmla="*/ 476062 h 696292"/>
              <a:gd name="connsiteX4" fmla="*/ 0 w 1391850"/>
              <a:gd name="connsiteY4" fmla="*/ 696292 h 696292"/>
              <a:gd name="connsiteX5" fmla="*/ 1084978 w 1391850"/>
              <a:gd name="connsiteY5" fmla="*/ 149640 h 696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91850" h="696292">
                <a:moveTo>
                  <a:pt x="1213505" y="0"/>
                </a:moveTo>
                <a:lnTo>
                  <a:pt x="1391850" y="680523"/>
                </a:lnTo>
                <a:lnTo>
                  <a:pt x="664395" y="679784"/>
                </a:lnTo>
                <a:lnTo>
                  <a:pt x="810270" y="476062"/>
                </a:lnTo>
                <a:cubicBezTo>
                  <a:pt x="711564" y="424684"/>
                  <a:pt x="364296" y="301346"/>
                  <a:pt x="0" y="696292"/>
                </a:cubicBezTo>
                <a:cubicBezTo>
                  <a:pt x="100779" y="106417"/>
                  <a:pt x="733669" y="-15667"/>
                  <a:pt x="1084978" y="149640"/>
                </a:cubicBezTo>
                <a:close/>
              </a:path>
            </a:pathLst>
          </a:custGeom>
          <a:solidFill>
            <a:srgbClr val="C20F2A"/>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37" name="任意多边形 36">
            <a:extLst>
              <a:ext uri="{FF2B5EF4-FFF2-40B4-BE49-F238E27FC236}">
                <a16:creationId xmlns:a16="http://schemas.microsoft.com/office/drawing/2014/main" id="{E0B483F2-603B-41C0-9B56-F6BE886EEE57}"/>
              </a:ext>
            </a:extLst>
          </p:cNvPr>
          <p:cNvSpPr/>
          <p:nvPr/>
        </p:nvSpPr>
        <p:spPr>
          <a:xfrm rot="8100000">
            <a:off x="6288088" y="3902075"/>
            <a:ext cx="1852612" cy="927100"/>
          </a:xfrm>
          <a:custGeom>
            <a:avLst/>
            <a:gdLst>
              <a:gd name="connsiteX0" fmla="*/ 1213505 w 1391850"/>
              <a:gd name="connsiteY0" fmla="*/ 0 h 696292"/>
              <a:gd name="connsiteX1" fmla="*/ 1391850 w 1391850"/>
              <a:gd name="connsiteY1" fmla="*/ 680523 h 696292"/>
              <a:gd name="connsiteX2" fmla="*/ 664395 w 1391850"/>
              <a:gd name="connsiteY2" fmla="*/ 679784 h 696292"/>
              <a:gd name="connsiteX3" fmla="*/ 810270 w 1391850"/>
              <a:gd name="connsiteY3" fmla="*/ 476062 h 696292"/>
              <a:gd name="connsiteX4" fmla="*/ 0 w 1391850"/>
              <a:gd name="connsiteY4" fmla="*/ 696292 h 696292"/>
              <a:gd name="connsiteX5" fmla="*/ 1084978 w 1391850"/>
              <a:gd name="connsiteY5" fmla="*/ 149640 h 696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91850" h="696292">
                <a:moveTo>
                  <a:pt x="1213505" y="0"/>
                </a:moveTo>
                <a:lnTo>
                  <a:pt x="1391850" y="680523"/>
                </a:lnTo>
                <a:lnTo>
                  <a:pt x="664395" y="679784"/>
                </a:lnTo>
                <a:lnTo>
                  <a:pt x="810270" y="476062"/>
                </a:lnTo>
                <a:cubicBezTo>
                  <a:pt x="711564" y="424684"/>
                  <a:pt x="364296" y="301346"/>
                  <a:pt x="0" y="696292"/>
                </a:cubicBezTo>
                <a:cubicBezTo>
                  <a:pt x="100779" y="106417"/>
                  <a:pt x="733669" y="-15667"/>
                  <a:pt x="1084978" y="149640"/>
                </a:cubicBezTo>
                <a:close/>
              </a:path>
            </a:pathLst>
          </a:custGeom>
          <a:solidFill>
            <a:srgbClr val="C20F2A"/>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38" name="任意多边形 37">
            <a:extLst>
              <a:ext uri="{FF2B5EF4-FFF2-40B4-BE49-F238E27FC236}">
                <a16:creationId xmlns:a16="http://schemas.microsoft.com/office/drawing/2014/main" id="{BB3E6380-CDF0-4B08-B260-461D9047E29C}"/>
              </a:ext>
            </a:extLst>
          </p:cNvPr>
          <p:cNvSpPr/>
          <p:nvPr/>
        </p:nvSpPr>
        <p:spPr>
          <a:xfrm rot="15300000">
            <a:off x="4337050" y="3378200"/>
            <a:ext cx="1852613" cy="925513"/>
          </a:xfrm>
          <a:custGeom>
            <a:avLst/>
            <a:gdLst>
              <a:gd name="connsiteX0" fmla="*/ 1213505 w 1391850"/>
              <a:gd name="connsiteY0" fmla="*/ 0 h 696292"/>
              <a:gd name="connsiteX1" fmla="*/ 1391850 w 1391850"/>
              <a:gd name="connsiteY1" fmla="*/ 680523 h 696292"/>
              <a:gd name="connsiteX2" fmla="*/ 664395 w 1391850"/>
              <a:gd name="connsiteY2" fmla="*/ 679784 h 696292"/>
              <a:gd name="connsiteX3" fmla="*/ 810270 w 1391850"/>
              <a:gd name="connsiteY3" fmla="*/ 476062 h 696292"/>
              <a:gd name="connsiteX4" fmla="*/ 0 w 1391850"/>
              <a:gd name="connsiteY4" fmla="*/ 696292 h 696292"/>
              <a:gd name="connsiteX5" fmla="*/ 1084978 w 1391850"/>
              <a:gd name="connsiteY5" fmla="*/ 149640 h 696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91850" h="696292">
                <a:moveTo>
                  <a:pt x="1213505" y="0"/>
                </a:moveTo>
                <a:lnTo>
                  <a:pt x="1391850" y="680523"/>
                </a:lnTo>
                <a:lnTo>
                  <a:pt x="664395" y="679784"/>
                </a:lnTo>
                <a:lnTo>
                  <a:pt x="810270" y="476062"/>
                </a:lnTo>
                <a:cubicBezTo>
                  <a:pt x="711564" y="424684"/>
                  <a:pt x="364296" y="301346"/>
                  <a:pt x="0" y="696292"/>
                </a:cubicBezTo>
                <a:cubicBezTo>
                  <a:pt x="100779" y="106417"/>
                  <a:pt x="733669" y="-15667"/>
                  <a:pt x="1084978" y="149640"/>
                </a:cubicBezTo>
                <a:close/>
              </a:path>
            </a:pathLst>
          </a:custGeom>
          <a:solidFill>
            <a:srgbClr val="C20F2A"/>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39" name="文本框 56">
            <a:extLst>
              <a:ext uri="{FF2B5EF4-FFF2-40B4-BE49-F238E27FC236}">
                <a16:creationId xmlns:a16="http://schemas.microsoft.com/office/drawing/2014/main" id="{4AFCAC22-D27B-4A28-803D-95FC53F0A135}"/>
              </a:ext>
            </a:extLst>
          </p:cNvPr>
          <p:cNvSpPr txBox="1"/>
          <p:nvPr/>
        </p:nvSpPr>
        <p:spPr>
          <a:xfrm>
            <a:off x="8197850" y="1866900"/>
            <a:ext cx="3232150" cy="1138238"/>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l" eaLnBrk="1" fontAlgn="auto" hangingPunct="1">
              <a:lnSpc>
                <a:spcPct val="100000"/>
              </a:lnSpc>
              <a:spcBef>
                <a:spcPts val="0"/>
              </a:spcBef>
              <a:spcAft>
                <a:spcPts val="0"/>
              </a:spcAft>
              <a:defRPr/>
            </a:pPr>
            <a:r>
              <a:rPr lang="en-US" altLang="zh-CN" sz="2000" dirty="0">
                <a:solidFill>
                  <a:srgbClr val="C20F2A"/>
                </a:solidFill>
                <a:latin typeface="Impact" pitchFamily="34" charset="0"/>
                <a:ea typeface="+mn-ea"/>
              </a:rPr>
              <a:t>Your Title</a:t>
            </a:r>
          </a:p>
          <a:p>
            <a:pPr algn="l" eaLnBrk="1" fontAlgn="auto" hangingPunct="1">
              <a:lnSpc>
                <a:spcPct val="100000"/>
              </a:lnSpc>
              <a:spcBef>
                <a:spcPts val="0"/>
              </a:spcBef>
              <a:spcAft>
                <a:spcPts val="0"/>
              </a:spcAft>
              <a:defRPr/>
            </a:pPr>
            <a:r>
              <a:rPr lang="en-US" altLang="zh-CN" sz="1600" dirty="0">
                <a:solidFill>
                  <a:schemeClr val="tx1">
                    <a:lumMod val="75000"/>
                    <a:lumOff val="25000"/>
                  </a:schemeClr>
                </a:solidFill>
                <a:latin typeface="+mn-lt"/>
                <a:ea typeface="+mn-ea"/>
              </a:rPr>
              <a:t>click to add subtitle click to add subtitle click to add subtitle click to add subtitle</a:t>
            </a:r>
            <a:r>
              <a:rPr lang="zh-CN" altLang="en-US" sz="1600" dirty="0">
                <a:solidFill>
                  <a:schemeClr val="tx1">
                    <a:lumMod val="75000"/>
                    <a:lumOff val="25000"/>
                  </a:schemeClr>
                </a:solidFill>
                <a:latin typeface="+mn-lt"/>
                <a:ea typeface="+mn-ea"/>
              </a:rPr>
              <a:t> </a:t>
            </a:r>
            <a:r>
              <a:rPr lang="en-US" altLang="zh-CN" sz="1600" dirty="0">
                <a:solidFill>
                  <a:schemeClr val="tx1">
                    <a:lumMod val="75000"/>
                    <a:lumOff val="25000"/>
                  </a:schemeClr>
                </a:solidFill>
                <a:latin typeface="+mn-lt"/>
                <a:ea typeface="+mn-ea"/>
              </a:rPr>
              <a:t>click to add subtitle</a:t>
            </a:r>
            <a:endParaRPr lang="zh-CN" altLang="en-US" sz="1600" dirty="0">
              <a:solidFill>
                <a:schemeClr val="tx1">
                  <a:lumMod val="75000"/>
                  <a:lumOff val="25000"/>
                </a:schemeClr>
              </a:solidFill>
              <a:latin typeface="+mn-lt"/>
              <a:ea typeface="+mn-ea"/>
            </a:endParaRPr>
          </a:p>
        </p:txBody>
      </p:sp>
      <p:sp>
        <p:nvSpPr>
          <p:cNvPr id="40" name="文本框 56">
            <a:extLst>
              <a:ext uri="{FF2B5EF4-FFF2-40B4-BE49-F238E27FC236}">
                <a16:creationId xmlns:a16="http://schemas.microsoft.com/office/drawing/2014/main" id="{30CD4522-2584-4491-BF1C-447AEEF18723}"/>
              </a:ext>
            </a:extLst>
          </p:cNvPr>
          <p:cNvSpPr txBox="1"/>
          <p:nvPr/>
        </p:nvSpPr>
        <p:spPr>
          <a:xfrm>
            <a:off x="7932738" y="4913313"/>
            <a:ext cx="3232150" cy="1138237"/>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l" eaLnBrk="1" fontAlgn="auto" hangingPunct="1">
              <a:lnSpc>
                <a:spcPct val="100000"/>
              </a:lnSpc>
              <a:spcBef>
                <a:spcPts val="0"/>
              </a:spcBef>
              <a:spcAft>
                <a:spcPts val="0"/>
              </a:spcAft>
              <a:defRPr/>
            </a:pPr>
            <a:r>
              <a:rPr lang="en-US" altLang="zh-CN" sz="2000" dirty="0">
                <a:solidFill>
                  <a:srgbClr val="C20F2A"/>
                </a:solidFill>
                <a:latin typeface="Impact" pitchFamily="34" charset="0"/>
                <a:ea typeface="+mn-ea"/>
              </a:rPr>
              <a:t>Your Title</a:t>
            </a:r>
          </a:p>
          <a:p>
            <a:pPr algn="l" eaLnBrk="1" fontAlgn="auto" hangingPunct="1">
              <a:lnSpc>
                <a:spcPct val="100000"/>
              </a:lnSpc>
              <a:spcBef>
                <a:spcPts val="0"/>
              </a:spcBef>
              <a:spcAft>
                <a:spcPts val="0"/>
              </a:spcAft>
              <a:defRPr/>
            </a:pPr>
            <a:r>
              <a:rPr lang="en-US" altLang="zh-CN" sz="1600" dirty="0">
                <a:solidFill>
                  <a:schemeClr val="tx1">
                    <a:lumMod val="75000"/>
                    <a:lumOff val="25000"/>
                  </a:schemeClr>
                </a:solidFill>
                <a:latin typeface="+mn-lt"/>
                <a:ea typeface="+mn-ea"/>
              </a:rPr>
              <a:t>click to add subtitle click to add subtitle click to add subtitle click to add subtitle</a:t>
            </a:r>
            <a:r>
              <a:rPr lang="zh-CN" altLang="en-US" sz="1600" dirty="0">
                <a:solidFill>
                  <a:schemeClr val="tx1">
                    <a:lumMod val="75000"/>
                    <a:lumOff val="25000"/>
                  </a:schemeClr>
                </a:solidFill>
                <a:latin typeface="+mn-lt"/>
                <a:ea typeface="+mn-ea"/>
              </a:rPr>
              <a:t> </a:t>
            </a:r>
            <a:r>
              <a:rPr lang="en-US" altLang="zh-CN" sz="1600" dirty="0">
                <a:solidFill>
                  <a:schemeClr val="tx1">
                    <a:lumMod val="75000"/>
                    <a:lumOff val="25000"/>
                  </a:schemeClr>
                </a:solidFill>
                <a:latin typeface="+mn-lt"/>
                <a:ea typeface="+mn-ea"/>
              </a:rPr>
              <a:t>click to add subtitle</a:t>
            </a:r>
            <a:endParaRPr lang="zh-CN" altLang="en-US" sz="1600" dirty="0">
              <a:solidFill>
                <a:schemeClr val="tx1">
                  <a:lumMod val="75000"/>
                  <a:lumOff val="25000"/>
                </a:schemeClr>
              </a:solidFill>
              <a:latin typeface="+mn-lt"/>
              <a:ea typeface="+mn-ea"/>
            </a:endParaRPr>
          </a:p>
        </p:txBody>
      </p:sp>
      <p:sp>
        <p:nvSpPr>
          <p:cNvPr id="41" name="文本框 56">
            <a:extLst>
              <a:ext uri="{FF2B5EF4-FFF2-40B4-BE49-F238E27FC236}">
                <a16:creationId xmlns:a16="http://schemas.microsoft.com/office/drawing/2014/main" id="{4DAE545D-6157-44D8-BA30-3E4E39569DE0}"/>
              </a:ext>
            </a:extLst>
          </p:cNvPr>
          <p:cNvSpPr txBox="1"/>
          <p:nvPr/>
        </p:nvSpPr>
        <p:spPr>
          <a:xfrm>
            <a:off x="762000" y="3100388"/>
            <a:ext cx="3232150" cy="1139825"/>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r" eaLnBrk="1" fontAlgn="auto" hangingPunct="1">
              <a:lnSpc>
                <a:spcPct val="100000"/>
              </a:lnSpc>
              <a:spcBef>
                <a:spcPts val="0"/>
              </a:spcBef>
              <a:spcAft>
                <a:spcPts val="0"/>
              </a:spcAft>
              <a:defRPr/>
            </a:pPr>
            <a:r>
              <a:rPr lang="en-US" altLang="zh-CN" sz="2000" dirty="0">
                <a:solidFill>
                  <a:srgbClr val="C20F2A"/>
                </a:solidFill>
                <a:latin typeface="Impact" pitchFamily="34" charset="0"/>
                <a:ea typeface="+mn-ea"/>
              </a:rPr>
              <a:t>Your Title</a:t>
            </a:r>
          </a:p>
          <a:p>
            <a:pPr algn="r" eaLnBrk="1" fontAlgn="auto" hangingPunct="1">
              <a:lnSpc>
                <a:spcPct val="100000"/>
              </a:lnSpc>
              <a:spcBef>
                <a:spcPts val="0"/>
              </a:spcBef>
              <a:spcAft>
                <a:spcPts val="0"/>
              </a:spcAft>
              <a:defRPr/>
            </a:pPr>
            <a:r>
              <a:rPr lang="en-US" altLang="zh-CN" sz="1600" dirty="0">
                <a:solidFill>
                  <a:schemeClr val="tx1">
                    <a:lumMod val="75000"/>
                    <a:lumOff val="25000"/>
                  </a:schemeClr>
                </a:solidFill>
                <a:latin typeface="+mn-lt"/>
                <a:ea typeface="+mn-ea"/>
              </a:rPr>
              <a:t>click to add subtitle click to add subtitle click to add subtitle click to add subtitle</a:t>
            </a:r>
            <a:r>
              <a:rPr lang="zh-CN" altLang="en-US" sz="1600" dirty="0">
                <a:solidFill>
                  <a:schemeClr val="tx1">
                    <a:lumMod val="75000"/>
                    <a:lumOff val="25000"/>
                  </a:schemeClr>
                </a:solidFill>
                <a:latin typeface="+mn-lt"/>
                <a:ea typeface="+mn-ea"/>
              </a:rPr>
              <a:t> </a:t>
            </a:r>
            <a:r>
              <a:rPr lang="en-US" altLang="zh-CN" sz="1600" dirty="0">
                <a:solidFill>
                  <a:schemeClr val="tx1">
                    <a:lumMod val="75000"/>
                    <a:lumOff val="25000"/>
                  </a:schemeClr>
                </a:solidFill>
                <a:latin typeface="+mn-lt"/>
                <a:ea typeface="+mn-ea"/>
              </a:rPr>
              <a:t>click to add subtitle</a:t>
            </a:r>
            <a:endParaRPr lang="zh-CN" altLang="en-US" sz="1600" dirty="0">
              <a:solidFill>
                <a:schemeClr val="tx1">
                  <a:lumMod val="75000"/>
                  <a:lumOff val="25000"/>
                </a:schemeClr>
              </a:solidFill>
              <a:latin typeface="+mn-lt"/>
              <a:ea typeface="+mn-ea"/>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4" fill="hold" nodeType="after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wipe(down)">
                                      <p:cBhvr>
                                        <p:cTn id="7" dur="500"/>
                                        <p:tgtEl>
                                          <p:spTgt spid="38"/>
                                        </p:tgtEl>
                                      </p:cBhvr>
                                    </p:animEffect>
                                  </p:childTnLst>
                                </p:cTn>
                              </p:par>
                            </p:childTnLst>
                          </p:cTn>
                        </p:par>
                        <p:par>
                          <p:cTn id="8" fill="hold" nodeType="afterGroup">
                            <p:stCondLst>
                              <p:cond delay="500"/>
                            </p:stCondLst>
                            <p:childTnLst>
                              <p:par>
                                <p:cTn id="9" presetID="22" presetClass="entr" presetSubtype="8" fill="hold" nodeType="afterEffect">
                                  <p:stCondLst>
                                    <p:cond delay="0"/>
                                  </p:stCondLst>
                                  <p:childTnLst>
                                    <p:set>
                                      <p:cBhvr>
                                        <p:cTn id="10" dur="1" fill="hold">
                                          <p:stCondLst>
                                            <p:cond delay="0"/>
                                          </p:stCondLst>
                                        </p:cTn>
                                        <p:tgtEl>
                                          <p:spTgt spid="36"/>
                                        </p:tgtEl>
                                        <p:attrNameLst>
                                          <p:attrName>style.visibility</p:attrName>
                                        </p:attrNameLst>
                                      </p:cBhvr>
                                      <p:to>
                                        <p:strVal val="visible"/>
                                      </p:to>
                                    </p:set>
                                    <p:animEffect transition="in" filter="wipe(left)">
                                      <p:cBhvr>
                                        <p:cTn id="11" dur="500"/>
                                        <p:tgtEl>
                                          <p:spTgt spid="36"/>
                                        </p:tgtEl>
                                      </p:cBhvr>
                                    </p:animEffect>
                                  </p:childTnLst>
                                </p:cTn>
                              </p:par>
                            </p:childTnLst>
                          </p:cTn>
                        </p:par>
                        <p:par>
                          <p:cTn id="12" fill="hold" nodeType="afterGroup">
                            <p:stCondLst>
                              <p:cond delay="1000"/>
                            </p:stCondLst>
                            <p:childTnLst>
                              <p:par>
                                <p:cTn id="13" presetID="22" presetClass="entr" presetSubtype="1" fill="hold" nodeType="afterEffect">
                                  <p:stCondLst>
                                    <p:cond delay="0"/>
                                  </p:stCondLst>
                                  <p:childTnLst>
                                    <p:set>
                                      <p:cBhvr>
                                        <p:cTn id="14" dur="1" fill="hold">
                                          <p:stCondLst>
                                            <p:cond delay="0"/>
                                          </p:stCondLst>
                                        </p:cTn>
                                        <p:tgtEl>
                                          <p:spTgt spid="37"/>
                                        </p:tgtEl>
                                        <p:attrNameLst>
                                          <p:attrName>style.visibility</p:attrName>
                                        </p:attrNameLst>
                                      </p:cBhvr>
                                      <p:to>
                                        <p:strVal val="visible"/>
                                      </p:to>
                                    </p:set>
                                    <p:animEffect transition="in" filter="wipe(up)">
                                      <p:cBhvr>
                                        <p:cTn id="15" dur="500"/>
                                        <p:tgtEl>
                                          <p:spTgt spid="37"/>
                                        </p:tgtEl>
                                      </p:cBhvr>
                                    </p:animEffect>
                                  </p:childTnLst>
                                </p:cTn>
                              </p:par>
                            </p:childTnLst>
                          </p:cTn>
                        </p:par>
                        <p:par>
                          <p:cTn id="16" fill="hold" nodeType="afterGroup">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250"/>
                                        <p:tgtEl>
                                          <p:spTgt spid="35"/>
                                        </p:tgtEl>
                                      </p:cBhvr>
                                    </p:animEffect>
                                  </p:childTnLst>
                                </p:cTn>
                              </p:par>
                            </p:childTnLst>
                          </p:cTn>
                        </p:par>
                        <p:par>
                          <p:cTn id="20" fill="hold" nodeType="afterGroup">
                            <p:stCondLst>
                              <p:cond delay="1750"/>
                            </p:stCondLst>
                            <p:childTnLst>
                              <p:par>
                                <p:cTn id="21" presetID="22" presetClass="entr" presetSubtype="2" fill="hold" grpId="0" nodeType="afterEffect">
                                  <p:stCondLst>
                                    <p:cond delay="0"/>
                                  </p:stCondLst>
                                  <p:childTnLst>
                                    <p:set>
                                      <p:cBhvr>
                                        <p:cTn id="22" dur="1" fill="hold">
                                          <p:stCondLst>
                                            <p:cond delay="0"/>
                                          </p:stCondLst>
                                        </p:cTn>
                                        <p:tgtEl>
                                          <p:spTgt spid="41"/>
                                        </p:tgtEl>
                                        <p:attrNameLst>
                                          <p:attrName>style.visibility</p:attrName>
                                        </p:attrNameLst>
                                      </p:cBhvr>
                                      <p:to>
                                        <p:strVal val="visible"/>
                                      </p:to>
                                    </p:set>
                                    <p:animEffect transition="in" filter="wipe(right)">
                                      <p:cBhvr>
                                        <p:cTn id="23" dur="500"/>
                                        <p:tgtEl>
                                          <p:spTgt spid="41"/>
                                        </p:tgtEl>
                                      </p:cBhvr>
                                    </p:animEffect>
                                  </p:childTnLst>
                                </p:cTn>
                              </p:par>
                            </p:childTnLst>
                          </p:cTn>
                        </p:par>
                        <p:par>
                          <p:cTn id="24" fill="hold" nodeType="afterGroup">
                            <p:stCondLst>
                              <p:cond delay="2250"/>
                            </p:stCondLst>
                            <p:childTnLst>
                              <p:par>
                                <p:cTn id="25" presetID="10" presetClass="entr" presetSubtype="0" fill="hold" grpId="0" nodeType="after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fade">
                                      <p:cBhvr>
                                        <p:cTn id="27" dur="250"/>
                                        <p:tgtEl>
                                          <p:spTgt spid="31"/>
                                        </p:tgtEl>
                                      </p:cBhvr>
                                    </p:animEffect>
                                  </p:childTnLst>
                                </p:cTn>
                              </p:par>
                            </p:childTnLst>
                          </p:cTn>
                        </p:par>
                        <p:par>
                          <p:cTn id="28" fill="hold" nodeType="afterGroup">
                            <p:stCondLst>
                              <p:cond delay="2500"/>
                            </p:stCondLst>
                            <p:childTnLst>
                              <p:par>
                                <p:cTn id="29" presetID="22" presetClass="entr" presetSubtype="8" fill="hold" grpId="0" nodeType="afterEffect">
                                  <p:stCondLst>
                                    <p:cond delay="0"/>
                                  </p:stCondLst>
                                  <p:childTnLst>
                                    <p:set>
                                      <p:cBhvr>
                                        <p:cTn id="30" dur="1" fill="hold">
                                          <p:stCondLst>
                                            <p:cond delay="0"/>
                                          </p:stCondLst>
                                        </p:cTn>
                                        <p:tgtEl>
                                          <p:spTgt spid="39"/>
                                        </p:tgtEl>
                                        <p:attrNameLst>
                                          <p:attrName>style.visibility</p:attrName>
                                        </p:attrNameLst>
                                      </p:cBhvr>
                                      <p:to>
                                        <p:strVal val="visible"/>
                                      </p:to>
                                    </p:set>
                                    <p:animEffect transition="in" filter="wipe(left)">
                                      <p:cBhvr>
                                        <p:cTn id="31" dur="500"/>
                                        <p:tgtEl>
                                          <p:spTgt spid="39"/>
                                        </p:tgtEl>
                                      </p:cBhvr>
                                    </p:animEffect>
                                  </p:childTnLst>
                                </p:cTn>
                              </p:par>
                            </p:childTnLst>
                          </p:cTn>
                        </p:par>
                        <p:par>
                          <p:cTn id="32" fill="hold" nodeType="afterGroup">
                            <p:stCondLst>
                              <p:cond delay="3000"/>
                            </p:stCondLst>
                            <p:childTnLst>
                              <p:par>
                                <p:cTn id="33" presetID="10" presetClass="entr" presetSubtype="0" fill="hold" grpId="0" nodeType="afterEffect">
                                  <p:stCondLst>
                                    <p:cond delay="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250"/>
                                        <p:tgtEl>
                                          <p:spTgt spid="33"/>
                                        </p:tgtEl>
                                      </p:cBhvr>
                                    </p:animEffect>
                                  </p:childTnLst>
                                </p:cTn>
                              </p:par>
                            </p:childTnLst>
                          </p:cTn>
                        </p:par>
                        <p:par>
                          <p:cTn id="36" fill="hold" nodeType="afterGroup">
                            <p:stCondLst>
                              <p:cond delay="3250"/>
                            </p:stCondLst>
                            <p:childTnLst>
                              <p:par>
                                <p:cTn id="37" presetID="22" presetClass="entr" presetSubtype="8" fill="hold" grpId="0" nodeType="afterEffect">
                                  <p:stCondLst>
                                    <p:cond delay="0"/>
                                  </p:stCondLst>
                                  <p:childTnLst>
                                    <p:set>
                                      <p:cBhvr>
                                        <p:cTn id="38" dur="1" fill="hold">
                                          <p:stCondLst>
                                            <p:cond delay="0"/>
                                          </p:stCondLst>
                                        </p:cTn>
                                        <p:tgtEl>
                                          <p:spTgt spid="40"/>
                                        </p:tgtEl>
                                        <p:attrNameLst>
                                          <p:attrName>style.visibility</p:attrName>
                                        </p:attrNameLst>
                                      </p:cBhvr>
                                      <p:to>
                                        <p:strVal val="visible"/>
                                      </p:to>
                                    </p:set>
                                    <p:animEffect transition="in" filter="wipe(left)">
                                      <p:cBhvr>
                                        <p:cTn id="39"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3" grpId="0" animBg="1"/>
      <p:bldP spid="35" grpId="0" animBg="1"/>
      <p:bldP spid="39" grpId="0"/>
      <p:bldP spid="40" grpId="0"/>
      <p:bldP spid="41"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文本框 56">
            <a:extLst>
              <a:ext uri="{FF2B5EF4-FFF2-40B4-BE49-F238E27FC236}">
                <a16:creationId xmlns:a16="http://schemas.microsoft.com/office/drawing/2014/main" id="{6D1EEE7E-6B94-4E26-B506-50CE0550DF3B}"/>
              </a:ext>
            </a:extLst>
          </p:cNvPr>
          <p:cNvSpPr txBox="1">
            <a:spLocks noChangeArrowheads="1"/>
          </p:cNvSpPr>
          <p:nvPr/>
        </p:nvSpPr>
        <p:spPr bwMode="auto">
          <a:xfrm>
            <a:off x="1154113" y="566738"/>
            <a:ext cx="509587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00000"/>
              </a:lnSpc>
              <a:spcBef>
                <a:spcPct val="0"/>
              </a:spcBef>
              <a:buFontTx/>
              <a:buNone/>
            </a:pPr>
            <a:r>
              <a:rPr lang="en-US" altLang="zh-CN" sz="3200" b="1">
                <a:solidFill>
                  <a:srgbClr val="C20F2A"/>
                </a:solidFill>
                <a:latin typeface="Agency FB" panose="020B0503020202020204" pitchFamily="34" charset="0"/>
              </a:rPr>
              <a:t>CLICK TO ADD YOUR TITLE IN HERE</a:t>
            </a:r>
          </a:p>
        </p:txBody>
      </p:sp>
      <p:sp>
        <p:nvSpPr>
          <p:cNvPr id="30" name="任意多边形 29">
            <a:extLst>
              <a:ext uri="{FF2B5EF4-FFF2-40B4-BE49-F238E27FC236}">
                <a16:creationId xmlns:a16="http://schemas.microsoft.com/office/drawing/2014/main" id="{0A1D0211-24D1-4C1D-9491-4FB75CC89C7E}"/>
              </a:ext>
            </a:extLst>
          </p:cNvPr>
          <p:cNvSpPr/>
          <p:nvPr/>
        </p:nvSpPr>
        <p:spPr>
          <a:xfrm>
            <a:off x="2151063" y="3686175"/>
            <a:ext cx="7823200" cy="442913"/>
          </a:xfrm>
          <a:custGeom>
            <a:avLst/>
            <a:gdLst>
              <a:gd name="connsiteX0" fmla="*/ 0 w 5242560"/>
              <a:gd name="connsiteY0" fmla="*/ 297180 h 297180"/>
              <a:gd name="connsiteX1" fmla="*/ 1059180 w 5242560"/>
              <a:gd name="connsiteY1" fmla="*/ 7620 h 297180"/>
              <a:gd name="connsiteX2" fmla="*/ 2095500 w 5242560"/>
              <a:gd name="connsiteY2" fmla="*/ 281940 h 297180"/>
              <a:gd name="connsiteX3" fmla="*/ 3147060 w 5242560"/>
              <a:gd name="connsiteY3" fmla="*/ 0 h 297180"/>
              <a:gd name="connsiteX4" fmla="*/ 4191000 w 5242560"/>
              <a:gd name="connsiteY4" fmla="*/ 289560 h 297180"/>
              <a:gd name="connsiteX5" fmla="*/ 5242560 w 5242560"/>
              <a:gd name="connsiteY5" fmla="*/ 0 h 297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42560" h="297180">
                <a:moveTo>
                  <a:pt x="0" y="297180"/>
                </a:moveTo>
                <a:lnTo>
                  <a:pt x="1059180" y="7620"/>
                </a:lnTo>
                <a:lnTo>
                  <a:pt x="2095500" y="281940"/>
                </a:lnTo>
                <a:lnTo>
                  <a:pt x="3147060" y="0"/>
                </a:lnTo>
                <a:lnTo>
                  <a:pt x="4191000" y="289560"/>
                </a:lnTo>
                <a:lnTo>
                  <a:pt x="5242560" y="0"/>
                </a:lnTo>
              </a:path>
            </a:pathLst>
          </a:cu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sz="2400" b="1">
              <a:latin typeface="Agency FB" panose="020B0503020202020204" pitchFamily="34" charset="0"/>
            </a:endParaRPr>
          </a:p>
        </p:txBody>
      </p:sp>
      <p:sp>
        <p:nvSpPr>
          <p:cNvPr id="31" name="椭圆 30">
            <a:extLst>
              <a:ext uri="{FF2B5EF4-FFF2-40B4-BE49-F238E27FC236}">
                <a16:creationId xmlns:a16="http://schemas.microsoft.com/office/drawing/2014/main" id="{11EEB4F5-2FA9-4377-987C-3ACC38C80D2F}"/>
              </a:ext>
            </a:extLst>
          </p:cNvPr>
          <p:cNvSpPr/>
          <p:nvPr/>
        </p:nvSpPr>
        <p:spPr>
          <a:xfrm>
            <a:off x="1958975" y="3890963"/>
            <a:ext cx="455613" cy="457200"/>
          </a:xfrm>
          <a:prstGeom prst="ellipse">
            <a:avLst/>
          </a:prstGeom>
          <a:solidFill>
            <a:srgbClr val="C20F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altLang="zh-CN" sz="2400" b="1">
                <a:latin typeface="Agency FB" panose="020B0503020202020204" pitchFamily="34" charset="0"/>
              </a:rPr>
              <a:t>1</a:t>
            </a:r>
            <a:endParaRPr lang="zh-CN" altLang="en-US" sz="2400" b="1">
              <a:latin typeface="Agency FB" panose="020B0503020202020204" pitchFamily="34" charset="0"/>
            </a:endParaRPr>
          </a:p>
        </p:txBody>
      </p:sp>
      <p:sp>
        <p:nvSpPr>
          <p:cNvPr id="32" name="椭圆 31">
            <a:extLst>
              <a:ext uri="{FF2B5EF4-FFF2-40B4-BE49-F238E27FC236}">
                <a16:creationId xmlns:a16="http://schemas.microsoft.com/office/drawing/2014/main" id="{DB748B74-6D41-4F02-B8C2-AC7246A8CCEA}"/>
              </a:ext>
            </a:extLst>
          </p:cNvPr>
          <p:cNvSpPr/>
          <p:nvPr/>
        </p:nvSpPr>
        <p:spPr>
          <a:xfrm>
            <a:off x="3516313" y="3482975"/>
            <a:ext cx="455612" cy="455613"/>
          </a:xfrm>
          <a:prstGeom prst="ellipse">
            <a:avLst/>
          </a:prstGeom>
          <a:solidFill>
            <a:srgbClr val="29292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altLang="zh-CN" sz="2400" b="1">
                <a:latin typeface="Agency FB" panose="020B0503020202020204" pitchFamily="34" charset="0"/>
              </a:rPr>
              <a:t>2</a:t>
            </a:r>
            <a:endParaRPr lang="zh-CN" altLang="en-US" sz="2400" b="1">
              <a:latin typeface="Agency FB" panose="020B0503020202020204" pitchFamily="34" charset="0"/>
            </a:endParaRPr>
          </a:p>
        </p:txBody>
      </p:sp>
      <p:sp>
        <p:nvSpPr>
          <p:cNvPr id="33" name="椭圆 32">
            <a:extLst>
              <a:ext uri="{FF2B5EF4-FFF2-40B4-BE49-F238E27FC236}">
                <a16:creationId xmlns:a16="http://schemas.microsoft.com/office/drawing/2014/main" id="{6DCF73FF-5D86-4405-8A6B-F8E509230ACA}"/>
              </a:ext>
            </a:extLst>
          </p:cNvPr>
          <p:cNvSpPr/>
          <p:nvPr/>
        </p:nvSpPr>
        <p:spPr>
          <a:xfrm>
            <a:off x="5075238" y="3873500"/>
            <a:ext cx="455612" cy="457200"/>
          </a:xfrm>
          <a:prstGeom prst="ellipse">
            <a:avLst/>
          </a:prstGeom>
          <a:solidFill>
            <a:srgbClr val="C20F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altLang="zh-CN" sz="2400" b="1">
                <a:latin typeface="Agency FB" panose="020B0503020202020204" pitchFamily="34" charset="0"/>
              </a:rPr>
              <a:t>3</a:t>
            </a:r>
            <a:endParaRPr lang="zh-CN" altLang="en-US" sz="2400" b="1">
              <a:latin typeface="Agency FB" panose="020B0503020202020204" pitchFamily="34" charset="0"/>
            </a:endParaRPr>
          </a:p>
        </p:txBody>
      </p:sp>
      <p:sp>
        <p:nvSpPr>
          <p:cNvPr id="34" name="椭圆 33">
            <a:extLst>
              <a:ext uri="{FF2B5EF4-FFF2-40B4-BE49-F238E27FC236}">
                <a16:creationId xmlns:a16="http://schemas.microsoft.com/office/drawing/2014/main" id="{FB71261A-287D-4945-BCD8-0226806D2C56}"/>
              </a:ext>
            </a:extLst>
          </p:cNvPr>
          <p:cNvSpPr/>
          <p:nvPr/>
        </p:nvSpPr>
        <p:spPr>
          <a:xfrm>
            <a:off x="6630988" y="3482975"/>
            <a:ext cx="457200" cy="455613"/>
          </a:xfrm>
          <a:prstGeom prst="ellipse">
            <a:avLst/>
          </a:prstGeom>
          <a:solidFill>
            <a:srgbClr val="29292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altLang="zh-CN" sz="2400" b="1">
                <a:latin typeface="Agency FB" panose="020B0503020202020204" pitchFamily="34" charset="0"/>
              </a:rPr>
              <a:t>4</a:t>
            </a:r>
            <a:endParaRPr lang="zh-CN" altLang="en-US" sz="2400" b="1">
              <a:latin typeface="Agency FB" panose="020B0503020202020204" pitchFamily="34" charset="0"/>
            </a:endParaRPr>
          </a:p>
        </p:txBody>
      </p:sp>
      <p:sp>
        <p:nvSpPr>
          <p:cNvPr id="35" name="椭圆 34">
            <a:extLst>
              <a:ext uri="{FF2B5EF4-FFF2-40B4-BE49-F238E27FC236}">
                <a16:creationId xmlns:a16="http://schemas.microsoft.com/office/drawing/2014/main" id="{862157FD-1463-45D4-9017-89550FA876E1}"/>
              </a:ext>
            </a:extLst>
          </p:cNvPr>
          <p:cNvSpPr/>
          <p:nvPr/>
        </p:nvSpPr>
        <p:spPr>
          <a:xfrm>
            <a:off x="8188325" y="3908425"/>
            <a:ext cx="458788" cy="457200"/>
          </a:xfrm>
          <a:prstGeom prst="ellipse">
            <a:avLst/>
          </a:prstGeom>
          <a:solidFill>
            <a:srgbClr val="C20F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altLang="zh-CN" sz="2400" b="1">
                <a:latin typeface="Agency FB" panose="020B0503020202020204" pitchFamily="34" charset="0"/>
              </a:rPr>
              <a:t>5</a:t>
            </a:r>
            <a:endParaRPr lang="zh-CN" altLang="en-US" sz="2400" b="1">
              <a:latin typeface="Agency FB" panose="020B0503020202020204" pitchFamily="34" charset="0"/>
            </a:endParaRPr>
          </a:p>
        </p:txBody>
      </p:sp>
      <p:sp>
        <p:nvSpPr>
          <p:cNvPr id="36" name="椭圆 35">
            <a:extLst>
              <a:ext uri="{FF2B5EF4-FFF2-40B4-BE49-F238E27FC236}">
                <a16:creationId xmlns:a16="http://schemas.microsoft.com/office/drawing/2014/main" id="{AF7B968F-209A-4D98-B5BD-169937CF599E}"/>
              </a:ext>
            </a:extLst>
          </p:cNvPr>
          <p:cNvSpPr/>
          <p:nvPr/>
        </p:nvSpPr>
        <p:spPr>
          <a:xfrm>
            <a:off x="9747250" y="3482975"/>
            <a:ext cx="457200" cy="455613"/>
          </a:xfrm>
          <a:prstGeom prst="ellipse">
            <a:avLst/>
          </a:prstGeom>
          <a:solidFill>
            <a:srgbClr val="29292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altLang="zh-CN" sz="2400" b="1">
                <a:latin typeface="Agency FB" panose="020B0503020202020204" pitchFamily="34" charset="0"/>
              </a:rPr>
              <a:t>6</a:t>
            </a:r>
            <a:endParaRPr lang="zh-CN" altLang="en-US" sz="2400" b="1">
              <a:latin typeface="Agency FB" panose="020B0503020202020204" pitchFamily="34" charset="0"/>
            </a:endParaRPr>
          </a:p>
        </p:txBody>
      </p:sp>
      <p:sp>
        <p:nvSpPr>
          <p:cNvPr id="37" name="文本框 56">
            <a:extLst>
              <a:ext uri="{FF2B5EF4-FFF2-40B4-BE49-F238E27FC236}">
                <a16:creationId xmlns:a16="http://schemas.microsoft.com/office/drawing/2014/main" id="{24069C40-593B-40FA-A724-F139F616E602}"/>
              </a:ext>
            </a:extLst>
          </p:cNvPr>
          <p:cNvSpPr txBox="1"/>
          <p:nvPr/>
        </p:nvSpPr>
        <p:spPr>
          <a:xfrm>
            <a:off x="1063625" y="4632325"/>
            <a:ext cx="2174875" cy="1631950"/>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ctr" eaLnBrk="1" fontAlgn="auto" hangingPunct="1">
              <a:lnSpc>
                <a:spcPct val="100000"/>
              </a:lnSpc>
              <a:spcBef>
                <a:spcPts val="0"/>
              </a:spcBef>
              <a:spcAft>
                <a:spcPts val="0"/>
              </a:spcAft>
              <a:defRPr/>
            </a:pPr>
            <a:r>
              <a:rPr lang="en-US" altLang="zh-CN" sz="2000" dirty="0">
                <a:solidFill>
                  <a:srgbClr val="C20F2A"/>
                </a:solidFill>
                <a:latin typeface="Impact" pitchFamily="34" charset="0"/>
                <a:ea typeface="+mn-ea"/>
              </a:rPr>
              <a:t>Your Title</a:t>
            </a:r>
          </a:p>
          <a:p>
            <a:pPr algn="ctr" eaLnBrk="1" fontAlgn="auto" hangingPunct="1">
              <a:lnSpc>
                <a:spcPct val="100000"/>
              </a:lnSpc>
              <a:spcBef>
                <a:spcPts val="0"/>
              </a:spcBef>
              <a:spcAft>
                <a:spcPts val="0"/>
              </a:spcAft>
              <a:defRPr/>
            </a:pPr>
            <a:r>
              <a:rPr lang="en-US" altLang="zh-CN" sz="1600" dirty="0">
                <a:solidFill>
                  <a:schemeClr val="tx1">
                    <a:lumMod val="75000"/>
                    <a:lumOff val="25000"/>
                  </a:schemeClr>
                </a:solidFill>
                <a:latin typeface="+mn-lt"/>
                <a:ea typeface="+mn-ea"/>
              </a:rPr>
              <a:t>click to add subtitle click to add subtitle click to add subtitle click to add subtitle</a:t>
            </a:r>
            <a:r>
              <a:rPr lang="zh-CN" altLang="en-US" sz="1600" dirty="0">
                <a:solidFill>
                  <a:schemeClr val="tx1">
                    <a:lumMod val="75000"/>
                    <a:lumOff val="25000"/>
                  </a:schemeClr>
                </a:solidFill>
                <a:latin typeface="+mn-lt"/>
                <a:ea typeface="+mn-ea"/>
              </a:rPr>
              <a:t> </a:t>
            </a:r>
            <a:r>
              <a:rPr lang="en-US" altLang="zh-CN" sz="1600" dirty="0">
                <a:solidFill>
                  <a:schemeClr val="tx1">
                    <a:lumMod val="75000"/>
                    <a:lumOff val="25000"/>
                  </a:schemeClr>
                </a:solidFill>
                <a:latin typeface="+mn-lt"/>
                <a:ea typeface="+mn-ea"/>
              </a:rPr>
              <a:t>click to add subtitle</a:t>
            </a:r>
            <a:endParaRPr lang="zh-CN" altLang="en-US" sz="1600" dirty="0">
              <a:solidFill>
                <a:schemeClr val="tx1">
                  <a:lumMod val="75000"/>
                  <a:lumOff val="25000"/>
                </a:schemeClr>
              </a:solidFill>
              <a:latin typeface="+mn-lt"/>
              <a:ea typeface="+mn-ea"/>
            </a:endParaRPr>
          </a:p>
        </p:txBody>
      </p:sp>
      <p:sp>
        <p:nvSpPr>
          <p:cNvPr id="38" name="文本框 56">
            <a:extLst>
              <a:ext uri="{FF2B5EF4-FFF2-40B4-BE49-F238E27FC236}">
                <a16:creationId xmlns:a16="http://schemas.microsoft.com/office/drawing/2014/main" id="{5BC648A0-30BF-4264-9F59-4D8B24A452B9}"/>
              </a:ext>
            </a:extLst>
          </p:cNvPr>
          <p:cNvSpPr txBox="1"/>
          <p:nvPr/>
        </p:nvSpPr>
        <p:spPr>
          <a:xfrm>
            <a:off x="4214813" y="4632325"/>
            <a:ext cx="2176462" cy="1631950"/>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ctr" eaLnBrk="1" fontAlgn="auto" hangingPunct="1">
              <a:lnSpc>
                <a:spcPct val="100000"/>
              </a:lnSpc>
              <a:spcBef>
                <a:spcPts val="0"/>
              </a:spcBef>
              <a:spcAft>
                <a:spcPts val="0"/>
              </a:spcAft>
              <a:defRPr/>
            </a:pPr>
            <a:r>
              <a:rPr lang="en-US" altLang="zh-CN" sz="2000" dirty="0">
                <a:solidFill>
                  <a:srgbClr val="C20F2A"/>
                </a:solidFill>
                <a:latin typeface="Impact" pitchFamily="34" charset="0"/>
                <a:ea typeface="+mn-ea"/>
              </a:rPr>
              <a:t>Your Title</a:t>
            </a:r>
          </a:p>
          <a:p>
            <a:pPr algn="ctr" eaLnBrk="1" fontAlgn="auto" hangingPunct="1">
              <a:lnSpc>
                <a:spcPct val="100000"/>
              </a:lnSpc>
              <a:spcBef>
                <a:spcPts val="0"/>
              </a:spcBef>
              <a:spcAft>
                <a:spcPts val="0"/>
              </a:spcAft>
              <a:defRPr/>
            </a:pPr>
            <a:r>
              <a:rPr lang="en-US" altLang="zh-CN" sz="1600" dirty="0">
                <a:solidFill>
                  <a:schemeClr val="tx1">
                    <a:lumMod val="75000"/>
                    <a:lumOff val="25000"/>
                  </a:schemeClr>
                </a:solidFill>
                <a:latin typeface="+mn-lt"/>
                <a:ea typeface="+mn-ea"/>
              </a:rPr>
              <a:t>click to add subtitle click to add subtitle click to add subtitle click to add subtitle</a:t>
            </a:r>
            <a:r>
              <a:rPr lang="zh-CN" altLang="en-US" sz="1600" dirty="0">
                <a:solidFill>
                  <a:schemeClr val="tx1">
                    <a:lumMod val="75000"/>
                    <a:lumOff val="25000"/>
                  </a:schemeClr>
                </a:solidFill>
                <a:latin typeface="+mn-lt"/>
                <a:ea typeface="+mn-ea"/>
              </a:rPr>
              <a:t> </a:t>
            </a:r>
            <a:r>
              <a:rPr lang="en-US" altLang="zh-CN" sz="1600" dirty="0">
                <a:solidFill>
                  <a:schemeClr val="tx1">
                    <a:lumMod val="75000"/>
                    <a:lumOff val="25000"/>
                  </a:schemeClr>
                </a:solidFill>
                <a:latin typeface="+mn-lt"/>
                <a:ea typeface="+mn-ea"/>
              </a:rPr>
              <a:t>click to add subtitle</a:t>
            </a:r>
            <a:endParaRPr lang="zh-CN" altLang="en-US" sz="1600" dirty="0">
              <a:solidFill>
                <a:schemeClr val="tx1">
                  <a:lumMod val="75000"/>
                  <a:lumOff val="25000"/>
                </a:schemeClr>
              </a:solidFill>
              <a:latin typeface="+mn-lt"/>
              <a:ea typeface="+mn-ea"/>
            </a:endParaRPr>
          </a:p>
        </p:txBody>
      </p:sp>
      <p:sp>
        <p:nvSpPr>
          <p:cNvPr id="39" name="文本框 56">
            <a:extLst>
              <a:ext uri="{FF2B5EF4-FFF2-40B4-BE49-F238E27FC236}">
                <a16:creationId xmlns:a16="http://schemas.microsoft.com/office/drawing/2014/main" id="{44C0FC98-CF71-4C86-93EB-3ADBEBA62FA1}"/>
              </a:ext>
            </a:extLst>
          </p:cNvPr>
          <p:cNvSpPr txBox="1"/>
          <p:nvPr/>
        </p:nvSpPr>
        <p:spPr>
          <a:xfrm>
            <a:off x="7331075" y="4632325"/>
            <a:ext cx="2174875" cy="1631950"/>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ctr" eaLnBrk="1" fontAlgn="auto" hangingPunct="1">
              <a:lnSpc>
                <a:spcPct val="100000"/>
              </a:lnSpc>
              <a:spcBef>
                <a:spcPts val="0"/>
              </a:spcBef>
              <a:spcAft>
                <a:spcPts val="0"/>
              </a:spcAft>
              <a:defRPr/>
            </a:pPr>
            <a:r>
              <a:rPr lang="en-US" altLang="zh-CN" sz="2000" dirty="0">
                <a:solidFill>
                  <a:srgbClr val="C20F2A"/>
                </a:solidFill>
                <a:latin typeface="Impact" pitchFamily="34" charset="0"/>
                <a:ea typeface="+mn-ea"/>
              </a:rPr>
              <a:t>Your Title</a:t>
            </a:r>
          </a:p>
          <a:p>
            <a:pPr algn="ctr" eaLnBrk="1" fontAlgn="auto" hangingPunct="1">
              <a:lnSpc>
                <a:spcPct val="100000"/>
              </a:lnSpc>
              <a:spcBef>
                <a:spcPts val="0"/>
              </a:spcBef>
              <a:spcAft>
                <a:spcPts val="0"/>
              </a:spcAft>
              <a:defRPr/>
            </a:pPr>
            <a:r>
              <a:rPr lang="en-US" altLang="zh-CN" sz="1600" dirty="0">
                <a:solidFill>
                  <a:schemeClr val="tx1">
                    <a:lumMod val="75000"/>
                    <a:lumOff val="25000"/>
                  </a:schemeClr>
                </a:solidFill>
                <a:latin typeface="+mn-lt"/>
                <a:ea typeface="+mn-ea"/>
              </a:rPr>
              <a:t>click to add subtitle click to add subtitle click to add subtitle click to add subtitle</a:t>
            </a:r>
            <a:r>
              <a:rPr lang="zh-CN" altLang="en-US" sz="1600" dirty="0">
                <a:solidFill>
                  <a:schemeClr val="tx1">
                    <a:lumMod val="75000"/>
                    <a:lumOff val="25000"/>
                  </a:schemeClr>
                </a:solidFill>
                <a:latin typeface="+mn-lt"/>
                <a:ea typeface="+mn-ea"/>
              </a:rPr>
              <a:t> </a:t>
            </a:r>
            <a:r>
              <a:rPr lang="en-US" altLang="zh-CN" sz="1600" dirty="0">
                <a:solidFill>
                  <a:schemeClr val="tx1">
                    <a:lumMod val="75000"/>
                    <a:lumOff val="25000"/>
                  </a:schemeClr>
                </a:solidFill>
                <a:latin typeface="+mn-lt"/>
                <a:ea typeface="+mn-ea"/>
              </a:rPr>
              <a:t>click to add subtitle</a:t>
            </a:r>
            <a:endParaRPr lang="zh-CN" altLang="en-US" sz="1600" dirty="0">
              <a:solidFill>
                <a:schemeClr val="tx1">
                  <a:lumMod val="75000"/>
                  <a:lumOff val="25000"/>
                </a:schemeClr>
              </a:solidFill>
              <a:latin typeface="+mn-lt"/>
              <a:ea typeface="+mn-ea"/>
            </a:endParaRPr>
          </a:p>
        </p:txBody>
      </p:sp>
      <p:sp>
        <p:nvSpPr>
          <p:cNvPr id="40" name="文本框 56">
            <a:extLst>
              <a:ext uri="{FF2B5EF4-FFF2-40B4-BE49-F238E27FC236}">
                <a16:creationId xmlns:a16="http://schemas.microsoft.com/office/drawing/2014/main" id="{DF66665C-517C-4AC2-AF0A-8B53AF24D470}"/>
              </a:ext>
            </a:extLst>
          </p:cNvPr>
          <p:cNvSpPr txBox="1"/>
          <p:nvPr/>
        </p:nvSpPr>
        <p:spPr>
          <a:xfrm>
            <a:off x="8886825" y="1778000"/>
            <a:ext cx="2174875" cy="1631950"/>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ctr" eaLnBrk="1" fontAlgn="auto" hangingPunct="1">
              <a:lnSpc>
                <a:spcPct val="100000"/>
              </a:lnSpc>
              <a:spcBef>
                <a:spcPts val="0"/>
              </a:spcBef>
              <a:spcAft>
                <a:spcPts val="0"/>
              </a:spcAft>
              <a:defRPr/>
            </a:pPr>
            <a:r>
              <a:rPr lang="en-US" altLang="zh-CN" sz="2000" dirty="0">
                <a:solidFill>
                  <a:srgbClr val="292929"/>
                </a:solidFill>
                <a:latin typeface="Impact" pitchFamily="34" charset="0"/>
                <a:ea typeface="+mn-ea"/>
              </a:rPr>
              <a:t>Your Title</a:t>
            </a:r>
          </a:p>
          <a:p>
            <a:pPr algn="ctr" eaLnBrk="1" fontAlgn="auto" hangingPunct="1">
              <a:lnSpc>
                <a:spcPct val="100000"/>
              </a:lnSpc>
              <a:spcBef>
                <a:spcPts val="0"/>
              </a:spcBef>
              <a:spcAft>
                <a:spcPts val="0"/>
              </a:spcAft>
              <a:defRPr/>
            </a:pPr>
            <a:r>
              <a:rPr lang="en-US" altLang="zh-CN" sz="1600" dirty="0">
                <a:solidFill>
                  <a:schemeClr val="tx1">
                    <a:lumMod val="75000"/>
                    <a:lumOff val="25000"/>
                  </a:schemeClr>
                </a:solidFill>
                <a:latin typeface="+mn-lt"/>
                <a:ea typeface="+mn-ea"/>
              </a:rPr>
              <a:t>click to add subtitle click to add subtitle click to add subtitle click to add subtitle</a:t>
            </a:r>
            <a:r>
              <a:rPr lang="zh-CN" altLang="en-US" sz="1600" dirty="0">
                <a:solidFill>
                  <a:schemeClr val="tx1">
                    <a:lumMod val="75000"/>
                    <a:lumOff val="25000"/>
                  </a:schemeClr>
                </a:solidFill>
                <a:latin typeface="+mn-lt"/>
                <a:ea typeface="+mn-ea"/>
              </a:rPr>
              <a:t> </a:t>
            </a:r>
            <a:r>
              <a:rPr lang="en-US" altLang="zh-CN" sz="1600" dirty="0">
                <a:solidFill>
                  <a:schemeClr val="tx1">
                    <a:lumMod val="75000"/>
                    <a:lumOff val="25000"/>
                  </a:schemeClr>
                </a:solidFill>
                <a:latin typeface="+mn-lt"/>
                <a:ea typeface="+mn-ea"/>
              </a:rPr>
              <a:t>click to add subtitle</a:t>
            </a:r>
            <a:endParaRPr lang="zh-CN" altLang="en-US" sz="1600" dirty="0">
              <a:solidFill>
                <a:schemeClr val="tx1">
                  <a:lumMod val="75000"/>
                  <a:lumOff val="25000"/>
                </a:schemeClr>
              </a:solidFill>
              <a:latin typeface="+mn-lt"/>
              <a:ea typeface="+mn-ea"/>
            </a:endParaRPr>
          </a:p>
        </p:txBody>
      </p:sp>
      <p:sp>
        <p:nvSpPr>
          <p:cNvPr id="41" name="文本框 56">
            <a:extLst>
              <a:ext uri="{FF2B5EF4-FFF2-40B4-BE49-F238E27FC236}">
                <a16:creationId xmlns:a16="http://schemas.microsoft.com/office/drawing/2014/main" id="{7A75B6D0-DE78-4B18-80B3-78E03BA754AF}"/>
              </a:ext>
            </a:extLst>
          </p:cNvPr>
          <p:cNvSpPr txBox="1"/>
          <p:nvPr/>
        </p:nvSpPr>
        <p:spPr>
          <a:xfrm>
            <a:off x="5772150" y="1778000"/>
            <a:ext cx="2174875" cy="1631950"/>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ctr" eaLnBrk="1" fontAlgn="auto" hangingPunct="1">
              <a:lnSpc>
                <a:spcPct val="100000"/>
              </a:lnSpc>
              <a:spcBef>
                <a:spcPts val="0"/>
              </a:spcBef>
              <a:spcAft>
                <a:spcPts val="0"/>
              </a:spcAft>
              <a:defRPr/>
            </a:pPr>
            <a:r>
              <a:rPr lang="en-US" altLang="zh-CN" sz="2000" dirty="0">
                <a:solidFill>
                  <a:srgbClr val="292929"/>
                </a:solidFill>
                <a:latin typeface="Impact" pitchFamily="34" charset="0"/>
                <a:ea typeface="+mn-ea"/>
              </a:rPr>
              <a:t>Your Title</a:t>
            </a:r>
          </a:p>
          <a:p>
            <a:pPr algn="ctr" eaLnBrk="1" fontAlgn="auto" hangingPunct="1">
              <a:lnSpc>
                <a:spcPct val="100000"/>
              </a:lnSpc>
              <a:spcBef>
                <a:spcPts val="0"/>
              </a:spcBef>
              <a:spcAft>
                <a:spcPts val="0"/>
              </a:spcAft>
              <a:defRPr/>
            </a:pPr>
            <a:r>
              <a:rPr lang="en-US" altLang="zh-CN" sz="1600" dirty="0">
                <a:solidFill>
                  <a:schemeClr val="tx1">
                    <a:lumMod val="75000"/>
                    <a:lumOff val="25000"/>
                  </a:schemeClr>
                </a:solidFill>
                <a:latin typeface="+mn-lt"/>
                <a:ea typeface="+mn-ea"/>
              </a:rPr>
              <a:t>click to add subtitle click to add subtitle click to add subtitle click to add subtitle</a:t>
            </a:r>
            <a:r>
              <a:rPr lang="zh-CN" altLang="en-US" sz="1600" dirty="0">
                <a:solidFill>
                  <a:schemeClr val="tx1">
                    <a:lumMod val="75000"/>
                    <a:lumOff val="25000"/>
                  </a:schemeClr>
                </a:solidFill>
                <a:latin typeface="+mn-lt"/>
                <a:ea typeface="+mn-ea"/>
              </a:rPr>
              <a:t> </a:t>
            </a:r>
            <a:r>
              <a:rPr lang="en-US" altLang="zh-CN" sz="1600" dirty="0">
                <a:solidFill>
                  <a:schemeClr val="tx1">
                    <a:lumMod val="75000"/>
                    <a:lumOff val="25000"/>
                  </a:schemeClr>
                </a:solidFill>
                <a:latin typeface="+mn-lt"/>
                <a:ea typeface="+mn-ea"/>
              </a:rPr>
              <a:t>click to add subtitle</a:t>
            </a:r>
            <a:endParaRPr lang="zh-CN" altLang="en-US" sz="1600" dirty="0">
              <a:solidFill>
                <a:schemeClr val="tx1">
                  <a:lumMod val="75000"/>
                  <a:lumOff val="25000"/>
                </a:schemeClr>
              </a:solidFill>
              <a:latin typeface="+mn-lt"/>
              <a:ea typeface="+mn-ea"/>
            </a:endParaRPr>
          </a:p>
        </p:txBody>
      </p:sp>
      <p:sp>
        <p:nvSpPr>
          <p:cNvPr id="42" name="文本框 56">
            <a:extLst>
              <a:ext uri="{FF2B5EF4-FFF2-40B4-BE49-F238E27FC236}">
                <a16:creationId xmlns:a16="http://schemas.microsoft.com/office/drawing/2014/main" id="{485CEFF3-0F03-4241-B1C6-F497365A79F5}"/>
              </a:ext>
            </a:extLst>
          </p:cNvPr>
          <p:cNvSpPr txBox="1"/>
          <p:nvPr/>
        </p:nvSpPr>
        <p:spPr>
          <a:xfrm>
            <a:off x="2657475" y="1778000"/>
            <a:ext cx="2174875" cy="1631950"/>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ctr" eaLnBrk="1" fontAlgn="auto" hangingPunct="1">
              <a:lnSpc>
                <a:spcPct val="100000"/>
              </a:lnSpc>
              <a:spcBef>
                <a:spcPts val="0"/>
              </a:spcBef>
              <a:spcAft>
                <a:spcPts val="0"/>
              </a:spcAft>
              <a:defRPr/>
            </a:pPr>
            <a:r>
              <a:rPr lang="en-US" altLang="zh-CN" sz="2000" dirty="0">
                <a:solidFill>
                  <a:srgbClr val="292929"/>
                </a:solidFill>
                <a:latin typeface="Impact" pitchFamily="34" charset="0"/>
                <a:ea typeface="+mn-ea"/>
              </a:rPr>
              <a:t>Your Title</a:t>
            </a:r>
          </a:p>
          <a:p>
            <a:pPr algn="ctr" eaLnBrk="1" fontAlgn="auto" hangingPunct="1">
              <a:lnSpc>
                <a:spcPct val="100000"/>
              </a:lnSpc>
              <a:spcBef>
                <a:spcPts val="0"/>
              </a:spcBef>
              <a:spcAft>
                <a:spcPts val="0"/>
              </a:spcAft>
              <a:defRPr/>
            </a:pPr>
            <a:r>
              <a:rPr lang="en-US" altLang="zh-CN" sz="1600" dirty="0">
                <a:solidFill>
                  <a:schemeClr val="tx1">
                    <a:lumMod val="75000"/>
                    <a:lumOff val="25000"/>
                  </a:schemeClr>
                </a:solidFill>
                <a:latin typeface="+mn-lt"/>
                <a:ea typeface="+mn-ea"/>
              </a:rPr>
              <a:t>click to add subtitle click to add subtitle click to add subtitle click to add subtitle</a:t>
            </a:r>
            <a:r>
              <a:rPr lang="zh-CN" altLang="en-US" sz="1600" dirty="0">
                <a:solidFill>
                  <a:schemeClr val="tx1">
                    <a:lumMod val="75000"/>
                    <a:lumOff val="25000"/>
                  </a:schemeClr>
                </a:solidFill>
                <a:latin typeface="+mn-lt"/>
                <a:ea typeface="+mn-ea"/>
              </a:rPr>
              <a:t> </a:t>
            </a:r>
            <a:r>
              <a:rPr lang="en-US" altLang="zh-CN" sz="1600" dirty="0">
                <a:solidFill>
                  <a:schemeClr val="tx1">
                    <a:lumMod val="75000"/>
                    <a:lumOff val="25000"/>
                  </a:schemeClr>
                </a:solidFill>
                <a:latin typeface="+mn-lt"/>
                <a:ea typeface="+mn-ea"/>
              </a:rPr>
              <a:t>click to add subtitle</a:t>
            </a:r>
            <a:endParaRPr lang="zh-CN" altLang="en-US" sz="1600" dirty="0">
              <a:solidFill>
                <a:schemeClr val="tx1">
                  <a:lumMod val="75000"/>
                  <a:lumOff val="25000"/>
                </a:schemeClr>
              </a:solidFill>
              <a:latin typeface="+mn-lt"/>
              <a:ea typeface="+mn-ea"/>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wipe(left)">
                                      <p:cBhvr>
                                        <p:cTn id="7" dur="500"/>
                                        <p:tgtEl>
                                          <p:spTgt spid="30"/>
                                        </p:tgtEl>
                                      </p:cBhvr>
                                    </p:animEffect>
                                  </p:childTnLst>
                                </p:cTn>
                              </p:par>
                            </p:childTnLst>
                          </p:cTn>
                        </p:par>
                        <p:par>
                          <p:cTn id="8" fill="hold" nodeType="afterGroup">
                            <p:stCondLst>
                              <p:cond delay="500"/>
                            </p:stCondLst>
                            <p:childTnLst>
                              <p:par>
                                <p:cTn id="9" presetID="53" presetClass="entr" presetSubtype="16" fill="hold" grpId="0" nodeType="afterEffect">
                                  <p:stCondLst>
                                    <p:cond delay="0"/>
                                  </p:stCondLst>
                                  <p:childTnLst>
                                    <p:set>
                                      <p:cBhvr>
                                        <p:cTn id="10" dur="1" fill="hold">
                                          <p:stCondLst>
                                            <p:cond delay="0"/>
                                          </p:stCondLst>
                                        </p:cTn>
                                        <p:tgtEl>
                                          <p:spTgt spid="31"/>
                                        </p:tgtEl>
                                        <p:attrNameLst>
                                          <p:attrName>style.visibility</p:attrName>
                                        </p:attrNameLst>
                                      </p:cBhvr>
                                      <p:to>
                                        <p:strVal val="visible"/>
                                      </p:to>
                                    </p:set>
                                    <p:anim calcmode="lin" valueType="num">
                                      <p:cBhvr>
                                        <p:cTn id="11" dur="250" fill="hold"/>
                                        <p:tgtEl>
                                          <p:spTgt spid="31"/>
                                        </p:tgtEl>
                                        <p:attrNameLst>
                                          <p:attrName>ppt_w</p:attrName>
                                        </p:attrNameLst>
                                      </p:cBhvr>
                                      <p:tavLst>
                                        <p:tav tm="0">
                                          <p:val>
                                            <p:fltVal val="0"/>
                                          </p:val>
                                        </p:tav>
                                        <p:tav tm="100000">
                                          <p:val>
                                            <p:strVal val="#ppt_w"/>
                                          </p:val>
                                        </p:tav>
                                      </p:tavLst>
                                    </p:anim>
                                    <p:anim calcmode="lin" valueType="num">
                                      <p:cBhvr>
                                        <p:cTn id="12" dur="250" fill="hold"/>
                                        <p:tgtEl>
                                          <p:spTgt spid="31"/>
                                        </p:tgtEl>
                                        <p:attrNameLst>
                                          <p:attrName>ppt_h</p:attrName>
                                        </p:attrNameLst>
                                      </p:cBhvr>
                                      <p:tavLst>
                                        <p:tav tm="0">
                                          <p:val>
                                            <p:fltVal val="0"/>
                                          </p:val>
                                        </p:tav>
                                        <p:tav tm="100000">
                                          <p:val>
                                            <p:strVal val="#ppt_h"/>
                                          </p:val>
                                        </p:tav>
                                      </p:tavLst>
                                    </p:anim>
                                    <p:animEffect transition="in" filter="fade">
                                      <p:cBhvr>
                                        <p:cTn id="13" dur="250"/>
                                        <p:tgtEl>
                                          <p:spTgt spid="31"/>
                                        </p:tgtEl>
                                      </p:cBhvr>
                                    </p:animEffect>
                                  </p:childTnLst>
                                </p:cTn>
                              </p:par>
                            </p:childTnLst>
                          </p:cTn>
                        </p:par>
                        <p:par>
                          <p:cTn id="14" fill="hold" nodeType="afterGroup">
                            <p:stCondLst>
                              <p:cond delay="750"/>
                            </p:stCondLst>
                            <p:childTnLst>
                              <p:par>
                                <p:cTn id="15" presetID="10" presetClass="entr" presetSubtype="0" fill="hold" grpId="0" nodeType="afterEffect">
                                  <p:stCondLst>
                                    <p:cond delay="0"/>
                                  </p:stCondLst>
                                  <p:childTnLst>
                                    <p:set>
                                      <p:cBhvr>
                                        <p:cTn id="16" dur="1" fill="hold">
                                          <p:stCondLst>
                                            <p:cond delay="0"/>
                                          </p:stCondLst>
                                        </p:cTn>
                                        <p:tgtEl>
                                          <p:spTgt spid="37"/>
                                        </p:tgtEl>
                                        <p:attrNameLst>
                                          <p:attrName>style.visibility</p:attrName>
                                        </p:attrNameLst>
                                      </p:cBhvr>
                                      <p:to>
                                        <p:strVal val="visible"/>
                                      </p:to>
                                    </p:set>
                                    <p:animEffect transition="in" filter="fade">
                                      <p:cBhvr>
                                        <p:cTn id="17" dur="500"/>
                                        <p:tgtEl>
                                          <p:spTgt spid="37"/>
                                        </p:tgtEl>
                                      </p:cBhvr>
                                    </p:animEffect>
                                  </p:childTnLst>
                                </p:cTn>
                              </p:par>
                            </p:childTnLst>
                          </p:cTn>
                        </p:par>
                        <p:par>
                          <p:cTn id="18" fill="hold" nodeType="afterGroup">
                            <p:stCondLst>
                              <p:cond delay="1250"/>
                            </p:stCondLst>
                            <p:childTnLst>
                              <p:par>
                                <p:cTn id="19" presetID="53" presetClass="entr" presetSubtype="16" fill="hold" grpId="0" nodeType="afterEffect">
                                  <p:stCondLst>
                                    <p:cond delay="0"/>
                                  </p:stCondLst>
                                  <p:childTnLst>
                                    <p:set>
                                      <p:cBhvr>
                                        <p:cTn id="20" dur="1" fill="hold">
                                          <p:stCondLst>
                                            <p:cond delay="0"/>
                                          </p:stCondLst>
                                        </p:cTn>
                                        <p:tgtEl>
                                          <p:spTgt spid="32"/>
                                        </p:tgtEl>
                                        <p:attrNameLst>
                                          <p:attrName>style.visibility</p:attrName>
                                        </p:attrNameLst>
                                      </p:cBhvr>
                                      <p:to>
                                        <p:strVal val="visible"/>
                                      </p:to>
                                    </p:set>
                                    <p:anim calcmode="lin" valueType="num">
                                      <p:cBhvr>
                                        <p:cTn id="21" dur="250" fill="hold"/>
                                        <p:tgtEl>
                                          <p:spTgt spid="32"/>
                                        </p:tgtEl>
                                        <p:attrNameLst>
                                          <p:attrName>ppt_w</p:attrName>
                                        </p:attrNameLst>
                                      </p:cBhvr>
                                      <p:tavLst>
                                        <p:tav tm="0">
                                          <p:val>
                                            <p:fltVal val="0"/>
                                          </p:val>
                                        </p:tav>
                                        <p:tav tm="100000">
                                          <p:val>
                                            <p:strVal val="#ppt_w"/>
                                          </p:val>
                                        </p:tav>
                                      </p:tavLst>
                                    </p:anim>
                                    <p:anim calcmode="lin" valueType="num">
                                      <p:cBhvr>
                                        <p:cTn id="22" dur="250" fill="hold"/>
                                        <p:tgtEl>
                                          <p:spTgt spid="32"/>
                                        </p:tgtEl>
                                        <p:attrNameLst>
                                          <p:attrName>ppt_h</p:attrName>
                                        </p:attrNameLst>
                                      </p:cBhvr>
                                      <p:tavLst>
                                        <p:tav tm="0">
                                          <p:val>
                                            <p:fltVal val="0"/>
                                          </p:val>
                                        </p:tav>
                                        <p:tav tm="100000">
                                          <p:val>
                                            <p:strVal val="#ppt_h"/>
                                          </p:val>
                                        </p:tav>
                                      </p:tavLst>
                                    </p:anim>
                                    <p:animEffect transition="in" filter="fade">
                                      <p:cBhvr>
                                        <p:cTn id="23" dur="250"/>
                                        <p:tgtEl>
                                          <p:spTgt spid="32"/>
                                        </p:tgtEl>
                                      </p:cBhvr>
                                    </p:animEffect>
                                  </p:childTnLst>
                                </p:cTn>
                              </p:par>
                            </p:childTnLst>
                          </p:cTn>
                        </p:par>
                        <p:par>
                          <p:cTn id="24" fill="hold" nodeType="afterGroup">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42"/>
                                        </p:tgtEl>
                                        <p:attrNameLst>
                                          <p:attrName>style.visibility</p:attrName>
                                        </p:attrNameLst>
                                      </p:cBhvr>
                                      <p:to>
                                        <p:strVal val="visible"/>
                                      </p:to>
                                    </p:set>
                                    <p:animEffect transition="in" filter="fade">
                                      <p:cBhvr>
                                        <p:cTn id="27" dur="500"/>
                                        <p:tgtEl>
                                          <p:spTgt spid="42"/>
                                        </p:tgtEl>
                                      </p:cBhvr>
                                    </p:animEffect>
                                  </p:childTnLst>
                                </p:cTn>
                              </p:par>
                            </p:childTnLst>
                          </p:cTn>
                        </p:par>
                        <p:par>
                          <p:cTn id="28" fill="hold" nodeType="afterGroup">
                            <p:stCondLst>
                              <p:cond delay="2000"/>
                            </p:stCondLst>
                            <p:childTnLst>
                              <p:par>
                                <p:cTn id="29" presetID="53" presetClass="entr" presetSubtype="16" fill="hold" grpId="0" nodeType="afterEffect">
                                  <p:stCondLst>
                                    <p:cond delay="0"/>
                                  </p:stCondLst>
                                  <p:childTnLst>
                                    <p:set>
                                      <p:cBhvr>
                                        <p:cTn id="30" dur="1" fill="hold">
                                          <p:stCondLst>
                                            <p:cond delay="0"/>
                                          </p:stCondLst>
                                        </p:cTn>
                                        <p:tgtEl>
                                          <p:spTgt spid="33"/>
                                        </p:tgtEl>
                                        <p:attrNameLst>
                                          <p:attrName>style.visibility</p:attrName>
                                        </p:attrNameLst>
                                      </p:cBhvr>
                                      <p:to>
                                        <p:strVal val="visible"/>
                                      </p:to>
                                    </p:set>
                                    <p:anim calcmode="lin" valueType="num">
                                      <p:cBhvr>
                                        <p:cTn id="31" dur="250" fill="hold"/>
                                        <p:tgtEl>
                                          <p:spTgt spid="33"/>
                                        </p:tgtEl>
                                        <p:attrNameLst>
                                          <p:attrName>ppt_w</p:attrName>
                                        </p:attrNameLst>
                                      </p:cBhvr>
                                      <p:tavLst>
                                        <p:tav tm="0">
                                          <p:val>
                                            <p:fltVal val="0"/>
                                          </p:val>
                                        </p:tav>
                                        <p:tav tm="100000">
                                          <p:val>
                                            <p:strVal val="#ppt_w"/>
                                          </p:val>
                                        </p:tav>
                                      </p:tavLst>
                                    </p:anim>
                                    <p:anim calcmode="lin" valueType="num">
                                      <p:cBhvr>
                                        <p:cTn id="32" dur="250" fill="hold"/>
                                        <p:tgtEl>
                                          <p:spTgt spid="33"/>
                                        </p:tgtEl>
                                        <p:attrNameLst>
                                          <p:attrName>ppt_h</p:attrName>
                                        </p:attrNameLst>
                                      </p:cBhvr>
                                      <p:tavLst>
                                        <p:tav tm="0">
                                          <p:val>
                                            <p:fltVal val="0"/>
                                          </p:val>
                                        </p:tav>
                                        <p:tav tm="100000">
                                          <p:val>
                                            <p:strVal val="#ppt_h"/>
                                          </p:val>
                                        </p:tav>
                                      </p:tavLst>
                                    </p:anim>
                                    <p:animEffect transition="in" filter="fade">
                                      <p:cBhvr>
                                        <p:cTn id="33" dur="250"/>
                                        <p:tgtEl>
                                          <p:spTgt spid="33"/>
                                        </p:tgtEl>
                                      </p:cBhvr>
                                    </p:animEffect>
                                  </p:childTnLst>
                                </p:cTn>
                              </p:par>
                            </p:childTnLst>
                          </p:cTn>
                        </p:par>
                        <p:par>
                          <p:cTn id="34" fill="hold" nodeType="afterGroup">
                            <p:stCondLst>
                              <p:cond delay="2250"/>
                            </p:stCondLst>
                            <p:childTnLst>
                              <p:par>
                                <p:cTn id="35" presetID="10" presetClass="entr" presetSubtype="0" fill="hold" grpId="0" nodeType="afterEffect">
                                  <p:stCondLst>
                                    <p:cond delay="0"/>
                                  </p:stCondLst>
                                  <p:childTnLst>
                                    <p:set>
                                      <p:cBhvr>
                                        <p:cTn id="36" dur="1" fill="hold">
                                          <p:stCondLst>
                                            <p:cond delay="0"/>
                                          </p:stCondLst>
                                        </p:cTn>
                                        <p:tgtEl>
                                          <p:spTgt spid="38"/>
                                        </p:tgtEl>
                                        <p:attrNameLst>
                                          <p:attrName>style.visibility</p:attrName>
                                        </p:attrNameLst>
                                      </p:cBhvr>
                                      <p:to>
                                        <p:strVal val="visible"/>
                                      </p:to>
                                    </p:set>
                                    <p:animEffect transition="in" filter="fade">
                                      <p:cBhvr>
                                        <p:cTn id="37" dur="500"/>
                                        <p:tgtEl>
                                          <p:spTgt spid="38"/>
                                        </p:tgtEl>
                                      </p:cBhvr>
                                    </p:animEffect>
                                  </p:childTnLst>
                                </p:cTn>
                              </p:par>
                            </p:childTnLst>
                          </p:cTn>
                        </p:par>
                        <p:par>
                          <p:cTn id="38" fill="hold" nodeType="afterGroup">
                            <p:stCondLst>
                              <p:cond delay="2750"/>
                            </p:stCondLst>
                            <p:childTnLst>
                              <p:par>
                                <p:cTn id="39" presetID="53" presetClass="entr" presetSubtype="16" fill="hold" grpId="0" nodeType="afterEffect">
                                  <p:stCondLst>
                                    <p:cond delay="0"/>
                                  </p:stCondLst>
                                  <p:childTnLst>
                                    <p:set>
                                      <p:cBhvr>
                                        <p:cTn id="40" dur="1" fill="hold">
                                          <p:stCondLst>
                                            <p:cond delay="0"/>
                                          </p:stCondLst>
                                        </p:cTn>
                                        <p:tgtEl>
                                          <p:spTgt spid="34"/>
                                        </p:tgtEl>
                                        <p:attrNameLst>
                                          <p:attrName>style.visibility</p:attrName>
                                        </p:attrNameLst>
                                      </p:cBhvr>
                                      <p:to>
                                        <p:strVal val="visible"/>
                                      </p:to>
                                    </p:set>
                                    <p:anim calcmode="lin" valueType="num">
                                      <p:cBhvr>
                                        <p:cTn id="41" dur="250" fill="hold"/>
                                        <p:tgtEl>
                                          <p:spTgt spid="34"/>
                                        </p:tgtEl>
                                        <p:attrNameLst>
                                          <p:attrName>ppt_w</p:attrName>
                                        </p:attrNameLst>
                                      </p:cBhvr>
                                      <p:tavLst>
                                        <p:tav tm="0">
                                          <p:val>
                                            <p:fltVal val="0"/>
                                          </p:val>
                                        </p:tav>
                                        <p:tav tm="100000">
                                          <p:val>
                                            <p:strVal val="#ppt_w"/>
                                          </p:val>
                                        </p:tav>
                                      </p:tavLst>
                                    </p:anim>
                                    <p:anim calcmode="lin" valueType="num">
                                      <p:cBhvr>
                                        <p:cTn id="42" dur="250" fill="hold"/>
                                        <p:tgtEl>
                                          <p:spTgt spid="34"/>
                                        </p:tgtEl>
                                        <p:attrNameLst>
                                          <p:attrName>ppt_h</p:attrName>
                                        </p:attrNameLst>
                                      </p:cBhvr>
                                      <p:tavLst>
                                        <p:tav tm="0">
                                          <p:val>
                                            <p:fltVal val="0"/>
                                          </p:val>
                                        </p:tav>
                                        <p:tav tm="100000">
                                          <p:val>
                                            <p:strVal val="#ppt_h"/>
                                          </p:val>
                                        </p:tav>
                                      </p:tavLst>
                                    </p:anim>
                                    <p:animEffect transition="in" filter="fade">
                                      <p:cBhvr>
                                        <p:cTn id="43" dur="250"/>
                                        <p:tgtEl>
                                          <p:spTgt spid="34"/>
                                        </p:tgtEl>
                                      </p:cBhvr>
                                    </p:animEffect>
                                  </p:childTnLst>
                                </p:cTn>
                              </p:par>
                            </p:childTnLst>
                          </p:cTn>
                        </p:par>
                        <p:par>
                          <p:cTn id="44" fill="hold" nodeType="afterGroup">
                            <p:stCondLst>
                              <p:cond delay="3000"/>
                            </p:stCondLst>
                            <p:childTnLst>
                              <p:par>
                                <p:cTn id="45" presetID="10" presetClass="entr" presetSubtype="0" fill="hold" grpId="0" nodeType="afterEffect">
                                  <p:stCondLst>
                                    <p:cond delay="0"/>
                                  </p:stCondLst>
                                  <p:childTnLst>
                                    <p:set>
                                      <p:cBhvr>
                                        <p:cTn id="46" dur="1" fill="hold">
                                          <p:stCondLst>
                                            <p:cond delay="0"/>
                                          </p:stCondLst>
                                        </p:cTn>
                                        <p:tgtEl>
                                          <p:spTgt spid="41"/>
                                        </p:tgtEl>
                                        <p:attrNameLst>
                                          <p:attrName>style.visibility</p:attrName>
                                        </p:attrNameLst>
                                      </p:cBhvr>
                                      <p:to>
                                        <p:strVal val="visible"/>
                                      </p:to>
                                    </p:set>
                                    <p:animEffect transition="in" filter="fade">
                                      <p:cBhvr>
                                        <p:cTn id="47" dur="500"/>
                                        <p:tgtEl>
                                          <p:spTgt spid="41"/>
                                        </p:tgtEl>
                                      </p:cBhvr>
                                    </p:animEffect>
                                  </p:childTnLst>
                                </p:cTn>
                              </p:par>
                            </p:childTnLst>
                          </p:cTn>
                        </p:par>
                        <p:par>
                          <p:cTn id="48" fill="hold" nodeType="afterGroup">
                            <p:stCondLst>
                              <p:cond delay="3500"/>
                            </p:stCondLst>
                            <p:childTnLst>
                              <p:par>
                                <p:cTn id="49" presetID="53" presetClass="entr" presetSubtype="16" fill="hold" grpId="0" nodeType="afterEffect">
                                  <p:stCondLst>
                                    <p:cond delay="0"/>
                                  </p:stCondLst>
                                  <p:childTnLst>
                                    <p:set>
                                      <p:cBhvr>
                                        <p:cTn id="50" dur="1" fill="hold">
                                          <p:stCondLst>
                                            <p:cond delay="0"/>
                                          </p:stCondLst>
                                        </p:cTn>
                                        <p:tgtEl>
                                          <p:spTgt spid="35"/>
                                        </p:tgtEl>
                                        <p:attrNameLst>
                                          <p:attrName>style.visibility</p:attrName>
                                        </p:attrNameLst>
                                      </p:cBhvr>
                                      <p:to>
                                        <p:strVal val="visible"/>
                                      </p:to>
                                    </p:set>
                                    <p:anim calcmode="lin" valueType="num">
                                      <p:cBhvr>
                                        <p:cTn id="51" dur="250" fill="hold"/>
                                        <p:tgtEl>
                                          <p:spTgt spid="35"/>
                                        </p:tgtEl>
                                        <p:attrNameLst>
                                          <p:attrName>ppt_w</p:attrName>
                                        </p:attrNameLst>
                                      </p:cBhvr>
                                      <p:tavLst>
                                        <p:tav tm="0">
                                          <p:val>
                                            <p:fltVal val="0"/>
                                          </p:val>
                                        </p:tav>
                                        <p:tav tm="100000">
                                          <p:val>
                                            <p:strVal val="#ppt_w"/>
                                          </p:val>
                                        </p:tav>
                                      </p:tavLst>
                                    </p:anim>
                                    <p:anim calcmode="lin" valueType="num">
                                      <p:cBhvr>
                                        <p:cTn id="52" dur="250" fill="hold"/>
                                        <p:tgtEl>
                                          <p:spTgt spid="35"/>
                                        </p:tgtEl>
                                        <p:attrNameLst>
                                          <p:attrName>ppt_h</p:attrName>
                                        </p:attrNameLst>
                                      </p:cBhvr>
                                      <p:tavLst>
                                        <p:tav tm="0">
                                          <p:val>
                                            <p:fltVal val="0"/>
                                          </p:val>
                                        </p:tav>
                                        <p:tav tm="100000">
                                          <p:val>
                                            <p:strVal val="#ppt_h"/>
                                          </p:val>
                                        </p:tav>
                                      </p:tavLst>
                                    </p:anim>
                                    <p:animEffect transition="in" filter="fade">
                                      <p:cBhvr>
                                        <p:cTn id="53" dur="250"/>
                                        <p:tgtEl>
                                          <p:spTgt spid="35"/>
                                        </p:tgtEl>
                                      </p:cBhvr>
                                    </p:animEffect>
                                  </p:childTnLst>
                                </p:cTn>
                              </p:par>
                            </p:childTnLst>
                          </p:cTn>
                        </p:par>
                        <p:par>
                          <p:cTn id="54" fill="hold" nodeType="afterGroup">
                            <p:stCondLst>
                              <p:cond delay="3750"/>
                            </p:stCondLst>
                            <p:childTnLst>
                              <p:par>
                                <p:cTn id="55" presetID="10" presetClass="entr" presetSubtype="0" fill="hold" grpId="0" nodeType="afterEffect">
                                  <p:stCondLst>
                                    <p:cond delay="0"/>
                                  </p:stCondLst>
                                  <p:childTnLst>
                                    <p:set>
                                      <p:cBhvr>
                                        <p:cTn id="56" dur="1" fill="hold">
                                          <p:stCondLst>
                                            <p:cond delay="0"/>
                                          </p:stCondLst>
                                        </p:cTn>
                                        <p:tgtEl>
                                          <p:spTgt spid="39"/>
                                        </p:tgtEl>
                                        <p:attrNameLst>
                                          <p:attrName>style.visibility</p:attrName>
                                        </p:attrNameLst>
                                      </p:cBhvr>
                                      <p:to>
                                        <p:strVal val="visible"/>
                                      </p:to>
                                    </p:set>
                                    <p:animEffect transition="in" filter="fade">
                                      <p:cBhvr>
                                        <p:cTn id="57" dur="500"/>
                                        <p:tgtEl>
                                          <p:spTgt spid="39"/>
                                        </p:tgtEl>
                                      </p:cBhvr>
                                    </p:animEffect>
                                  </p:childTnLst>
                                </p:cTn>
                              </p:par>
                            </p:childTnLst>
                          </p:cTn>
                        </p:par>
                        <p:par>
                          <p:cTn id="58" fill="hold" nodeType="afterGroup">
                            <p:stCondLst>
                              <p:cond delay="4250"/>
                            </p:stCondLst>
                            <p:childTnLst>
                              <p:par>
                                <p:cTn id="59" presetID="53" presetClass="entr" presetSubtype="16" fill="hold" grpId="0" nodeType="afterEffect">
                                  <p:stCondLst>
                                    <p:cond delay="0"/>
                                  </p:stCondLst>
                                  <p:childTnLst>
                                    <p:set>
                                      <p:cBhvr>
                                        <p:cTn id="60" dur="1" fill="hold">
                                          <p:stCondLst>
                                            <p:cond delay="0"/>
                                          </p:stCondLst>
                                        </p:cTn>
                                        <p:tgtEl>
                                          <p:spTgt spid="36"/>
                                        </p:tgtEl>
                                        <p:attrNameLst>
                                          <p:attrName>style.visibility</p:attrName>
                                        </p:attrNameLst>
                                      </p:cBhvr>
                                      <p:to>
                                        <p:strVal val="visible"/>
                                      </p:to>
                                    </p:set>
                                    <p:anim calcmode="lin" valueType="num">
                                      <p:cBhvr>
                                        <p:cTn id="61" dur="250" fill="hold"/>
                                        <p:tgtEl>
                                          <p:spTgt spid="36"/>
                                        </p:tgtEl>
                                        <p:attrNameLst>
                                          <p:attrName>ppt_w</p:attrName>
                                        </p:attrNameLst>
                                      </p:cBhvr>
                                      <p:tavLst>
                                        <p:tav tm="0">
                                          <p:val>
                                            <p:fltVal val="0"/>
                                          </p:val>
                                        </p:tav>
                                        <p:tav tm="100000">
                                          <p:val>
                                            <p:strVal val="#ppt_w"/>
                                          </p:val>
                                        </p:tav>
                                      </p:tavLst>
                                    </p:anim>
                                    <p:anim calcmode="lin" valueType="num">
                                      <p:cBhvr>
                                        <p:cTn id="62" dur="250" fill="hold"/>
                                        <p:tgtEl>
                                          <p:spTgt spid="36"/>
                                        </p:tgtEl>
                                        <p:attrNameLst>
                                          <p:attrName>ppt_h</p:attrName>
                                        </p:attrNameLst>
                                      </p:cBhvr>
                                      <p:tavLst>
                                        <p:tav tm="0">
                                          <p:val>
                                            <p:fltVal val="0"/>
                                          </p:val>
                                        </p:tav>
                                        <p:tav tm="100000">
                                          <p:val>
                                            <p:strVal val="#ppt_h"/>
                                          </p:val>
                                        </p:tav>
                                      </p:tavLst>
                                    </p:anim>
                                    <p:animEffect transition="in" filter="fade">
                                      <p:cBhvr>
                                        <p:cTn id="63" dur="250"/>
                                        <p:tgtEl>
                                          <p:spTgt spid="36"/>
                                        </p:tgtEl>
                                      </p:cBhvr>
                                    </p:animEffect>
                                  </p:childTnLst>
                                </p:cTn>
                              </p:par>
                            </p:childTnLst>
                          </p:cTn>
                        </p:par>
                        <p:par>
                          <p:cTn id="64" fill="hold" nodeType="afterGroup">
                            <p:stCondLst>
                              <p:cond delay="4500"/>
                            </p:stCondLst>
                            <p:childTnLst>
                              <p:par>
                                <p:cTn id="65" presetID="10" presetClass="entr" presetSubtype="0" fill="hold" grpId="0" nodeType="afterEffect">
                                  <p:stCondLst>
                                    <p:cond delay="0"/>
                                  </p:stCondLst>
                                  <p:childTnLst>
                                    <p:set>
                                      <p:cBhvr>
                                        <p:cTn id="66" dur="1" fill="hold">
                                          <p:stCondLst>
                                            <p:cond delay="0"/>
                                          </p:stCondLst>
                                        </p:cTn>
                                        <p:tgtEl>
                                          <p:spTgt spid="40"/>
                                        </p:tgtEl>
                                        <p:attrNameLst>
                                          <p:attrName>style.visibility</p:attrName>
                                        </p:attrNameLst>
                                      </p:cBhvr>
                                      <p:to>
                                        <p:strVal val="visible"/>
                                      </p:to>
                                    </p:set>
                                    <p:animEffect transition="in" filter="fade">
                                      <p:cBhvr>
                                        <p:cTn id="67"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3" grpId="0" animBg="1"/>
      <p:bldP spid="34" grpId="0" animBg="1"/>
      <p:bldP spid="35" grpId="0" animBg="1"/>
      <p:bldP spid="36" grpId="0" animBg="1"/>
      <p:bldP spid="37" grpId="0"/>
      <p:bldP spid="38" grpId="0"/>
      <p:bldP spid="39" grpId="0"/>
      <p:bldP spid="40" grpId="0"/>
      <p:bldP spid="41" grpId="0"/>
      <p:bldP spid="42" grpId="0"/>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C20F2A"/>
        </a:solidFill>
        <a:effectLst/>
      </p:bgPr>
    </p:bg>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5D865329-919D-47DC-9D1D-B2712DE184D6}"/>
              </a:ext>
            </a:extLst>
          </p:cNvPr>
          <p:cNvSpPr txBox="1">
            <a:spLocks noChangeArrowheads="1"/>
          </p:cNvSpPr>
          <p:nvPr/>
        </p:nvSpPr>
        <p:spPr bwMode="auto">
          <a:xfrm>
            <a:off x="838200" y="2419350"/>
            <a:ext cx="2157413" cy="264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r" eaLnBrk="1" hangingPunct="1">
              <a:lnSpc>
                <a:spcPct val="100000"/>
              </a:lnSpc>
              <a:spcBef>
                <a:spcPct val="0"/>
              </a:spcBef>
              <a:buFontTx/>
              <a:buNone/>
            </a:pPr>
            <a:r>
              <a:rPr lang="en-US" altLang="zh-CN" sz="16600" b="1">
                <a:solidFill>
                  <a:srgbClr val="292929"/>
                </a:solidFill>
                <a:latin typeface="Agency FB" panose="020B0503020202020204" pitchFamily="34" charset="0"/>
              </a:rPr>
              <a:t>03</a:t>
            </a:r>
            <a:endParaRPr lang="zh-CN" altLang="en-US" sz="16600" b="1">
              <a:solidFill>
                <a:srgbClr val="292929"/>
              </a:solidFill>
              <a:latin typeface="Agency FB" panose="020B0503020202020204" pitchFamily="34" charset="0"/>
            </a:endParaRPr>
          </a:p>
        </p:txBody>
      </p:sp>
      <p:cxnSp>
        <p:nvCxnSpPr>
          <p:cNvPr id="4" name="直接连接符 3">
            <a:extLst>
              <a:ext uri="{FF2B5EF4-FFF2-40B4-BE49-F238E27FC236}">
                <a16:creationId xmlns:a16="http://schemas.microsoft.com/office/drawing/2014/main" id="{0101E8E3-AF0F-4245-9F9B-57D9C9B08615}"/>
              </a:ext>
            </a:extLst>
          </p:cNvPr>
          <p:cNvCxnSpPr/>
          <p:nvPr/>
        </p:nvCxnSpPr>
        <p:spPr>
          <a:xfrm>
            <a:off x="3009900" y="2638425"/>
            <a:ext cx="0" cy="2208213"/>
          </a:xfrm>
          <a:prstGeom prst="line">
            <a:avLst/>
          </a:prstGeom>
          <a:ln w="38100">
            <a:solidFill>
              <a:schemeClr val="bg1">
                <a:alpha val="36000"/>
              </a:schemeClr>
            </a:solidFill>
          </a:ln>
        </p:spPr>
        <p:style>
          <a:lnRef idx="1">
            <a:schemeClr val="accent1"/>
          </a:lnRef>
          <a:fillRef idx="0">
            <a:schemeClr val="accent1"/>
          </a:fillRef>
          <a:effectRef idx="0">
            <a:schemeClr val="accent1"/>
          </a:effectRef>
          <a:fontRef idx="minor">
            <a:schemeClr val="tx1"/>
          </a:fontRef>
        </p:style>
      </p:cxnSp>
      <p:sp>
        <p:nvSpPr>
          <p:cNvPr id="5" name="文本框 56">
            <a:extLst>
              <a:ext uri="{FF2B5EF4-FFF2-40B4-BE49-F238E27FC236}">
                <a16:creationId xmlns:a16="http://schemas.microsoft.com/office/drawing/2014/main" id="{9F61DC32-6BE6-4752-9BCD-0B7044948CAD}"/>
              </a:ext>
            </a:extLst>
          </p:cNvPr>
          <p:cNvSpPr txBox="1">
            <a:spLocks noChangeArrowheads="1"/>
          </p:cNvSpPr>
          <p:nvPr/>
        </p:nvSpPr>
        <p:spPr bwMode="auto">
          <a:xfrm>
            <a:off x="3181350" y="2819400"/>
            <a:ext cx="6362700"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sz="5400" b="1">
                <a:solidFill>
                  <a:srgbClr val="292929"/>
                </a:solidFill>
                <a:latin typeface="Agency FB" panose="020B0503020202020204" pitchFamily="34" charset="0"/>
              </a:rPr>
              <a:t>CLICK TO ADD YOUR TITLE</a:t>
            </a:r>
          </a:p>
        </p:txBody>
      </p:sp>
      <p:sp>
        <p:nvSpPr>
          <p:cNvPr id="6" name="文本框 56">
            <a:extLst>
              <a:ext uri="{FF2B5EF4-FFF2-40B4-BE49-F238E27FC236}">
                <a16:creationId xmlns:a16="http://schemas.microsoft.com/office/drawing/2014/main" id="{0B82170A-3363-427E-BB71-100133302B38}"/>
              </a:ext>
            </a:extLst>
          </p:cNvPr>
          <p:cNvSpPr txBox="1">
            <a:spLocks noChangeArrowheads="1"/>
          </p:cNvSpPr>
          <p:nvPr/>
        </p:nvSpPr>
        <p:spPr bwMode="auto">
          <a:xfrm>
            <a:off x="3181350" y="3756025"/>
            <a:ext cx="6265863"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sz="1600">
                <a:solidFill>
                  <a:srgbClr val="292929"/>
                </a:solidFill>
              </a:rPr>
              <a:t>click to add subtitle click to add subtitle click to add subtitle click to add subtitle  click to add subtitle click to add subtitle click to add subtitle click to add subtitle  click to add subtitle click to add subtitle</a:t>
            </a:r>
            <a:endParaRPr lang="zh-CN" altLang="en-US" sz="1600">
              <a:solidFill>
                <a:srgbClr val="292929"/>
              </a:solidFill>
            </a:endParaRPr>
          </a:p>
        </p:txBody>
      </p:sp>
    </p:spTree>
  </p:cSld>
  <p:clrMapOvr>
    <a:masterClrMapping/>
  </p:clrMapOvr>
  <p:transition spd="slow">
    <p:blinds dir="vert"/>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nodeType="afterGroup">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nodeType="afterGroup">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nodeType="afterGroup">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bldP spid="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文本框 56">
            <a:extLst>
              <a:ext uri="{FF2B5EF4-FFF2-40B4-BE49-F238E27FC236}">
                <a16:creationId xmlns:a16="http://schemas.microsoft.com/office/drawing/2014/main" id="{0E977720-FF80-4588-9810-8ED49D5D7221}"/>
              </a:ext>
            </a:extLst>
          </p:cNvPr>
          <p:cNvSpPr txBox="1">
            <a:spLocks noChangeArrowheads="1"/>
          </p:cNvSpPr>
          <p:nvPr/>
        </p:nvSpPr>
        <p:spPr bwMode="auto">
          <a:xfrm>
            <a:off x="1154113" y="566738"/>
            <a:ext cx="509587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00000"/>
              </a:lnSpc>
              <a:spcBef>
                <a:spcPct val="0"/>
              </a:spcBef>
              <a:buFontTx/>
              <a:buNone/>
            </a:pPr>
            <a:r>
              <a:rPr lang="en-US" altLang="zh-CN" sz="3200" b="1">
                <a:solidFill>
                  <a:srgbClr val="C20F2A"/>
                </a:solidFill>
                <a:latin typeface="Agency FB" panose="020B0503020202020204" pitchFamily="34" charset="0"/>
              </a:rPr>
              <a:t>CLICK TO ADD YOUR TITLE IN HERE</a:t>
            </a:r>
          </a:p>
        </p:txBody>
      </p:sp>
      <p:pic>
        <p:nvPicPr>
          <p:cNvPr id="4101" name="Picture 5" descr="D:\Users\zyf\Desktop\常用\背景 花纹 图片\锐普提供 商务图片3.26\商务326 (14).png">
            <a:extLst>
              <a:ext uri="{FF2B5EF4-FFF2-40B4-BE49-F238E27FC236}">
                <a16:creationId xmlns:a16="http://schemas.microsoft.com/office/drawing/2014/main" id="{063F964A-A8F8-4BFA-B236-76E3EDDC5381}"/>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431080" y="2001986"/>
            <a:ext cx="1775915" cy="1800000"/>
          </a:xfrm>
          <a:prstGeom prst="diamond">
            <a:avLst/>
          </a:prstGeom>
          <a:noFill/>
          <a:ln w="3175">
            <a:solidFill>
              <a:srgbClr val="292929"/>
            </a:solidFill>
          </a:ln>
          <a:extLst>
            <a:ext uri="{909E8E84-426E-40DD-AFC4-6F175D3DCCD1}">
              <a14:hiddenFill xmlns:a14="http://schemas.microsoft.com/office/drawing/2010/main">
                <a:solidFill>
                  <a:srgbClr val="FFFFFF"/>
                </a:solidFill>
              </a14:hiddenFill>
            </a:ext>
          </a:extLst>
        </p:spPr>
      </p:pic>
      <p:pic>
        <p:nvPicPr>
          <p:cNvPr id="4102" name="Picture 6" descr="D:\Users\zyf\Desktop\常用\背景 花纹 图片\锐普提供 商务图片3.26\商务326 (16).png">
            <a:extLst>
              <a:ext uri="{FF2B5EF4-FFF2-40B4-BE49-F238E27FC236}">
                <a16:creationId xmlns:a16="http://schemas.microsoft.com/office/drawing/2014/main" id="{0F327C07-3CFB-45BB-9417-4697B96DDB7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83983" y="2001986"/>
            <a:ext cx="1800000" cy="1800000"/>
          </a:xfrm>
          <a:prstGeom prst="diamond">
            <a:avLst/>
          </a:prstGeom>
          <a:noFill/>
          <a:ln w="3175">
            <a:solidFill>
              <a:srgbClr val="292929"/>
            </a:solidFill>
          </a:ln>
          <a:extLst>
            <a:ext uri="{909E8E84-426E-40DD-AFC4-6F175D3DCCD1}">
              <a14:hiddenFill xmlns:a14="http://schemas.microsoft.com/office/drawing/2010/main">
                <a:solidFill>
                  <a:srgbClr val="FFFFFF"/>
                </a:solidFill>
              </a14:hiddenFill>
            </a:ext>
          </a:extLst>
        </p:spPr>
      </p:pic>
      <p:pic>
        <p:nvPicPr>
          <p:cNvPr id="4104" name="Picture 8" descr="D:\Users\zyf\Desktop\常用\背景 花纹 图片\锐普提供 商务图片3.26\商务326 (33).jpg">
            <a:extLst>
              <a:ext uri="{FF2B5EF4-FFF2-40B4-BE49-F238E27FC236}">
                <a16:creationId xmlns:a16="http://schemas.microsoft.com/office/drawing/2014/main" id="{0E3A861E-35EF-4DCD-90FF-A49C72BE875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699069" y="2001986"/>
            <a:ext cx="1800000" cy="1800000"/>
          </a:xfrm>
          <a:prstGeom prst="diamond">
            <a:avLst/>
          </a:prstGeom>
          <a:noFill/>
          <a:ln w="3175">
            <a:solidFill>
              <a:srgbClr val="292929"/>
            </a:solidFill>
          </a:ln>
          <a:extLst>
            <a:ext uri="{909E8E84-426E-40DD-AFC4-6F175D3DCCD1}">
              <a14:hiddenFill xmlns:a14="http://schemas.microsoft.com/office/drawing/2010/main">
                <a:solidFill>
                  <a:srgbClr val="FFFFFF"/>
                </a:solidFill>
              </a14:hiddenFill>
            </a:ext>
          </a:extLst>
        </p:spPr>
      </p:pic>
      <p:pic>
        <p:nvPicPr>
          <p:cNvPr id="4105" name="Picture 9" descr="D:\Users\zyf\Desktop\常用\背景 花纹 图片\锐普提供 商务图片3.26\商务326 (30).jpg">
            <a:extLst>
              <a:ext uri="{FF2B5EF4-FFF2-40B4-BE49-F238E27FC236}">
                <a16:creationId xmlns:a16="http://schemas.microsoft.com/office/drawing/2014/main" id="{19DF4A3B-10E9-4715-9319-322F86E6EA1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92931" y="2001986"/>
            <a:ext cx="1723063" cy="1800000"/>
          </a:xfrm>
          <a:prstGeom prst="diamond">
            <a:avLst/>
          </a:prstGeom>
          <a:noFill/>
          <a:ln w="3175">
            <a:solidFill>
              <a:srgbClr val="292929"/>
            </a:solidFill>
          </a:ln>
          <a:extLst>
            <a:ext uri="{909E8E84-426E-40DD-AFC4-6F175D3DCCD1}">
              <a14:hiddenFill xmlns:a14="http://schemas.microsoft.com/office/drawing/2010/main">
                <a:solidFill>
                  <a:srgbClr val="FFFFFF"/>
                </a:solidFill>
              </a14:hiddenFill>
            </a:ext>
          </a:extLst>
        </p:spPr>
      </p:pic>
      <p:pic>
        <p:nvPicPr>
          <p:cNvPr id="4106" name="Picture 10" descr="D:\Users\zyf\Desktop\常用\背景 花纹 图片\锐普提供 商务图片3.26\商务326 (63).jpg">
            <a:extLst>
              <a:ext uri="{FF2B5EF4-FFF2-40B4-BE49-F238E27FC236}">
                <a16:creationId xmlns:a16="http://schemas.microsoft.com/office/drawing/2014/main" id="{14CDEB87-E7ED-4C55-AD3F-31C4D1BACBF5}"/>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222081" y="2001986"/>
            <a:ext cx="1852642" cy="1800000"/>
          </a:xfrm>
          <a:prstGeom prst="diamond">
            <a:avLst/>
          </a:prstGeom>
          <a:noFill/>
          <a:ln w="3175">
            <a:solidFill>
              <a:srgbClr val="292929"/>
            </a:solidFill>
          </a:ln>
          <a:extLst>
            <a:ext uri="{909E8E84-426E-40DD-AFC4-6F175D3DCCD1}">
              <a14:hiddenFill xmlns:a14="http://schemas.microsoft.com/office/drawing/2010/main">
                <a:solidFill>
                  <a:srgbClr val="FFFFFF"/>
                </a:solidFill>
              </a14:hiddenFill>
            </a:ext>
          </a:extLst>
        </p:spPr>
      </p:pic>
      <p:pic>
        <p:nvPicPr>
          <p:cNvPr id="4107" name="Picture 11" descr="D:\Users\zyf\Desktop\常用\背景 花纹 图片\锐普提供 商务图片3.26\商务326 (19).png">
            <a:extLst>
              <a:ext uri="{FF2B5EF4-FFF2-40B4-BE49-F238E27FC236}">
                <a16:creationId xmlns:a16="http://schemas.microsoft.com/office/drawing/2014/main" id="{CE570063-50A2-4B6B-BC9D-EB6FE3CB4C41}"/>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089809" y="2001986"/>
            <a:ext cx="1779088" cy="1800000"/>
          </a:xfrm>
          <a:prstGeom prst="diamond">
            <a:avLst/>
          </a:prstGeom>
          <a:noFill/>
          <a:ln w="3175">
            <a:solidFill>
              <a:srgbClr val="292929"/>
            </a:solidFill>
          </a:ln>
          <a:extLst>
            <a:ext uri="{909E8E84-426E-40DD-AFC4-6F175D3DCCD1}">
              <a14:hiddenFill xmlns:a14="http://schemas.microsoft.com/office/drawing/2010/main">
                <a:solidFill>
                  <a:srgbClr val="FFFFFF"/>
                </a:solidFill>
              </a14:hiddenFill>
            </a:ext>
          </a:extLst>
        </p:spPr>
      </p:pic>
      <p:grpSp>
        <p:nvGrpSpPr>
          <p:cNvPr id="8" name="组合 7">
            <a:extLst>
              <a:ext uri="{FF2B5EF4-FFF2-40B4-BE49-F238E27FC236}">
                <a16:creationId xmlns:a16="http://schemas.microsoft.com/office/drawing/2014/main" id="{50991CB0-CE2F-4A7C-A38E-09AB9C5E947F}"/>
              </a:ext>
            </a:extLst>
          </p:cNvPr>
          <p:cNvGrpSpPr>
            <a:grpSpLocks/>
          </p:cNvGrpSpPr>
          <p:nvPr/>
        </p:nvGrpSpPr>
        <p:grpSpPr bwMode="auto">
          <a:xfrm>
            <a:off x="1844675" y="3230563"/>
            <a:ext cx="1143000" cy="1143000"/>
            <a:chOff x="1843983" y="3523276"/>
            <a:chExt cx="1144022" cy="1144022"/>
          </a:xfrm>
        </p:grpSpPr>
        <p:sp>
          <p:nvSpPr>
            <p:cNvPr id="7" name="菱形 6">
              <a:extLst>
                <a:ext uri="{FF2B5EF4-FFF2-40B4-BE49-F238E27FC236}">
                  <a16:creationId xmlns:a16="http://schemas.microsoft.com/office/drawing/2014/main" id="{E8CA799A-C7F9-4A08-B5EC-916229609965}"/>
                </a:ext>
              </a:extLst>
            </p:cNvPr>
            <p:cNvSpPr/>
            <p:nvPr/>
          </p:nvSpPr>
          <p:spPr>
            <a:xfrm>
              <a:off x="1843983" y="3523276"/>
              <a:ext cx="1144022" cy="1144022"/>
            </a:xfrm>
            <a:prstGeom prst="diamond">
              <a:avLst/>
            </a:prstGeom>
            <a:solidFill>
              <a:srgbClr val="C20F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19485" name="Freeform 13">
              <a:extLst>
                <a:ext uri="{FF2B5EF4-FFF2-40B4-BE49-F238E27FC236}">
                  <a16:creationId xmlns:a16="http://schemas.microsoft.com/office/drawing/2014/main" id="{DC25FA9C-5DAD-4E1D-BC7A-DBE30B3FD2EE}"/>
                </a:ext>
              </a:extLst>
            </p:cNvPr>
            <p:cNvSpPr>
              <a:spLocks noEditPoints="1"/>
            </p:cNvSpPr>
            <p:nvPr/>
          </p:nvSpPr>
          <p:spPr bwMode="auto">
            <a:xfrm>
              <a:off x="2180953" y="3924464"/>
              <a:ext cx="470082" cy="341645"/>
            </a:xfrm>
            <a:custGeom>
              <a:avLst/>
              <a:gdLst>
                <a:gd name="T0" fmla="*/ 123770093 w 207"/>
                <a:gd name="T1" fmla="*/ 0 h 150"/>
                <a:gd name="T2" fmla="*/ 0 w 207"/>
                <a:gd name="T3" fmla="*/ 145253788 h 150"/>
                <a:gd name="T4" fmla="*/ 0 w 207"/>
                <a:gd name="T5" fmla="*/ 653639769 h 150"/>
                <a:gd name="T6" fmla="*/ 943752066 w 207"/>
                <a:gd name="T7" fmla="*/ 778142040 h 150"/>
                <a:gd name="T8" fmla="*/ 1067522158 w 207"/>
                <a:gd name="T9" fmla="*/ 632888252 h 150"/>
                <a:gd name="T10" fmla="*/ 1067522158 w 207"/>
                <a:gd name="T11" fmla="*/ 124502271 h 150"/>
                <a:gd name="T12" fmla="*/ 943752066 w 207"/>
                <a:gd name="T13" fmla="*/ 41500757 h 150"/>
                <a:gd name="T14" fmla="*/ 969536177 w 207"/>
                <a:gd name="T15" fmla="*/ 46689206 h 150"/>
                <a:gd name="T16" fmla="*/ 985008006 w 207"/>
                <a:gd name="T17" fmla="*/ 51875377 h 150"/>
                <a:gd name="T18" fmla="*/ 995322559 w 207"/>
                <a:gd name="T19" fmla="*/ 62252274 h 150"/>
                <a:gd name="T20" fmla="*/ 1005637112 w 207"/>
                <a:gd name="T21" fmla="*/ 72626894 h 150"/>
                <a:gd name="T22" fmla="*/ 1015951665 w 207"/>
                <a:gd name="T23" fmla="*/ 83001514 h 150"/>
                <a:gd name="T24" fmla="*/ 1026266218 w 207"/>
                <a:gd name="T25" fmla="*/ 98564583 h 150"/>
                <a:gd name="T26" fmla="*/ 1026266218 w 207"/>
                <a:gd name="T27" fmla="*/ 114127651 h 150"/>
                <a:gd name="T28" fmla="*/ 639481840 w 207"/>
                <a:gd name="T29" fmla="*/ 363132193 h 150"/>
                <a:gd name="T30" fmla="*/ 536338582 w 207"/>
                <a:gd name="T31" fmla="*/ 425384467 h 150"/>
                <a:gd name="T32" fmla="*/ 433197595 w 207"/>
                <a:gd name="T33" fmla="*/ 363132193 h 150"/>
                <a:gd name="T34" fmla="*/ 46413217 w 207"/>
                <a:gd name="T35" fmla="*/ 114127651 h 150"/>
                <a:gd name="T36" fmla="*/ 46413217 w 207"/>
                <a:gd name="T37" fmla="*/ 98564583 h 150"/>
                <a:gd name="T38" fmla="*/ 51570493 w 207"/>
                <a:gd name="T39" fmla="*/ 83001514 h 150"/>
                <a:gd name="T40" fmla="*/ 61885046 w 207"/>
                <a:gd name="T41" fmla="*/ 72626894 h 150"/>
                <a:gd name="T42" fmla="*/ 72199599 w 207"/>
                <a:gd name="T43" fmla="*/ 62252274 h 150"/>
                <a:gd name="T44" fmla="*/ 87671428 w 207"/>
                <a:gd name="T45" fmla="*/ 51875377 h 150"/>
                <a:gd name="T46" fmla="*/ 103143258 w 207"/>
                <a:gd name="T47" fmla="*/ 46689206 h 150"/>
                <a:gd name="T48" fmla="*/ 123770093 w 207"/>
                <a:gd name="T49" fmla="*/ 41500757 h 150"/>
                <a:gd name="T50" fmla="*/ 41255941 w 207"/>
                <a:gd name="T51" fmla="*/ 171191477 h 150"/>
                <a:gd name="T52" fmla="*/ 41255941 w 207"/>
                <a:gd name="T53" fmla="*/ 606950564 h 150"/>
                <a:gd name="T54" fmla="*/ 123770093 w 207"/>
                <a:gd name="T55" fmla="*/ 736641283 h 150"/>
                <a:gd name="T56" fmla="*/ 103143258 w 207"/>
                <a:gd name="T57" fmla="*/ 731452834 h 150"/>
                <a:gd name="T58" fmla="*/ 82514152 w 207"/>
                <a:gd name="T59" fmla="*/ 726266663 h 150"/>
                <a:gd name="T60" fmla="*/ 72199599 w 207"/>
                <a:gd name="T61" fmla="*/ 715889766 h 150"/>
                <a:gd name="T62" fmla="*/ 61885046 w 207"/>
                <a:gd name="T63" fmla="*/ 705515146 h 150"/>
                <a:gd name="T64" fmla="*/ 51570493 w 207"/>
                <a:gd name="T65" fmla="*/ 689952078 h 150"/>
                <a:gd name="T66" fmla="*/ 46413217 w 207"/>
                <a:gd name="T67" fmla="*/ 679577458 h 150"/>
                <a:gd name="T68" fmla="*/ 46413217 w 207"/>
                <a:gd name="T69" fmla="*/ 664014389 h 150"/>
                <a:gd name="T70" fmla="*/ 433197595 w 207"/>
                <a:gd name="T71" fmla="*/ 415009847 h 150"/>
                <a:gd name="T72" fmla="*/ 639481840 w 207"/>
                <a:gd name="T73" fmla="*/ 415009847 h 150"/>
                <a:gd name="T74" fmla="*/ 1026266218 w 207"/>
                <a:gd name="T75" fmla="*/ 664014389 h 150"/>
                <a:gd name="T76" fmla="*/ 1026266218 w 207"/>
                <a:gd name="T77" fmla="*/ 679577458 h 150"/>
                <a:gd name="T78" fmla="*/ 1015951665 w 207"/>
                <a:gd name="T79" fmla="*/ 689952078 h 150"/>
                <a:gd name="T80" fmla="*/ 1010794388 w 207"/>
                <a:gd name="T81" fmla="*/ 705515146 h 150"/>
                <a:gd name="T82" fmla="*/ 1000479835 w 207"/>
                <a:gd name="T83" fmla="*/ 715889766 h 150"/>
                <a:gd name="T84" fmla="*/ 985008006 w 207"/>
                <a:gd name="T85" fmla="*/ 726266663 h 150"/>
                <a:gd name="T86" fmla="*/ 969536177 w 207"/>
                <a:gd name="T87" fmla="*/ 731452834 h 150"/>
                <a:gd name="T88" fmla="*/ 943752066 w 207"/>
                <a:gd name="T89" fmla="*/ 736641283 h 150"/>
                <a:gd name="T90" fmla="*/ 1026266218 w 207"/>
                <a:gd name="T91" fmla="*/ 606950564 h 150"/>
                <a:gd name="T92" fmla="*/ 1026266218 w 207"/>
                <a:gd name="T93" fmla="*/ 171191477 h 15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07" h="150">
                  <a:moveTo>
                    <a:pt x="183" y="0"/>
                  </a:moveTo>
                  <a:cubicBezTo>
                    <a:pt x="24" y="0"/>
                    <a:pt x="24" y="0"/>
                    <a:pt x="24" y="0"/>
                  </a:cubicBezTo>
                  <a:cubicBezTo>
                    <a:pt x="11" y="0"/>
                    <a:pt x="0" y="11"/>
                    <a:pt x="0" y="24"/>
                  </a:cubicBezTo>
                  <a:cubicBezTo>
                    <a:pt x="0" y="28"/>
                    <a:pt x="0" y="28"/>
                    <a:pt x="0" y="28"/>
                  </a:cubicBezTo>
                  <a:cubicBezTo>
                    <a:pt x="0" y="122"/>
                    <a:pt x="0" y="122"/>
                    <a:pt x="0" y="122"/>
                  </a:cubicBezTo>
                  <a:cubicBezTo>
                    <a:pt x="0" y="126"/>
                    <a:pt x="0" y="126"/>
                    <a:pt x="0" y="126"/>
                  </a:cubicBezTo>
                  <a:cubicBezTo>
                    <a:pt x="0" y="139"/>
                    <a:pt x="11" y="150"/>
                    <a:pt x="24" y="150"/>
                  </a:cubicBezTo>
                  <a:cubicBezTo>
                    <a:pt x="183" y="150"/>
                    <a:pt x="183" y="150"/>
                    <a:pt x="183" y="150"/>
                  </a:cubicBezTo>
                  <a:cubicBezTo>
                    <a:pt x="197" y="150"/>
                    <a:pt x="207" y="139"/>
                    <a:pt x="207" y="126"/>
                  </a:cubicBezTo>
                  <a:cubicBezTo>
                    <a:pt x="207" y="122"/>
                    <a:pt x="207" y="122"/>
                    <a:pt x="207" y="122"/>
                  </a:cubicBezTo>
                  <a:cubicBezTo>
                    <a:pt x="207" y="28"/>
                    <a:pt x="207" y="28"/>
                    <a:pt x="207" y="28"/>
                  </a:cubicBezTo>
                  <a:cubicBezTo>
                    <a:pt x="207" y="24"/>
                    <a:pt x="207" y="24"/>
                    <a:pt x="207" y="24"/>
                  </a:cubicBezTo>
                  <a:cubicBezTo>
                    <a:pt x="207" y="11"/>
                    <a:pt x="197" y="0"/>
                    <a:pt x="183" y="0"/>
                  </a:cubicBezTo>
                  <a:close/>
                  <a:moveTo>
                    <a:pt x="183" y="8"/>
                  </a:moveTo>
                  <a:cubicBezTo>
                    <a:pt x="185" y="8"/>
                    <a:pt x="186" y="8"/>
                    <a:pt x="187" y="8"/>
                  </a:cubicBezTo>
                  <a:cubicBezTo>
                    <a:pt x="187" y="8"/>
                    <a:pt x="187" y="9"/>
                    <a:pt x="188" y="9"/>
                  </a:cubicBezTo>
                  <a:cubicBezTo>
                    <a:pt x="188" y="9"/>
                    <a:pt x="189" y="9"/>
                    <a:pt x="190" y="9"/>
                  </a:cubicBezTo>
                  <a:cubicBezTo>
                    <a:pt x="190" y="9"/>
                    <a:pt x="190" y="10"/>
                    <a:pt x="191" y="10"/>
                  </a:cubicBezTo>
                  <a:cubicBezTo>
                    <a:pt x="191" y="10"/>
                    <a:pt x="192" y="10"/>
                    <a:pt x="192" y="11"/>
                  </a:cubicBezTo>
                  <a:cubicBezTo>
                    <a:pt x="193" y="11"/>
                    <a:pt x="193" y="11"/>
                    <a:pt x="193" y="12"/>
                  </a:cubicBezTo>
                  <a:cubicBezTo>
                    <a:pt x="194" y="12"/>
                    <a:pt x="194" y="12"/>
                    <a:pt x="195" y="13"/>
                  </a:cubicBezTo>
                  <a:cubicBezTo>
                    <a:pt x="195" y="13"/>
                    <a:pt x="195" y="13"/>
                    <a:pt x="195" y="14"/>
                  </a:cubicBezTo>
                  <a:cubicBezTo>
                    <a:pt x="196" y="14"/>
                    <a:pt x="196" y="15"/>
                    <a:pt x="197" y="15"/>
                  </a:cubicBezTo>
                  <a:cubicBezTo>
                    <a:pt x="197" y="15"/>
                    <a:pt x="197" y="16"/>
                    <a:pt x="197" y="16"/>
                  </a:cubicBezTo>
                  <a:cubicBezTo>
                    <a:pt x="198" y="17"/>
                    <a:pt x="198" y="17"/>
                    <a:pt x="198" y="18"/>
                  </a:cubicBezTo>
                  <a:cubicBezTo>
                    <a:pt x="198" y="18"/>
                    <a:pt x="198" y="19"/>
                    <a:pt x="199" y="19"/>
                  </a:cubicBezTo>
                  <a:cubicBezTo>
                    <a:pt x="199" y="20"/>
                    <a:pt x="199" y="20"/>
                    <a:pt x="199" y="21"/>
                  </a:cubicBezTo>
                  <a:cubicBezTo>
                    <a:pt x="199" y="21"/>
                    <a:pt x="199" y="22"/>
                    <a:pt x="199" y="22"/>
                  </a:cubicBezTo>
                  <a:cubicBezTo>
                    <a:pt x="199" y="23"/>
                    <a:pt x="199" y="23"/>
                    <a:pt x="199" y="24"/>
                  </a:cubicBezTo>
                  <a:cubicBezTo>
                    <a:pt x="124" y="70"/>
                    <a:pt x="124" y="70"/>
                    <a:pt x="124" y="70"/>
                  </a:cubicBezTo>
                  <a:cubicBezTo>
                    <a:pt x="124" y="70"/>
                    <a:pt x="124" y="70"/>
                    <a:pt x="124" y="70"/>
                  </a:cubicBezTo>
                  <a:cubicBezTo>
                    <a:pt x="104" y="82"/>
                    <a:pt x="104" y="82"/>
                    <a:pt x="104" y="82"/>
                  </a:cubicBezTo>
                  <a:cubicBezTo>
                    <a:pt x="84" y="70"/>
                    <a:pt x="84" y="70"/>
                    <a:pt x="84" y="70"/>
                  </a:cubicBezTo>
                  <a:cubicBezTo>
                    <a:pt x="84" y="70"/>
                    <a:pt x="84" y="70"/>
                    <a:pt x="84" y="70"/>
                  </a:cubicBezTo>
                  <a:cubicBezTo>
                    <a:pt x="8" y="24"/>
                    <a:pt x="8" y="24"/>
                    <a:pt x="8" y="24"/>
                  </a:cubicBezTo>
                  <a:cubicBezTo>
                    <a:pt x="8" y="23"/>
                    <a:pt x="9" y="23"/>
                    <a:pt x="9" y="22"/>
                  </a:cubicBezTo>
                  <a:cubicBezTo>
                    <a:pt x="9" y="22"/>
                    <a:pt x="9" y="21"/>
                    <a:pt x="9" y="21"/>
                  </a:cubicBezTo>
                  <a:cubicBezTo>
                    <a:pt x="9" y="20"/>
                    <a:pt x="9" y="20"/>
                    <a:pt x="9" y="19"/>
                  </a:cubicBezTo>
                  <a:cubicBezTo>
                    <a:pt x="9" y="19"/>
                    <a:pt x="9" y="18"/>
                    <a:pt x="10" y="18"/>
                  </a:cubicBezTo>
                  <a:cubicBezTo>
                    <a:pt x="10" y="17"/>
                    <a:pt x="10" y="17"/>
                    <a:pt x="10" y="16"/>
                  </a:cubicBezTo>
                  <a:cubicBezTo>
                    <a:pt x="11" y="16"/>
                    <a:pt x="11" y="15"/>
                    <a:pt x="11" y="15"/>
                  </a:cubicBezTo>
                  <a:cubicBezTo>
                    <a:pt x="11" y="15"/>
                    <a:pt x="12" y="14"/>
                    <a:pt x="12" y="14"/>
                  </a:cubicBezTo>
                  <a:cubicBezTo>
                    <a:pt x="12" y="13"/>
                    <a:pt x="13" y="13"/>
                    <a:pt x="13" y="13"/>
                  </a:cubicBezTo>
                  <a:cubicBezTo>
                    <a:pt x="13" y="12"/>
                    <a:pt x="14" y="12"/>
                    <a:pt x="14" y="12"/>
                  </a:cubicBezTo>
                  <a:cubicBezTo>
                    <a:pt x="15" y="11"/>
                    <a:pt x="15" y="11"/>
                    <a:pt x="15" y="11"/>
                  </a:cubicBezTo>
                  <a:cubicBezTo>
                    <a:pt x="16" y="10"/>
                    <a:pt x="16" y="10"/>
                    <a:pt x="17" y="10"/>
                  </a:cubicBezTo>
                  <a:cubicBezTo>
                    <a:pt x="17" y="10"/>
                    <a:pt x="18" y="10"/>
                    <a:pt x="18" y="9"/>
                  </a:cubicBezTo>
                  <a:cubicBezTo>
                    <a:pt x="19" y="9"/>
                    <a:pt x="19" y="9"/>
                    <a:pt x="20" y="9"/>
                  </a:cubicBezTo>
                  <a:cubicBezTo>
                    <a:pt x="20" y="9"/>
                    <a:pt x="21" y="8"/>
                    <a:pt x="21" y="8"/>
                  </a:cubicBezTo>
                  <a:cubicBezTo>
                    <a:pt x="22" y="8"/>
                    <a:pt x="23" y="8"/>
                    <a:pt x="24" y="8"/>
                  </a:cubicBezTo>
                  <a:lnTo>
                    <a:pt x="183" y="8"/>
                  </a:lnTo>
                  <a:close/>
                  <a:moveTo>
                    <a:pt x="8" y="33"/>
                  </a:moveTo>
                  <a:cubicBezTo>
                    <a:pt x="77" y="75"/>
                    <a:pt x="77" y="75"/>
                    <a:pt x="77" y="75"/>
                  </a:cubicBezTo>
                  <a:cubicBezTo>
                    <a:pt x="8" y="117"/>
                    <a:pt x="8" y="117"/>
                    <a:pt x="8" y="117"/>
                  </a:cubicBezTo>
                  <a:lnTo>
                    <a:pt x="8" y="33"/>
                  </a:lnTo>
                  <a:close/>
                  <a:moveTo>
                    <a:pt x="24" y="142"/>
                  </a:moveTo>
                  <a:cubicBezTo>
                    <a:pt x="23" y="142"/>
                    <a:pt x="22" y="142"/>
                    <a:pt x="21" y="142"/>
                  </a:cubicBezTo>
                  <a:cubicBezTo>
                    <a:pt x="21" y="142"/>
                    <a:pt x="20" y="141"/>
                    <a:pt x="20" y="141"/>
                  </a:cubicBezTo>
                  <a:cubicBezTo>
                    <a:pt x="19" y="141"/>
                    <a:pt x="19" y="141"/>
                    <a:pt x="18" y="141"/>
                  </a:cubicBezTo>
                  <a:cubicBezTo>
                    <a:pt x="18" y="141"/>
                    <a:pt x="17" y="140"/>
                    <a:pt x="16" y="140"/>
                  </a:cubicBezTo>
                  <a:cubicBezTo>
                    <a:pt x="16" y="140"/>
                    <a:pt x="16" y="140"/>
                    <a:pt x="15" y="139"/>
                  </a:cubicBezTo>
                  <a:cubicBezTo>
                    <a:pt x="15" y="139"/>
                    <a:pt x="14" y="139"/>
                    <a:pt x="14" y="138"/>
                  </a:cubicBezTo>
                  <a:cubicBezTo>
                    <a:pt x="14" y="138"/>
                    <a:pt x="13" y="138"/>
                    <a:pt x="13" y="137"/>
                  </a:cubicBezTo>
                  <a:cubicBezTo>
                    <a:pt x="13" y="137"/>
                    <a:pt x="12" y="136"/>
                    <a:pt x="12" y="136"/>
                  </a:cubicBezTo>
                  <a:cubicBezTo>
                    <a:pt x="12" y="136"/>
                    <a:pt x="11" y="135"/>
                    <a:pt x="11" y="135"/>
                  </a:cubicBezTo>
                  <a:cubicBezTo>
                    <a:pt x="11" y="135"/>
                    <a:pt x="11" y="134"/>
                    <a:pt x="10" y="133"/>
                  </a:cubicBezTo>
                  <a:cubicBezTo>
                    <a:pt x="10" y="133"/>
                    <a:pt x="10" y="133"/>
                    <a:pt x="10" y="132"/>
                  </a:cubicBezTo>
                  <a:cubicBezTo>
                    <a:pt x="9" y="132"/>
                    <a:pt x="9" y="131"/>
                    <a:pt x="9" y="131"/>
                  </a:cubicBezTo>
                  <a:cubicBezTo>
                    <a:pt x="9" y="130"/>
                    <a:pt x="9" y="130"/>
                    <a:pt x="9" y="129"/>
                  </a:cubicBezTo>
                  <a:cubicBezTo>
                    <a:pt x="9" y="129"/>
                    <a:pt x="9" y="128"/>
                    <a:pt x="9" y="128"/>
                  </a:cubicBezTo>
                  <a:cubicBezTo>
                    <a:pt x="9" y="127"/>
                    <a:pt x="8" y="127"/>
                    <a:pt x="8" y="126"/>
                  </a:cubicBezTo>
                  <a:cubicBezTo>
                    <a:pt x="84" y="80"/>
                    <a:pt x="84" y="80"/>
                    <a:pt x="84" y="80"/>
                  </a:cubicBezTo>
                  <a:cubicBezTo>
                    <a:pt x="104" y="92"/>
                    <a:pt x="104" y="92"/>
                    <a:pt x="104" y="92"/>
                  </a:cubicBezTo>
                  <a:cubicBezTo>
                    <a:pt x="124" y="80"/>
                    <a:pt x="124" y="80"/>
                    <a:pt x="124" y="80"/>
                  </a:cubicBezTo>
                  <a:cubicBezTo>
                    <a:pt x="199" y="126"/>
                    <a:pt x="199" y="126"/>
                    <a:pt x="199" y="126"/>
                  </a:cubicBezTo>
                  <a:cubicBezTo>
                    <a:pt x="199" y="127"/>
                    <a:pt x="199" y="127"/>
                    <a:pt x="199" y="128"/>
                  </a:cubicBezTo>
                  <a:cubicBezTo>
                    <a:pt x="199" y="128"/>
                    <a:pt x="199" y="129"/>
                    <a:pt x="199" y="129"/>
                  </a:cubicBezTo>
                  <a:cubicBezTo>
                    <a:pt x="199" y="130"/>
                    <a:pt x="199" y="130"/>
                    <a:pt x="199" y="131"/>
                  </a:cubicBezTo>
                  <a:cubicBezTo>
                    <a:pt x="198" y="131"/>
                    <a:pt x="198" y="132"/>
                    <a:pt x="198" y="132"/>
                  </a:cubicBezTo>
                  <a:cubicBezTo>
                    <a:pt x="198" y="133"/>
                    <a:pt x="198" y="133"/>
                    <a:pt x="197" y="133"/>
                  </a:cubicBezTo>
                  <a:cubicBezTo>
                    <a:pt x="197" y="134"/>
                    <a:pt x="197" y="135"/>
                    <a:pt x="197" y="135"/>
                  </a:cubicBezTo>
                  <a:cubicBezTo>
                    <a:pt x="196" y="135"/>
                    <a:pt x="196" y="136"/>
                    <a:pt x="196" y="136"/>
                  </a:cubicBezTo>
                  <a:cubicBezTo>
                    <a:pt x="196" y="136"/>
                    <a:pt x="195" y="137"/>
                    <a:pt x="195" y="137"/>
                  </a:cubicBezTo>
                  <a:cubicBezTo>
                    <a:pt x="194" y="138"/>
                    <a:pt x="194" y="138"/>
                    <a:pt x="194" y="138"/>
                  </a:cubicBezTo>
                  <a:cubicBezTo>
                    <a:pt x="193" y="139"/>
                    <a:pt x="193" y="139"/>
                    <a:pt x="192" y="139"/>
                  </a:cubicBezTo>
                  <a:cubicBezTo>
                    <a:pt x="192" y="140"/>
                    <a:pt x="192" y="140"/>
                    <a:pt x="191" y="140"/>
                  </a:cubicBezTo>
                  <a:cubicBezTo>
                    <a:pt x="191" y="140"/>
                    <a:pt x="190" y="141"/>
                    <a:pt x="190" y="141"/>
                  </a:cubicBezTo>
                  <a:cubicBezTo>
                    <a:pt x="189" y="141"/>
                    <a:pt x="189" y="141"/>
                    <a:pt x="188" y="141"/>
                  </a:cubicBezTo>
                  <a:cubicBezTo>
                    <a:pt x="188" y="141"/>
                    <a:pt x="187" y="142"/>
                    <a:pt x="187" y="142"/>
                  </a:cubicBezTo>
                  <a:cubicBezTo>
                    <a:pt x="186" y="142"/>
                    <a:pt x="185" y="142"/>
                    <a:pt x="183" y="142"/>
                  </a:cubicBezTo>
                  <a:lnTo>
                    <a:pt x="24" y="142"/>
                  </a:lnTo>
                  <a:close/>
                  <a:moveTo>
                    <a:pt x="199" y="117"/>
                  </a:moveTo>
                  <a:cubicBezTo>
                    <a:pt x="131" y="75"/>
                    <a:pt x="131" y="75"/>
                    <a:pt x="131" y="75"/>
                  </a:cubicBezTo>
                  <a:cubicBezTo>
                    <a:pt x="199" y="33"/>
                    <a:pt x="199" y="33"/>
                    <a:pt x="199" y="33"/>
                  </a:cubicBezTo>
                  <a:lnTo>
                    <a:pt x="199" y="11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grpSp>
        <p:nvGrpSpPr>
          <p:cNvPr id="13" name="组合 12">
            <a:extLst>
              <a:ext uri="{FF2B5EF4-FFF2-40B4-BE49-F238E27FC236}">
                <a16:creationId xmlns:a16="http://schemas.microsoft.com/office/drawing/2014/main" id="{30ED81B8-B120-4326-8B4A-6B7F03B491D9}"/>
              </a:ext>
            </a:extLst>
          </p:cNvPr>
          <p:cNvGrpSpPr>
            <a:grpSpLocks/>
          </p:cNvGrpSpPr>
          <p:nvPr/>
        </p:nvGrpSpPr>
        <p:grpSpPr bwMode="auto">
          <a:xfrm>
            <a:off x="9112250" y="3230563"/>
            <a:ext cx="1143000" cy="1143000"/>
            <a:chOff x="9111972" y="3523276"/>
            <a:chExt cx="1144022" cy="1144022"/>
          </a:xfrm>
        </p:grpSpPr>
        <p:sp>
          <p:nvSpPr>
            <p:cNvPr id="22" name="菱形 21">
              <a:extLst>
                <a:ext uri="{FF2B5EF4-FFF2-40B4-BE49-F238E27FC236}">
                  <a16:creationId xmlns:a16="http://schemas.microsoft.com/office/drawing/2014/main" id="{05430402-87FD-4DE8-8D6C-6B8CBE8CF8BC}"/>
                </a:ext>
              </a:extLst>
            </p:cNvPr>
            <p:cNvSpPr/>
            <p:nvPr/>
          </p:nvSpPr>
          <p:spPr>
            <a:xfrm>
              <a:off x="9111972" y="3523276"/>
              <a:ext cx="1144022" cy="1144022"/>
            </a:xfrm>
            <a:prstGeom prst="diamond">
              <a:avLst/>
            </a:prstGeom>
            <a:solidFill>
              <a:srgbClr val="C20F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19483" name="Freeform 24">
              <a:extLst>
                <a:ext uri="{FF2B5EF4-FFF2-40B4-BE49-F238E27FC236}">
                  <a16:creationId xmlns:a16="http://schemas.microsoft.com/office/drawing/2014/main" id="{F6DAE1E4-EBAA-4B74-9F0E-168080D35B10}"/>
                </a:ext>
              </a:extLst>
            </p:cNvPr>
            <p:cNvSpPr>
              <a:spLocks noEditPoints="1"/>
            </p:cNvSpPr>
            <p:nvPr/>
          </p:nvSpPr>
          <p:spPr bwMode="auto">
            <a:xfrm>
              <a:off x="9468208" y="3879512"/>
              <a:ext cx="431550" cy="431550"/>
            </a:xfrm>
            <a:custGeom>
              <a:avLst/>
              <a:gdLst>
                <a:gd name="T0" fmla="*/ 856372363 w 190"/>
                <a:gd name="T1" fmla="*/ 134130283 h 190"/>
                <a:gd name="T2" fmla="*/ 856372363 w 190"/>
                <a:gd name="T3" fmla="*/ 10318588 h 190"/>
                <a:gd name="T4" fmla="*/ 753195572 w 190"/>
                <a:gd name="T5" fmla="*/ 10318588 h 190"/>
                <a:gd name="T6" fmla="*/ 711925764 w 190"/>
                <a:gd name="T7" fmla="*/ 51588396 h 190"/>
                <a:gd name="T8" fmla="*/ 634542035 w 190"/>
                <a:gd name="T9" fmla="*/ 134130283 h 190"/>
                <a:gd name="T10" fmla="*/ 593269956 w 190"/>
                <a:gd name="T11" fmla="*/ 175402362 h 190"/>
                <a:gd name="T12" fmla="*/ 572635052 w 190"/>
                <a:gd name="T13" fmla="*/ 139290712 h 190"/>
                <a:gd name="T14" fmla="*/ 639700193 w 190"/>
                <a:gd name="T15" fmla="*/ 67065141 h 190"/>
                <a:gd name="T16" fmla="*/ 613907131 w 190"/>
                <a:gd name="T17" fmla="*/ 0 h 190"/>
                <a:gd name="T18" fmla="*/ 56746554 w 190"/>
                <a:gd name="T19" fmla="*/ 247625661 h 190"/>
                <a:gd name="T20" fmla="*/ 268260565 w 190"/>
                <a:gd name="T21" fmla="*/ 500411752 h 190"/>
                <a:gd name="T22" fmla="*/ 0 w 190"/>
                <a:gd name="T23" fmla="*/ 778990905 h 190"/>
                <a:gd name="T24" fmla="*/ 650018781 w 190"/>
                <a:gd name="T25" fmla="*/ 737718826 h 190"/>
                <a:gd name="T26" fmla="*/ 526204814 w 190"/>
                <a:gd name="T27" fmla="*/ 515888498 h 190"/>
                <a:gd name="T28" fmla="*/ 505569910 w 190"/>
                <a:gd name="T29" fmla="*/ 428186181 h 190"/>
                <a:gd name="T30" fmla="*/ 634542035 w 190"/>
                <a:gd name="T31" fmla="*/ 278579153 h 190"/>
                <a:gd name="T32" fmla="*/ 711925764 w 190"/>
                <a:gd name="T33" fmla="*/ 361121040 h 190"/>
                <a:gd name="T34" fmla="*/ 753195572 w 190"/>
                <a:gd name="T35" fmla="*/ 402393119 h 190"/>
                <a:gd name="T36" fmla="*/ 856372363 w 190"/>
                <a:gd name="T37" fmla="*/ 402393119 h 190"/>
                <a:gd name="T38" fmla="*/ 856372363 w 190"/>
                <a:gd name="T39" fmla="*/ 278579153 h 190"/>
                <a:gd name="T40" fmla="*/ 980186329 w 190"/>
                <a:gd name="T41" fmla="*/ 278579153 h 190"/>
                <a:gd name="T42" fmla="*/ 980186329 w 190"/>
                <a:gd name="T43" fmla="*/ 175402362 h 190"/>
                <a:gd name="T44" fmla="*/ 938914250 w 190"/>
                <a:gd name="T45" fmla="*/ 134130283 h 190"/>
                <a:gd name="T46" fmla="*/ 428186181 w 190"/>
                <a:gd name="T47" fmla="*/ 474616419 h 190"/>
                <a:gd name="T48" fmla="*/ 608746701 w 190"/>
                <a:gd name="T49" fmla="*/ 737718826 h 190"/>
                <a:gd name="T50" fmla="*/ 41272079 w 190"/>
                <a:gd name="T51" fmla="*/ 778990905 h 190"/>
                <a:gd name="T52" fmla="*/ 350802452 w 190"/>
                <a:gd name="T53" fmla="*/ 567476893 h 190"/>
                <a:gd name="T54" fmla="*/ 325009390 w 190"/>
                <a:gd name="T55" fmla="*/ 448821085 h 190"/>
                <a:gd name="T56" fmla="*/ 98018633 w 190"/>
                <a:gd name="T57" fmla="*/ 247625661 h 190"/>
                <a:gd name="T58" fmla="*/ 613907131 w 190"/>
                <a:gd name="T59" fmla="*/ 41272079 h 190"/>
                <a:gd name="T60" fmla="*/ 484935006 w 190"/>
                <a:gd name="T61" fmla="*/ 103176791 h 190"/>
                <a:gd name="T62" fmla="*/ 479774577 w 190"/>
                <a:gd name="T63" fmla="*/ 392074532 h 190"/>
                <a:gd name="T64" fmla="*/ 815102555 w 190"/>
                <a:gd name="T65" fmla="*/ 237309345 h 190"/>
                <a:gd name="T66" fmla="*/ 753195572 w 190"/>
                <a:gd name="T67" fmla="*/ 361121040 h 190"/>
                <a:gd name="T68" fmla="*/ 634542035 w 190"/>
                <a:gd name="T69" fmla="*/ 237309345 h 190"/>
                <a:gd name="T70" fmla="*/ 753195572 w 190"/>
                <a:gd name="T71" fmla="*/ 175402362 h 190"/>
                <a:gd name="T72" fmla="*/ 815102555 w 190"/>
                <a:gd name="T73" fmla="*/ 51588396 h 190"/>
                <a:gd name="T74" fmla="*/ 938914250 w 190"/>
                <a:gd name="T75" fmla="*/ 175402362 h 190"/>
                <a:gd name="T76" fmla="*/ 304374486 w 190"/>
                <a:gd name="T77" fmla="*/ 82541887 h 190"/>
                <a:gd name="T78" fmla="*/ 201195424 w 190"/>
                <a:gd name="T79" fmla="*/ 247625661 h 190"/>
                <a:gd name="T80" fmla="*/ 355962882 w 190"/>
                <a:gd name="T81" fmla="*/ 407551277 h 190"/>
                <a:gd name="T82" fmla="*/ 304374486 w 190"/>
                <a:gd name="T83" fmla="*/ 82541887 h 190"/>
                <a:gd name="T84" fmla="*/ 355962882 w 190"/>
                <a:gd name="T85" fmla="*/ 366279198 h 190"/>
                <a:gd name="T86" fmla="*/ 242467503 w 190"/>
                <a:gd name="T87" fmla="*/ 242467503 h 190"/>
                <a:gd name="T88" fmla="*/ 304374486 w 190"/>
                <a:gd name="T89" fmla="*/ 123813966 h 190"/>
                <a:gd name="T90" fmla="*/ 412709436 w 190"/>
                <a:gd name="T91" fmla="*/ 263102407 h 190"/>
                <a:gd name="T92" fmla="*/ 335327978 w 190"/>
                <a:gd name="T93" fmla="*/ 598430385 h 190"/>
                <a:gd name="T94" fmla="*/ 139290712 w 190"/>
                <a:gd name="T95" fmla="*/ 748037413 h 190"/>
                <a:gd name="T96" fmla="*/ 526204814 w 190"/>
                <a:gd name="T97" fmla="*/ 753195572 h 190"/>
                <a:gd name="T98" fmla="*/ 407551277 w 190"/>
                <a:gd name="T99" fmla="*/ 613907131 h 190"/>
                <a:gd name="T100" fmla="*/ 479774577 w 190"/>
                <a:gd name="T101" fmla="*/ 732560668 h 190"/>
                <a:gd name="T102" fmla="*/ 325009390 w 190"/>
                <a:gd name="T103" fmla="*/ 856372363 h 190"/>
                <a:gd name="T104" fmla="*/ 335327978 w 190"/>
                <a:gd name="T105" fmla="*/ 639700193 h 190"/>
                <a:gd name="T106" fmla="*/ 386916373 w 190"/>
                <a:gd name="T107" fmla="*/ 650018781 h 190"/>
                <a:gd name="T108" fmla="*/ 479774577 w 190"/>
                <a:gd name="T109" fmla="*/ 732560668 h 19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90" h="190">
                  <a:moveTo>
                    <a:pt x="182" y="26"/>
                  </a:moveTo>
                  <a:cubicBezTo>
                    <a:pt x="166" y="26"/>
                    <a:pt x="166" y="26"/>
                    <a:pt x="166" y="26"/>
                  </a:cubicBezTo>
                  <a:cubicBezTo>
                    <a:pt x="166" y="10"/>
                    <a:pt x="166" y="10"/>
                    <a:pt x="166" y="10"/>
                  </a:cubicBezTo>
                  <a:cubicBezTo>
                    <a:pt x="166" y="2"/>
                    <a:pt x="166" y="2"/>
                    <a:pt x="166" y="2"/>
                  </a:cubicBezTo>
                  <a:cubicBezTo>
                    <a:pt x="158" y="2"/>
                    <a:pt x="158" y="2"/>
                    <a:pt x="158" y="2"/>
                  </a:cubicBezTo>
                  <a:cubicBezTo>
                    <a:pt x="146" y="2"/>
                    <a:pt x="146" y="2"/>
                    <a:pt x="146" y="2"/>
                  </a:cubicBezTo>
                  <a:cubicBezTo>
                    <a:pt x="138" y="2"/>
                    <a:pt x="138" y="2"/>
                    <a:pt x="138" y="2"/>
                  </a:cubicBezTo>
                  <a:cubicBezTo>
                    <a:pt x="138" y="10"/>
                    <a:pt x="138" y="10"/>
                    <a:pt x="138" y="10"/>
                  </a:cubicBezTo>
                  <a:cubicBezTo>
                    <a:pt x="138" y="26"/>
                    <a:pt x="138" y="26"/>
                    <a:pt x="138" y="26"/>
                  </a:cubicBezTo>
                  <a:cubicBezTo>
                    <a:pt x="123" y="26"/>
                    <a:pt x="123" y="26"/>
                    <a:pt x="123" y="26"/>
                  </a:cubicBezTo>
                  <a:cubicBezTo>
                    <a:pt x="115" y="26"/>
                    <a:pt x="115" y="26"/>
                    <a:pt x="115" y="26"/>
                  </a:cubicBezTo>
                  <a:cubicBezTo>
                    <a:pt x="115" y="34"/>
                    <a:pt x="115" y="34"/>
                    <a:pt x="115" y="34"/>
                  </a:cubicBezTo>
                  <a:cubicBezTo>
                    <a:pt x="115" y="37"/>
                    <a:pt x="115" y="37"/>
                    <a:pt x="115" y="37"/>
                  </a:cubicBezTo>
                  <a:cubicBezTo>
                    <a:pt x="114" y="33"/>
                    <a:pt x="113" y="30"/>
                    <a:pt x="111" y="27"/>
                  </a:cubicBezTo>
                  <a:cubicBezTo>
                    <a:pt x="113" y="26"/>
                    <a:pt x="113" y="26"/>
                    <a:pt x="113" y="26"/>
                  </a:cubicBezTo>
                  <a:cubicBezTo>
                    <a:pt x="124" y="13"/>
                    <a:pt x="124" y="13"/>
                    <a:pt x="124" y="13"/>
                  </a:cubicBezTo>
                  <a:cubicBezTo>
                    <a:pt x="137" y="0"/>
                    <a:pt x="137" y="0"/>
                    <a:pt x="137" y="0"/>
                  </a:cubicBezTo>
                  <a:cubicBezTo>
                    <a:pt x="119" y="0"/>
                    <a:pt x="119" y="0"/>
                    <a:pt x="119" y="0"/>
                  </a:cubicBezTo>
                  <a:cubicBezTo>
                    <a:pt x="67" y="0"/>
                    <a:pt x="67" y="0"/>
                    <a:pt x="67" y="0"/>
                  </a:cubicBezTo>
                  <a:cubicBezTo>
                    <a:pt x="37" y="0"/>
                    <a:pt x="11" y="22"/>
                    <a:pt x="11" y="48"/>
                  </a:cubicBezTo>
                  <a:cubicBezTo>
                    <a:pt x="11" y="74"/>
                    <a:pt x="28" y="92"/>
                    <a:pt x="53" y="95"/>
                  </a:cubicBezTo>
                  <a:cubicBezTo>
                    <a:pt x="52" y="96"/>
                    <a:pt x="52" y="96"/>
                    <a:pt x="52" y="97"/>
                  </a:cubicBezTo>
                  <a:cubicBezTo>
                    <a:pt x="52" y="99"/>
                    <a:pt x="53" y="101"/>
                    <a:pt x="53" y="103"/>
                  </a:cubicBezTo>
                  <a:cubicBezTo>
                    <a:pt x="21" y="105"/>
                    <a:pt x="0" y="129"/>
                    <a:pt x="0" y="151"/>
                  </a:cubicBezTo>
                  <a:cubicBezTo>
                    <a:pt x="0" y="174"/>
                    <a:pt x="26" y="190"/>
                    <a:pt x="63" y="190"/>
                  </a:cubicBezTo>
                  <a:cubicBezTo>
                    <a:pt x="102" y="190"/>
                    <a:pt x="126" y="166"/>
                    <a:pt x="126" y="143"/>
                  </a:cubicBezTo>
                  <a:cubicBezTo>
                    <a:pt x="126" y="124"/>
                    <a:pt x="120" y="115"/>
                    <a:pt x="103" y="101"/>
                  </a:cubicBezTo>
                  <a:cubicBezTo>
                    <a:pt x="102" y="100"/>
                    <a:pt x="102" y="100"/>
                    <a:pt x="102" y="100"/>
                  </a:cubicBezTo>
                  <a:cubicBezTo>
                    <a:pt x="99" y="99"/>
                    <a:pt x="92" y="94"/>
                    <a:pt x="91" y="91"/>
                  </a:cubicBezTo>
                  <a:cubicBezTo>
                    <a:pt x="91" y="89"/>
                    <a:pt x="92" y="88"/>
                    <a:pt x="98" y="83"/>
                  </a:cubicBezTo>
                  <a:cubicBezTo>
                    <a:pt x="108" y="75"/>
                    <a:pt x="114" y="65"/>
                    <a:pt x="116" y="54"/>
                  </a:cubicBezTo>
                  <a:cubicBezTo>
                    <a:pt x="123" y="54"/>
                    <a:pt x="123" y="54"/>
                    <a:pt x="123" y="54"/>
                  </a:cubicBezTo>
                  <a:cubicBezTo>
                    <a:pt x="138" y="54"/>
                    <a:pt x="138" y="54"/>
                    <a:pt x="138" y="54"/>
                  </a:cubicBezTo>
                  <a:cubicBezTo>
                    <a:pt x="138" y="70"/>
                    <a:pt x="138" y="70"/>
                    <a:pt x="138" y="70"/>
                  </a:cubicBezTo>
                  <a:cubicBezTo>
                    <a:pt x="138" y="78"/>
                    <a:pt x="138" y="78"/>
                    <a:pt x="138" y="78"/>
                  </a:cubicBezTo>
                  <a:cubicBezTo>
                    <a:pt x="146" y="78"/>
                    <a:pt x="146" y="78"/>
                    <a:pt x="146" y="78"/>
                  </a:cubicBezTo>
                  <a:cubicBezTo>
                    <a:pt x="158" y="78"/>
                    <a:pt x="158" y="78"/>
                    <a:pt x="158" y="78"/>
                  </a:cubicBezTo>
                  <a:cubicBezTo>
                    <a:pt x="166" y="78"/>
                    <a:pt x="166" y="78"/>
                    <a:pt x="166" y="78"/>
                  </a:cubicBezTo>
                  <a:cubicBezTo>
                    <a:pt x="166" y="70"/>
                    <a:pt x="166" y="70"/>
                    <a:pt x="166" y="70"/>
                  </a:cubicBezTo>
                  <a:cubicBezTo>
                    <a:pt x="166" y="54"/>
                    <a:pt x="166" y="54"/>
                    <a:pt x="166" y="54"/>
                  </a:cubicBezTo>
                  <a:cubicBezTo>
                    <a:pt x="182" y="54"/>
                    <a:pt x="182" y="54"/>
                    <a:pt x="182" y="54"/>
                  </a:cubicBezTo>
                  <a:cubicBezTo>
                    <a:pt x="190" y="54"/>
                    <a:pt x="190" y="54"/>
                    <a:pt x="190" y="54"/>
                  </a:cubicBezTo>
                  <a:cubicBezTo>
                    <a:pt x="190" y="46"/>
                    <a:pt x="190" y="46"/>
                    <a:pt x="190" y="46"/>
                  </a:cubicBezTo>
                  <a:cubicBezTo>
                    <a:pt x="190" y="34"/>
                    <a:pt x="190" y="34"/>
                    <a:pt x="190" y="34"/>
                  </a:cubicBezTo>
                  <a:cubicBezTo>
                    <a:pt x="190" y="26"/>
                    <a:pt x="190" y="26"/>
                    <a:pt x="190" y="26"/>
                  </a:cubicBezTo>
                  <a:lnTo>
                    <a:pt x="182" y="26"/>
                  </a:lnTo>
                  <a:close/>
                  <a:moveTo>
                    <a:pt x="93" y="76"/>
                  </a:moveTo>
                  <a:cubicBezTo>
                    <a:pt x="84" y="83"/>
                    <a:pt x="83" y="86"/>
                    <a:pt x="83" y="92"/>
                  </a:cubicBezTo>
                  <a:cubicBezTo>
                    <a:pt x="83" y="97"/>
                    <a:pt x="93" y="104"/>
                    <a:pt x="98" y="108"/>
                  </a:cubicBezTo>
                  <a:cubicBezTo>
                    <a:pt x="114" y="120"/>
                    <a:pt x="118" y="128"/>
                    <a:pt x="118" y="143"/>
                  </a:cubicBezTo>
                  <a:cubicBezTo>
                    <a:pt x="118" y="163"/>
                    <a:pt x="97" y="182"/>
                    <a:pt x="63" y="182"/>
                  </a:cubicBezTo>
                  <a:cubicBezTo>
                    <a:pt x="33" y="182"/>
                    <a:pt x="8" y="170"/>
                    <a:pt x="8" y="151"/>
                  </a:cubicBezTo>
                  <a:cubicBezTo>
                    <a:pt x="8" y="131"/>
                    <a:pt x="29" y="110"/>
                    <a:pt x="59" y="110"/>
                  </a:cubicBezTo>
                  <a:cubicBezTo>
                    <a:pt x="62" y="110"/>
                    <a:pt x="65" y="110"/>
                    <a:pt x="68" y="110"/>
                  </a:cubicBezTo>
                  <a:cubicBezTo>
                    <a:pt x="64" y="106"/>
                    <a:pt x="60" y="103"/>
                    <a:pt x="60" y="97"/>
                  </a:cubicBezTo>
                  <a:cubicBezTo>
                    <a:pt x="60" y="93"/>
                    <a:pt x="62" y="90"/>
                    <a:pt x="63" y="87"/>
                  </a:cubicBezTo>
                  <a:cubicBezTo>
                    <a:pt x="62" y="87"/>
                    <a:pt x="60" y="87"/>
                    <a:pt x="58" y="87"/>
                  </a:cubicBezTo>
                  <a:cubicBezTo>
                    <a:pt x="34" y="87"/>
                    <a:pt x="19" y="70"/>
                    <a:pt x="19" y="48"/>
                  </a:cubicBezTo>
                  <a:cubicBezTo>
                    <a:pt x="19" y="27"/>
                    <a:pt x="41" y="8"/>
                    <a:pt x="67" y="8"/>
                  </a:cubicBezTo>
                  <a:cubicBezTo>
                    <a:pt x="81" y="8"/>
                    <a:pt x="119" y="8"/>
                    <a:pt x="119" y="8"/>
                  </a:cubicBezTo>
                  <a:cubicBezTo>
                    <a:pt x="107" y="20"/>
                    <a:pt x="107" y="20"/>
                    <a:pt x="107" y="20"/>
                  </a:cubicBezTo>
                  <a:cubicBezTo>
                    <a:pt x="94" y="20"/>
                    <a:pt x="94" y="20"/>
                    <a:pt x="94" y="20"/>
                  </a:cubicBezTo>
                  <a:cubicBezTo>
                    <a:pt x="103" y="25"/>
                    <a:pt x="108" y="37"/>
                    <a:pt x="108" y="49"/>
                  </a:cubicBezTo>
                  <a:cubicBezTo>
                    <a:pt x="108" y="60"/>
                    <a:pt x="102" y="70"/>
                    <a:pt x="93" y="76"/>
                  </a:cubicBezTo>
                  <a:close/>
                  <a:moveTo>
                    <a:pt x="182" y="46"/>
                  </a:moveTo>
                  <a:cubicBezTo>
                    <a:pt x="158" y="46"/>
                    <a:pt x="158" y="46"/>
                    <a:pt x="158" y="46"/>
                  </a:cubicBezTo>
                  <a:cubicBezTo>
                    <a:pt x="158" y="70"/>
                    <a:pt x="158" y="70"/>
                    <a:pt x="158" y="70"/>
                  </a:cubicBezTo>
                  <a:cubicBezTo>
                    <a:pt x="146" y="70"/>
                    <a:pt x="146" y="70"/>
                    <a:pt x="146" y="70"/>
                  </a:cubicBezTo>
                  <a:cubicBezTo>
                    <a:pt x="146" y="46"/>
                    <a:pt x="146" y="46"/>
                    <a:pt x="146" y="46"/>
                  </a:cubicBezTo>
                  <a:cubicBezTo>
                    <a:pt x="123" y="46"/>
                    <a:pt x="123" y="46"/>
                    <a:pt x="123" y="46"/>
                  </a:cubicBezTo>
                  <a:cubicBezTo>
                    <a:pt x="123" y="34"/>
                    <a:pt x="123" y="34"/>
                    <a:pt x="123" y="34"/>
                  </a:cubicBezTo>
                  <a:cubicBezTo>
                    <a:pt x="146" y="34"/>
                    <a:pt x="146" y="34"/>
                    <a:pt x="146" y="34"/>
                  </a:cubicBezTo>
                  <a:cubicBezTo>
                    <a:pt x="146" y="10"/>
                    <a:pt x="146" y="10"/>
                    <a:pt x="146" y="10"/>
                  </a:cubicBezTo>
                  <a:cubicBezTo>
                    <a:pt x="158" y="10"/>
                    <a:pt x="158" y="10"/>
                    <a:pt x="158" y="10"/>
                  </a:cubicBezTo>
                  <a:cubicBezTo>
                    <a:pt x="158" y="34"/>
                    <a:pt x="158" y="34"/>
                    <a:pt x="158" y="34"/>
                  </a:cubicBezTo>
                  <a:cubicBezTo>
                    <a:pt x="182" y="34"/>
                    <a:pt x="182" y="34"/>
                    <a:pt x="182" y="34"/>
                  </a:cubicBezTo>
                  <a:lnTo>
                    <a:pt x="182" y="46"/>
                  </a:lnTo>
                  <a:close/>
                  <a:moveTo>
                    <a:pt x="59" y="16"/>
                  </a:moveTo>
                  <a:cubicBezTo>
                    <a:pt x="59" y="16"/>
                    <a:pt x="59" y="16"/>
                    <a:pt x="59" y="16"/>
                  </a:cubicBezTo>
                  <a:cubicBezTo>
                    <a:pt x="45" y="16"/>
                    <a:pt x="36" y="30"/>
                    <a:pt x="39" y="48"/>
                  </a:cubicBezTo>
                  <a:cubicBezTo>
                    <a:pt x="41" y="66"/>
                    <a:pt x="54" y="79"/>
                    <a:pt x="68" y="79"/>
                  </a:cubicBezTo>
                  <a:cubicBezTo>
                    <a:pt x="68" y="79"/>
                    <a:pt x="69" y="79"/>
                    <a:pt x="69" y="79"/>
                  </a:cubicBezTo>
                  <a:cubicBezTo>
                    <a:pt x="82" y="79"/>
                    <a:pt x="90" y="68"/>
                    <a:pt x="88" y="50"/>
                  </a:cubicBezTo>
                  <a:cubicBezTo>
                    <a:pt x="85" y="32"/>
                    <a:pt x="73" y="17"/>
                    <a:pt x="59" y="16"/>
                  </a:cubicBezTo>
                  <a:close/>
                  <a:moveTo>
                    <a:pt x="76" y="68"/>
                  </a:moveTo>
                  <a:cubicBezTo>
                    <a:pt x="75" y="70"/>
                    <a:pt x="72" y="71"/>
                    <a:pt x="69" y="71"/>
                  </a:cubicBezTo>
                  <a:cubicBezTo>
                    <a:pt x="68" y="71"/>
                    <a:pt x="68" y="71"/>
                    <a:pt x="68" y="71"/>
                  </a:cubicBezTo>
                  <a:cubicBezTo>
                    <a:pt x="58" y="71"/>
                    <a:pt x="48" y="60"/>
                    <a:pt x="47" y="47"/>
                  </a:cubicBezTo>
                  <a:cubicBezTo>
                    <a:pt x="46" y="39"/>
                    <a:pt x="47" y="32"/>
                    <a:pt x="51" y="28"/>
                  </a:cubicBezTo>
                  <a:cubicBezTo>
                    <a:pt x="53" y="26"/>
                    <a:pt x="56" y="24"/>
                    <a:pt x="59" y="24"/>
                  </a:cubicBezTo>
                  <a:cubicBezTo>
                    <a:pt x="59" y="24"/>
                    <a:pt x="59" y="24"/>
                    <a:pt x="59" y="24"/>
                  </a:cubicBezTo>
                  <a:cubicBezTo>
                    <a:pt x="69" y="25"/>
                    <a:pt x="78" y="36"/>
                    <a:pt x="80" y="51"/>
                  </a:cubicBezTo>
                  <a:cubicBezTo>
                    <a:pt x="81" y="58"/>
                    <a:pt x="79" y="65"/>
                    <a:pt x="76" y="68"/>
                  </a:cubicBezTo>
                  <a:close/>
                  <a:moveTo>
                    <a:pt x="65" y="116"/>
                  </a:moveTo>
                  <a:cubicBezTo>
                    <a:pt x="65" y="116"/>
                    <a:pt x="65" y="116"/>
                    <a:pt x="65" y="116"/>
                  </a:cubicBezTo>
                  <a:cubicBezTo>
                    <a:pt x="44" y="116"/>
                    <a:pt x="27" y="130"/>
                    <a:pt x="27" y="145"/>
                  </a:cubicBezTo>
                  <a:cubicBezTo>
                    <a:pt x="27" y="161"/>
                    <a:pt x="42" y="174"/>
                    <a:pt x="63" y="174"/>
                  </a:cubicBezTo>
                  <a:cubicBezTo>
                    <a:pt x="92" y="174"/>
                    <a:pt x="102" y="161"/>
                    <a:pt x="102" y="146"/>
                  </a:cubicBezTo>
                  <a:cubicBezTo>
                    <a:pt x="102" y="144"/>
                    <a:pt x="102" y="142"/>
                    <a:pt x="101" y="140"/>
                  </a:cubicBezTo>
                  <a:cubicBezTo>
                    <a:pt x="99" y="131"/>
                    <a:pt x="90" y="126"/>
                    <a:pt x="79" y="119"/>
                  </a:cubicBezTo>
                  <a:cubicBezTo>
                    <a:pt x="75" y="117"/>
                    <a:pt x="70" y="116"/>
                    <a:pt x="65" y="116"/>
                  </a:cubicBezTo>
                  <a:close/>
                  <a:moveTo>
                    <a:pt x="93" y="142"/>
                  </a:moveTo>
                  <a:cubicBezTo>
                    <a:pt x="94" y="143"/>
                    <a:pt x="94" y="144"/>
                    <a:pt x="94" y="146"/>
                  </a:cubicBezTo>
                  <a:cubicBezTo>
                    <a:pt x="94" y="151"/>
                    <a:pt x="94" y="166"/>
                    <a:pt x="63" y="166"/>
                  </a:cubicBezTo>
                  <a:cubicBezTo>
                    <a:pt x="47" y="166"/>
                    <a:pt x="35" y="156"/>
                    <a:pt x="35" y="145"/>
                  </a:cubicBezTo>
                  <a:cubicBezTo>
                    <a:pt x="35" y="134"/>
                    <a:pt x="49" y="124"/>
                    <a:pt x="65" y="124"/>
                  </a:cubicBezTo>
                  <a:cubicBezTo>
                    <a:pt x="65" y="124"/>
                    <a:pt x="65" y="124"/>
                    <a:pt x="65" y="124"/>
                  </a:cubicBezTo>
                  <a:cubicBezTo>
                    <a:pt x="69" y="124"/>
                    <a:pt x="72" y="125"/>
                    <a:pt x="75" y="126"/>
                  </a:cubicBezTo>
                  <a:cubicBezTo>
                    <a:pt x="76" y="127"/>
                    <a:pt x="78" y="128"/>
                    <a:pt x="79" y="128"/>
                  </a:cubicBezTo>
                  <a:cubicBezTo>
                    <a:pt x="87" y="134"/>
                    <a:pt x="92" y="138"/>
                    <a:pt x="93" y="14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grpSp>
        <p:nvGrpSpPr>
          <p:cNvPr id="11" name="组合 10">
            <a:extLst>
              <a:ext uri="{FF2B5EF4-FFF2-40B4-BE49-F238E27FC236}">
                <a16:creationId xmlns:a16="http://schemas.microsoft.com/office/drawing/2014/main" id="{6F024F02-306B-45C8-B50D-4B836A2667D5}"/>
              </a:ext>
            </a:extLst>
          </p:cNvPr>
          <p:cNvGrpSpPr>
            <a:grpSpLocks/>
          </p:cNvGrpSpPr>
          <p:nvPr/>
        </p:nvGrpSpPr>
        <p:grpSpPr bwMode="auto">
          <a:xfrm>
            <a:off x="7294563" y="3230563"/>
            <a:ext cx="1144587" cy="1143000"/>
            <a:chOff x="7294974" y="3523276"/>
            <a:chExt cx="1144022" cy="1144022"/>
          </a:xfrm>
        </p:grpSpPr>
        <p:sp>
          <p:nvSpPr>
            <p:cNvPr id="21" name="菱形 20">
              <a:extLst>
                <a:ext uri="{FF2B5EF4-FFF2-40B4-BE49-F238E27FC236}">
                  <a16:creationId xmlns:a16="http://schemas.microsoft.com/office/drawing/2014/main" id="{7BEAC2EF-8418-4BB5-A6A9-7D1FE43CD434}"/>
                </a:ext>
              </a:extLst>
            </p:cNvPr>
            <p:cNvSpPr/>
            <p:nvPr/>
          </p:nvSpPr>
          <p:spPr>
            <a:xfrm>
              <a:off x="7294974" y="3523276"/>
              <a:ext cx="1144022" cy="1144022"/>
            </a:xfrm>
            <a:prstGeom prst="diamond">
              <a:avLst/>
            </a:prstGeom>
            <a:solidFill>
              <a:srgbClr val="29292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19481" name="Freeform 61">
              <a:extLst>
                <a:ext uri="{FF2B5EF4-FFF2-40B4-BE49-F238E27FC236}">
                  <a16:creationId xmlns:a16="http://schemas.microsoft.com/office/drawing/2014/main" id="{82CD4F25-3D82-45A1-990A-D8E952F7AB36}"/>
                </a:ext>
              </a:extLst>
            </p:cNvPr>
            <p:cNvSpPr>
              <a:spLocks noEditPoints="1"/>
            </p:cNvSpPr>
            <p:nvPr/>
          </p:nvSpPr>
          <p:spPr bwMode="auto">
            <a:xfrm>
              <a:off x="7662769" y="3891071"/>
              <a:ext cx="408432" cy="408432"/>
            </a:xfrm>
            <a:custGeom>
              <a:avLst/>
              <a:gdLst>
                <a:gd name="T0" fmla="*/ 239491747 w 179"/>
                <a:gd name="T1" fmla="*/ 926759437 h 180"/>
                <a:gd name="T2" fmla="*/ 15618531 w 179"/>
                <a:gd name="T3" fmla="*/ 926759437 h 180"/>
                <a:gd name="T4" fmla="*/ 15618531 w 179"/>
                <a:gd name="T5" fmla="*/ 293474275 h 180"/>
                <a:gd name="T6" fmla="*/ 239491747 w 179"/>
                <a:gd name="T7" fmla="*/ 293474275 h 180"/>
                <a:gd name="T8" fmla="*/ 239491747 w 179"/>
                <a:gd name="T9" fmla="*/ 926759437 h 180"/>
                <a:gd name="T10" fmla="*/ 57269468 w 179"/>
                <a:gd name="T11" fmla="*/ 885569070 h 180"/>
                <a:gd name="T12" fmla="*/ 197840810 w 179"/>
                <a:gd name="T13" fmla="*/ 885569070 h 180"/>
                <a:gd name="T14" fmla="*/ 197840810 w 179"/>
                <a:gd name="T15" fmla="*/ 334662374 h 180"/>
                <a:gd name="T16" fmla="*/ 57269468 w 179"/>
                <a:gd name="T17" fmla="*/ 334662374 h 180"/>
                <a:gd name="T18" fmla="*/ 57269468 w 179"/>
                <a:gd name="T19" fmla="*/ 885569070 h 180"/>
                <a:gd name="T20" fmla="*/ 124952811 w 179"/>
                <a:gd name="T21" fmla="*/ 257432421 h 180"/>
                <a:gd name="T22" fmla="*/ 0 w 179"/>
                <a:gd name="T23" fmla="*/ 128717345 h 180"/>
                <a:gd name="T24" fmla="*/ 124952811 w 179"/>
                <a:gd name="T25" fmla="*/ 0 h 180"/>
                <a:gd name="T26" fmla="*/ 255110278 w 179"/>
                <a:gd name="T27" fmla="*/ 128717345 h 180"/>
                <a:gd name="T28" fmla="*/ 124952811 w 179"/>
                <a:gd name="T29" fmla="*/ 257432421 h 180"/>
                <a:gd name="T30" fmla="*/ 124952811 w 179"/>
                <a:gd name="T31" fmla="*/ 41190367 h 180"/>
                <a:gd name="T32" fmla="*/ 41650937 w 179"/>
                <a:gd name="T33" fmla="*/ 128717345 h 180"/>
                <a:gd name="T34" fmla="*/ 124952811 w 179"/>
                <a:gd name="T35" fmla="*/ 216244322 h 180"/>
                <a:gd name="T36" fmla="*/ 213459341 w 179"/>
                <a:gd name="T37" fmla="*/ 128717345 h 180"/>
                <a:gd name="T38" fmla="*/ 124952811 w 179"/>
                <a:gd name="T39" fmla="*/ 41190367 h 180"/>
                <a:gd name="T40" fmla="*/ 931936864 w 179"/>
                <a:gd name="T41" fmla="*/ 926759437 h 180"/>
                <a:gd name="T42" fmla="*/ 708063648 w 179"/>
                <a:gd name="T43" fmla="*/ 926759437 h 180"/>
                <a:gd name="T44" fmla="*/ 708063648 w 179"/>
                <a:gd name="T45" fmla="*/ 617839625 h 180"/>
                <a:gd name="T46" fmla="*/ 629968711 w 179"/>
                <a:gd name="T47" fmla="*/ 483973767 h 180"/>
                <a:gd name="T48" fmla="*/ 541459900 w 179"/>
                <a:gd name="T49" fmla="*/ 612691112 h 180"/>
                <a:gd name="T50" fmla="*/ 541459900 w 179"/>
                <a:gd name="T51" fmla="*/ 926759437 h 180"/>
                <a:gd name="T52" fmla="*/ 317586684 w 179"/>
                <a:gd name="T53" fmla="*/ 926759437 h 180"/>
                <a:gd name="T54" fmla="*/ 317586684 w 179"/>
                <a:gd name="T55" fmla="*/ 293474275 h 180"/>
                <a:gd name="T56" fmla="*/ 536255244 w 179"/>
                <a:gd name="T57" fmla="*/ 293474275 h 180"/>
                <a:gd name="T58" fmla="*/ 536255244 w 179"/>
                <a:gd name="T59" fmla="*/ 339810886 h 180"/>
                <a:gd name="T60" fmla="*/ 692445117 w 179"/>
                <a:gd name="T61" fmla="*/ 278028739 h 180"/>
                <a:gd name="T62" fmla="*/ 931936864 w 179"/>
                <a:gd name="T63" fmla="*/ 581800039 h 180"/>
                <a:gd name="T64" fmla="*/ 931936864 w 179"/>
                <a:gd name="T65" fmla="*/ 926759437 h 180"/>
                <a:gd name="T66" fmla="*/ 749714585 w 179"/>
                <a:gd name="T67" fmla="*/ 885569070 h 180"/>
                <a:gd name="T68" fmla="*/ 890285927 w 179"/>
                <a:gd name="T69" fmla="*/ 885569070 h 180"/>
                <a:gd name="T70" fmla="*/ 890285927 w 179"/>
                <a:gd name="T71" fmla="*/ 581800039 h 180"/>
                <a:gd name="T72" fmla="*/ 692445117 w 179"/>
                <a:gd name="T73" fmla="*/ 319216837 h 180"/>
                <a:gd name="T74" fmla="*/ 536255244 w 179"/>
                <a:gd name="T75" fmla="*/ 406743814 h 180"/>
                <a:gd name="T76" fmla="*/ 531048306 w 179"/>
                <a:gd name="T77" fmla="*/ 417040839 h 180"/>
                <a:gd name="T78" fmla="*/ 494604307 w 179"/>
                <a:gd name="T79" fmla="*/ 417040839 h 180"/>
                <a:gd name="T80" fmla="*/ 494604307 w 179"/>
                <a:gd name="T81" fmla="*/ 334662374 h 180"/>
                <a:gd name="T82" fmla="*/ 359237621 w 179"/>
                <a:gd name="T83" fmla="*/ 334662374 h 180"/>
                <a:gd name="T84" fmla="*/ 359237621 w 179"/>
                <a:gd name="T85" fmla="*/ 885569070 h 180"/>
                <a:gd name="T86" fmla="*/ 499808963 w 179"/>
                <a:gd name="T87" fmla="*/ 885569070 h 180"/>
                <a:gd name="T88" fmla="*/ 499808963 w 179"/>
                <a:gd name="T89" fmla="*/ 612691112 h 180"/>
                <a:gd name="T90" fmla="*/ 629968711 w 179"/>
                <a:gd name="T91" fmla="*/ 442785669 h 180"/>
                <a:gd name="T92" fmla="*/ 749714585 w 179"/>
                <a:gd name="T93" fmla="*/ 617839625 h 180"/>
                <a:gd name="T94" fmla="*/ 749714585 w 179"/>
                <a:gd name="T95" fmla="*/ 885569070 h 18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79" h="180">
                  <a:moveTo>
                    <a:pt x="46" y="180"/>
                  </a:moveTo>
                  <a:cubicBezTo>
                    <a:pt x="3" y="180"/>
                    <a:pt x="3" y="180"/>
                    <a:pt x="3" y="180"/>
                  </a:cubicBezTo>
                  <a:cubicBezTo>
                    <a:pt x="3" y="57"/>
                    <a:pt x="3" y="57"/>
                    <a:pt x="3" y="57"/>
                  </a:cubicBezTo>
                  <a:cubicBezTo>
                    <a:pt x="46" y="57"/>
                    <a:pt x="46" y="57"/>
                    <a:pt x="46" y="57"/>
                  </a:cubicBezTo>
                  <a:lnTo>
                    <a:pt x="46" y="180"/>
                  </a:lnTo>
                  <a:close/>
                  <a:moveTo>
                    <a:pt x="11" y="172"/>
                  </a:moveTo>
                  <a:cubicBezTo>
                    <a:pt x="38" y="172"/>
                    <a:pt x="38" y="172"/>
                    <a:pt x="38" y="172"/>
                  </a:cubicBezTo>
                  <a:cubicBezTo>
                    <a:pt x="38" y="65"/>
                    <a:pt x="38" y="65"/>
                    <a:pt x="38" y="65"/>
                  </a:cubicBezTo>
                  <a:cubicBezTo>
                    <a:pt x="11" y="65"/>
                    <a:pt x="11" y="65"/>
                    <a:pt x="11" y="65"/>
                  </a:cubicBezTo>
                  <a:lnTo>
                    <a:pt x="11" y="172"/>
                  </a:lnTo>
                  <a:close/>
                  <a:moveTo>
                    <a:pt x="24" y="50"/>
                  </a:moveTo>
                  <a:cubicBezTo>
                    <a:pt x="11" y="50"/>
                    <a:pt x="0" y="39"/>
                    <a:pt x="0" y="25"/>
                  </a:cubicBezTo>
                  <a:cubicBezTo>
                    <a:pt x="0" y="11"/>
                    <a:pt x="11" y="0"/>
                    <a:pt x="24" y="0"/>
                  </a:cubicBezTo>
                  <a:cubicBezTo>
                    <a:pt x="38" y="0"/>
                    <a:pt x="49" y="11"/>
                    <a:pt x="49" y="25"/>
                  </a:cubicBezTo>
                  <a:cubicBezTo>
                    <a:pt x="49" y="39"/>
                    <a:pt x="38" y="50"/>
                    <a:pt x="24" y="50"/>
                  </a:cubicBezTo>
                  <a:close/>
                  <a:moveTo>
                    <a:pt x="24" y="8"/>
                  </a:moveTo>
                  <a:cubicBezTo>
                    <a:pt x="15" y="8"/>
                    <a:pt x="8" y="16"/>
                    <a:pt x="8" y="25"/>
                  </a:cubicBezTo>
                  <a:cubicBezTo>
                    <a:pt x="8" y="34"/>
                    <a:pt x="15" y="42"/>
                    <a:pt x="24" y="42"/>
                  </a:cubicBezTo>
                  <a:cubicBezTo>
                    <a:pt x="34" y="42"/>
                    <a:pt x="41" y="34"/>
                    <a:pt x="41" y="25"/>
                  </a:cubicBezTo>
                  <a:cubicBezTo>
                    <a:pt x="41" y="16"/>
                    <a:pt x="34" y="8"/>
                    <a:pt x="24" y="8"/>
                  </a:cubicBezTo>
                  <a:close/>
                  <a:moveTo>
                    <a:pt x="179" y="180"/>
                  </a:moveTo>
                  <a:cubicBezTo>
                    <a:pt x="136" y="180"/>
                    <a:pt x="136" y="180"/>
                    <a:pt x="136" y="180"/>
                  </a:cubicBezTo>
                  <a:cubicBezTo>
                    <a:pt x="136" y="120"/>
                    <a:pt x="136" y="120"/>
                    <a:pt x="136" y="120"/>
                  </a:cubicBezTo>
                  <a:cubicBezTo>
                    <a:pt x="136" y="102"/>
                    <a:pt x="134" y="94"/>
                    <a:pt x="121" y="94"/>
                  </a:cubicBezTo>
                  <a:cubicBezTo>
                    <a:pt x="109" y="94"/>
                    <a:pt x="104" y="101"/>
                    <a:pt x="104" y="119"/>
                  </a:cubicBezTo>
                  <a:cubicBezTo>
                    <a:pt x="104" y="180"/>
                    <a:pt x="104" y="180"/>
                    <a:pt x="104" y="180"/>
                  </a:cubicBezTo>
                  <a:cubicBezTo>
                    <a:pt x="61" y="180"/>
                    <a:pt x="61" y="180"/>
                    <a:pt x="61" y="180"/>
                  </a:cubicBezTo>
                  <a:cubicBezTo>
                    <a:pt x="61" y="57"/>
                    <a:pt x="61" y="57"/>
                    <a:pt x="61" y="57"/>
                  </a:cubicBezTo>
                  <a:cubicBezTo>
                    <a:pt x="103" y="57"/>
                    <a:pt x="103" y="57"/>
                    <a:pt x="103" y="57"/>
                  </a:cubicBezTo>
                  <a:cubicBezTo>
                    <a:pt x="103" y="66"/>
                    <a:pt x="103" y="66"/>
                    <a:pt x="103" y="66"/>
                  </a:cubicBezTo>
                  <a:cubicBezTo>
                    <a:pt x="109" y="60"/>
                    <a:pt x="120" y="54"/>
                    <a:pt x="133" y="54"/>
                  </a:cubicBezTo>
                  <a:cubicBezTo>
                    <a:pt x="174" y="54"/>
                    <a:pt x="179" y="84"/>
                    <a:pt x="179" y="113"/>
                  </a:cubicBezTo>
                  <a:lnTo>
                    <a:pt x="179" y="180"/>
                  </a:lnTo>
                  <a:close/>
                  <a:moveTo>
                    <a:pt x="144" y="172"/>
                  </a:moveTo>
                  <a:cubicBezTo>
                    <a:pt x="171" y="172"/>
                    <a:pt x="171" y="172"/>
                    <a:pt x="171" y="172"/>
                  </a:cubicBezTo>
                  <a:cubicBezTo>
                    <a:pt x="171" y="113"/>
                    <a:pt x="171" y="113"/>
                    <a:pt x="171" y="113"/>
                  </a:cubicBezTo>
                  <a:cubicBezTo>
                    <a:pt x="171" y="82"/>
                    <a:pt x="165" y="62"/>
                    <a:pt x="133" y="62"/>
                  </a:cubicBezTo>
                  <a:cubicBezTo>
                    <a:pt x="117" y="62"/>
                    <a:pt x="107" y="71"/>
                    <a:pt x="103" y="79"/>
                  </a:cubicBezTo>
                  <a:cubicBezTo>
                    <a:pt x="102" y="81"/>
                    <a:pt x="102" y="81"/>
                    <a:pt x="102" y="81"/>
                  </a:cubicBezTo>
                  <a:cubicBezTo>
                    <a:pt x="95" y="81"/>
                    <a:pt x="95" y="81"/>
                    <a:pt x="95" y="81"/>
                  </a:cubicBezTo>
                  <a:cubicBezTo>
                    <a:pt x="95" y="65"/>
                    <a:pt x="95" y="65"/>
                    <a:pt x="95" y="65"/>
                  </a:cubicBezTo>
                  <a:cubicBezTo>
                    <a:pt x="69" y="65"/>
                    <a:pt x="69" y="65"/>
                    <a:pt x="69" y="65"/>
                  </a:cubicBezTo>
                  <a:cubicBezTo>
                    <a:pt x="69" y="172"/>
                    <a:pt x="69" y="172"/>
                    <a:pt x="69" y="172"/>
                  </a:cubicBezTo>
                  <a:cubicBezTo>
                    <a:pt x="96" y="172"/>
                    <a:pt x="96" y="172"/>
                    <a:pt x="96" y="172"/>
                  </a:cubicBezTo>
                  <a:cubicBezTo>
                    <a:pt x="96" y="119"/>
                    <a:pt x="96" y="119"/>
                    <a:pt x="96" y="119"/>
                  </a:cubicBezTo>
                  <a:cubicBezTo>
                    <a:pt x="96" y="110"/>
                    <a:pt x="96" y="86"/>
                    <a:pt x="121" y="86"/>
                  </a:cubicBezTo>
                  <a:cubicBezTo>
                    <a:pt x="144" y="86"/>
                    <a:pt x="144" y="108"/>
                    <a:pt x="144" y="120"/>
                  </a:cubicBezTo>
                  <a:lnTo>
                    <a:pt x="144" y="17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grpSp>
        <p:nvGrpSpPr>
          <p:cNvPr id="10" name="组合 9">
            <a:extLst>
              <a:ext uri="{FF2B5EF4-FFF2-40B4-BE49-F238E27FC236}">
                <a16:creationId xmlns:a16="http://schemas.microsoft.com/office/drawing/2014/main" id="{F06C53DC-B195-4C9A-8E03-5F9846267563}"/>
              </a:ext>
            </a:extLst>
          </p:cNvPr>
          <p:cNvGrpSpPr>
            <a:grpSpLocks/>
          </p:cNvGrpSpPr>
          <p:nvPr/>
        </p:nvGrpSpPr>
        <p:grpSpPr bwMode="auto">
          <a:xfrm>
            <a:off x="5478463" y="3230563"/>
            <a:ext cx="1143000" cy="1143000"/>
            <a:chOff x="5477977" y="3523276"/>
            <a:chExt cx="1144022" cy="1144022"/>
          </a:xfrm>
        </p:grpSpPr>
        <p:sp>
          <p:nvSpPr>
            <p:cNvPr id="20" name="菱形 19">
              <a:extLst>
                <a:ext uri="{FF2B5EF4-FFF2-40B4-BE49-F238E27FC236}">
                  <a16:creationId xmlns:a16="http://schemas.microsoft.com/office/drawing/2014/main" id="{4AF997A1-B660-4232-8E4E-8A1BC6B60151}"/>
                </a:ext>
              </a:extLst>
            </p:cNvPr>
            <p:cNvSpPr/>
            <p:nvPr/>
          </p:nvSpPr>
          <p:spPr>
            <a:xfrm>
              <a:off x="5477977" y="3523276"/>
              <a:ext cx="1144022" cy="1144022"/>
            </a:xfrm>
            <a:prstGeom prst="diamond">
              <a:avLst/>
            </a:prstGeom>
            <a:solidFill>
              <a:srgbClr val="C20F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19479" name="Freeform 72">
              <a:extLst>
                <a:ext uri="{FF2B5EF4-FFF2-40B4-BE49-F238E27FC236}">
                  <a16:creationId xmlns:a16="http://schemas.microsoft.com/office/drawing/2014/main" id="{91159432-48D9-409C-9CB1-2CF9A046E05A}"/>
                </a:ext>
              </a:extLst>
            </p:cNvPr>
            <p:cNvSpPr>
              <a:spLocks noEditPoints="1"/>
            </p:cNvSpPr>
            <p:nvPr/>
          </p:nvSpPr>
          <p:spPr bwMode="auto">
            <a:xfrm>
              <a:off x="5945953" y="3891071"/>
              <a:ext cx="208070" cy="408433"/>
            </a:xfrm>
            <a:custGeom>
              <a:avLst/>
              <a:gdLst>
                <a:gd name="T0" fmla="*/ 313680387 w 91"/>
                <a:gd name="T1" fmla="*/ 926763975 h 180"/>
                <a:gd name="T2" fmla="*/ 109787793 w 91"/>
                <a:gd name="T3" fmla="*/ 926763975 h 180"/>
                <a:gd name="T4" fmla="*/ 109787793 w 91"/>
                <a:gd name="T5" fmla="*/ 509719846 h 180"/>
                <a:gd name="T6" fmla="*/ 0 w 91"/>
                <a:gd name="T7" fmla="*/ 509719846 h 180"/>
                <a:gd name="T8" fmla="*/ 0 w 91"/>
                <a:gd name="T9" fmla="*/ 319217618 h 180"/>
                <a:gd name="T10" fmla="*/ 109787793 w 91"/>
                <a:gd name="T11" fmla="*/ 319217618 h 180"/>
                <a:gd name="T12" fmla="*/ 109787793 w 91"/>
                <a:gd name="T13" fmla="*/ 216244852 h 180"/>
                <a:gd name="T14" fmla="*/ 345048655 w 91"/>
                <a:gd name="T15" fmla="*/ 0 h 180"/>
                <a:gd name="T16" fmla="*/ 454836447 w 91"/>
                <a:gd name="T17" fmla="*/ 5148525 h 180"/>
                <a:gd name="T18" fmla="*/ 475748625 w 91"/>
                <a:gd name="T19" fmla="*/ 10297050 h 180"/>
                <a:gd name="T20" fmla="*/ 470521724 w 91"/>
                <a:gd name="T21" fmla="*/ 185353703 h 180"/>
                <a:gd name="T22" fmla="*/ 449609546 w 91"/>
                <a:gd name="T23" fmla="*/ 185353703 h 180"/>
                <a:gd name="T24" fmla="*/ 355504744 w 91"/>
                <a:gd name="T25" fmla="*/ 185353703 h 180"/>
                <a:gd name="T26" fmla="*/ 313680387 w 91"/>
                <a:gd name="T27" fmla="*/ 231690426 h 180"/>
                <a:gd name="T28" fmla="*/ 313680387 w 91"/>
                <a:gd name="T29" fmla="*/ 319217618 h 180"/>
                <a:gd name="T30" fmla="*/ 475748625 w 91"/>
                <a:gd name="T31" fmla="*/ 319217618 h 180"/>
                <a:gd name="T32" fmla="*/ 465292536 w 91"/>
                <a:gd name="T33" fmla="*/ 509719846 h 180"/>
                <a:gd name="T34" fmla="*/ 313680387 w 91"/>
                <a:gd name="T35" fmla="*/ 509719846 h 180"/>
                <a:gd name="T36" fmla="*/ 313680387 w 91"/>
                <a:gd name="T37" fmla="*/ 926763975 h 180"/>
                <a:gd name="T38" fmla="*/ 151612149 w 91"/>
                <a:gd name="T39" fmla="*/ 885573507 h 180"/>
                <a:gd name="T40" fmla="*/ 271856031 w 91"/>
                <a:gd name="T41" fmla="*/ 885573507 h 180"/>
                <a:gd name="T42" fmla="*/ 271856031 w 91"/>
                <a:gd name="T43" fmla="*/ 468531647 h 180"/>
                <a:gd name="T44" fmla="*/ 428697367 w 91"/>
                <a:gd name="T45" fmla="*/ 468531647 h 180"/>
                <a:gd name="T46" fmla="*/ 433924269 w 91"/>
                <a:gd name="T47" fmla="*/ 360408086 h 180"/>
                <a:gd name="T48" fmla="*/ 271856031 w 91"/>
                <a:gd name="T49" fmla="*/ 360408086 h 180"/>
                <a:gd name="T50" fmla="*/ 271856031 w 91"/>
                <a:gd name="T51" fmla="*/ 231690426 h 180"/>
                <a:gd name="T52" fmla="*/ 355504744 w 91"/>
                <a:gd name="T53" fmla="*/ 144163235 h 180"/>
                <a:gd name="T54" fmla="*/ 428697367 w 91"/>
                <a:gd name="T55" fmla="*/ 144163235 h 180"/>
                <a:gd name="T56" fmla="*/ 433924269 w 91"/>
                <a:gd name="T57" fmla="*/ 46338993 h 180"/>
                <a:gd name="T58" fmla="*/ 345048655 w 91"/>
                <a:gd name="T59" fmla="*/ 41190468 h 180"/>
                <a:gd name="T60" fmla="*/ 151612149 w 91"/>
                <a:gd name="T61" fmla="*/ 216244852 h 180"/>
                <a:gd name="T62" fmla="*/ 151612149 w 91"/>
                <a:gd name="T63" fmla="*/ 360408086 h 180"/>
                <a:gd name="T64" fmla="*/ 41824356 w 91"/>
                <a:gd name="T65" fmla="*/ 360408086 h 180"/>
                <a:gd name="T66" fmla="*/ 41824356 w 91"/>
                <a:gd name="T67" fmla="*/ 468531647 h 180"/>
                <a:gd name="T68" fmla="*/ 151612149 w 91"/>
                <a:gd name="T69" fmla="*/ 468531647 h 180"/>
                <a:gd name="T70" fmla="*/ 151612149 w 91"/>
                <a:gd name="T71" fmla="*/ 885573507 h 18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1" h="180">
                  <a:moveTo>
                    <a:pt x="60" y="180"/>
                  </a:moveTo>
                  <a:cubicBezTo>
                    <a:pt x="21" y="180"/>
                    <a:pt x="21" y="180"/>
                    <a:pt x="21" y="180"/>
                  </a:cubicBezTo>
                  <a:cubicBezTo>
                    <a:pt x="21" y="99"/>
                    <a:pt x="21" y="99"/>
                    <a:pt x="21" y="99"/>
                  </a:cubicBezTo>
                  <a:cubicBezTo>
                    <a:pt x="0" y="99"/>
                    <a:pt x="0" y="99"/>
                    <a:pt x="0" y="99"/>
                  </a:cubicBezTo>
                  <a:cubicBezTo>
                    <a:pt x="0" y="62"/>
                    <a:pt x="0" y="62"/>
                    <a:pt x="0" y="62"/>
                  </a:cubicBezTo>
                  <a:cubicBezTo>
                    <a:pt x="21" y="62"/>
                    <a:pt x="21" y="62"/>
                    <a:pt x="21" y="62"/>
                  </a:cubicBezTo>
                  <a:cubicBezTo>
                    <a:pt x="21" y="42"/>
                    <a:pt x="21" y="42"/>
                    <a:pt x="21" y="42"/>
                  </a:cubicBezTo>
                  <a:cubicBezTo>
                    <a:pt x="21" y="22"/>
                    <a:pt x="33" y="0"/>
                    <a:pt x="66" y="0"/>
                  </a:cubicBezTo>
                  <a:cubicBezTo>
                    <a:pt x="78" y="0"/>
                    <a:pt x="87" y="1"/>
                    <a:pt x="87" y="1"/>
                  </a:cubicBezTo>
                  <a:cubicBezTo>
                    <a:pt x="91" y="2"/>
                    <a:pt x="91" y="2"/>
                    <a:pt x="91" y="2"/>
                  </a:cubicBezTo>
                  <a:cubicBezTo>
                    <a:pt x="90" y="36"/>
                    <a:pt x="90" y="36"/>
                    <a:pt x="90" y="36"/>
                  </a:cubicBezTo>
                  <a:cubicBezTo>
                    <a:pt x="86" y="36"/>
                    <a:pt x="86" y="36"/>
                    <a:pt x="86" y="36"/>
                  </a:cubicBezTo>
                  <a:cubicBezTo>
                    <a:pt x="86" y="36"/>
                    <a:pt x="77" y="36"/>
                    <a:pt x="68" y="36"/>
                  </a:cubicBezTo>
                  <a:cubicBezTo>
                    <a:pt x="60" y="36"/>
                    <a:pt x="60" y="38"/>
                    <a:pt x="60" y="45"/>
                  </a:cubicBezTo>
                  <a:cubicBezTo>
                    <a:pt x="60" y="62"/>
                    <a:pt x="60" y="62"/>
                    <a:pt x="60" y="62"/>
                  </a:cubicBezTo>
                  <a:cubicBezTo>
                    <a:pt x="91" y="62"/>
                    <a:pt x="91" y="62"/>
                    <a:pt x="91" y="62"/>
                  </a:cubicBezTo>
                  <a:cubicBezTo>
                    <a:pt x="89" y="99"/>
                    <a:pt x="89" y="99"/>
                    <a:pt x="89" y="99"/>
                  </a:cubicBezTo>
                  <a:cubicBezTo>
                    <a:pt x="60" y="99"/>
                    <a:pt x="60" y="99"/>
                    <a:pt x="60" y="99"/>
                  </a:cubicBezTo>
                  <a:lnTo>
                    <a:pt x="60" y="180"/>
                  </a:lnTo>
                  <a:close/>
                  <a:moveTo>
                    <a:pt x="29" y="172"/>
                  </a:moveTo>
                  <a:cubicBezTo>
                    <a:pt x="52" y="172"/>
                    <a:pt x="52" y="172"/>
                    <a:pt x="52" y="172"/>
                  </a:cubicBezTo>
                  <a:cubicBezTo>
                    <a:pt x="52" y="91"/>
                    <a:pt x="52" y="91"/>
                    <a:pt x="52" y="91"/>
                  </a:cubicBezTo>
                  <a:cubicBezTo>
                    <a:pt x="82" y="91"/>
                    <a:pt x="82" y="91"/>
                    <a:pt x="82" y="91"/>
                  </a:cubicBezTo>
                  <a:cubicBezTo>
                    <a:pt x="83" y="70"/>
                    <a:pt x="83" y="70"/>
                    <a:pt x="83" y="70"/>
                  </a:cubicBezTo>
                  <a:cubicBezTo>
                    <a:pt x="52" y="70"/>
                    <a:pt x="52" y="70"/>
                    <a:pt x="52" y="70"/>
                  </a:cubicBezTo>
                  <a:cubicBezTo>
                    <a:pt x="52" y="45"/>
                    <a:pt x="52" y="45"/>
                    <a:pt x="52" y="45"/>
                  </a:cubicBezTo>
                  <a:cubicBezTo>
                    <a:pt x="52" y="37"/>
                    <a:pt x="53" y="28"/>
                    <a:pt x="68" y="28"/>
                  </a:cubicBezTo>
                  <a:cubicBezTo>
                    <a:pt x="73" y="28"/>
                    <a:pt x="79" y="28"/>
                    <a:pt x="82" y="28"/>
                  </a:cubicBezTo>
                  <a:cubicBezTo>
                    <a:pt x="83" y="9"/>
                    <a:pt x="83" y="9"/>
                    <a:pt x="83" y="9"/>
                  </a:cubicBezTo>
                  <a:cubicBezTo>
                    <a:pt x="79" y="9"/>
                    <a:pt x="73" y="8"/>
                    <a:pt x="66" y="8"/>
                  </a:cubicBezTo>
                  <a:cubicBezTo>
                    <a:pt x="39" y="8"/>
                    <a:pt x="29" y="25"/>
                    <a:pt x="29" y="42"/>
                  </a:cubicBezTo>
                  <a:cubicBezTo>
                    <a:pt x="29" y="70"/>
                    <a:pt x="29" y="70"/>
                    <a:pt x="29" y="70"/>
                  </a:cubicBezTo>
                  <a:cubicBezTo>
                    <a:pt x="8" y="70"/>
                    <a:pt x="8" y="70"/>
                    <a:pt x="8" y="70"/>
                  </a:cubicBezTo>
                  <a:cubicBezTo>
                    <a:pt x="8" y="91"/>
                    <a:pt x="8" y="91"/>
                    <a:pt x="8" y="91"/>
                  </a:cubicBezTo>
                  <a:cubicBezTo>
                    <a:pt x="29" y="91"/>
                    <a:pt x="29" y="91"/>
                    <a:pt x="29" y="91"/>
                  </a:cubicBezTo>
                  <a:lnTo>
                    <a:pt x="29" y="17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grpSp>
        <p:nvGrpSpPr>
          <p:cNvPr id="9" name="组合 8">
            <a:extLst>
              <a:ext uri="{FF2B5EF4-FFF2-40B4-BE49-F238E27FC236}">
                <a16:creationId xmlns:a16="http://schemas.microsoft.com/office/drawing/2014/main" id="{72C9D8F4-8D90-48CF-8598-F0FB409E1DC0}"/>
              </a:ext>
            </a:extLst>
          </p:cNvPr>
          <p:cNvGrpSpPr>
            <a:grpSpLocks/>
          </p:cNvGrpSpPr>
          <p:nvPr/>
        </p:nvGrpSpPr>
        <p:grpSpPr bwMode="auto">
          <a:xfrm>
            <a:off x="3660775" y="3230563"/>
            <a:ext cx="1144588" cy="1143000"/>
            <a:chOff x="3660980" y="3523276"/>
            <a:chExt cx="1144022" cy="1144022"/>
          </a:xfrm>
        </p:grpSpPr>
        <p:sp>
          <p:nvSpPr>
            <p:cNvPr id="19" name="菱形 18">
              <a:extLst>
                <a:ext uri="{FF2B5EF4-FFF2-40B4-BE49-F238E27FC236}">
                  <a16:creationId xmlns:a16="http://schemas.microsoft.com/office/drawing/2014/main" id="{457B9737-378C-4345-8A8E-776A4805A858}"/>
                </a:ext>
              </a:extLst>
            </p:cNvPr>
            <p:cNvSpPr/>
            <p:nvPr/>
          </p:nvSpPr>
          <p:spPr>
            <a:xfrm>
              <a:off x="3660980" y="3523276"/>
              <a:ext cx="1144022" cy="1144022"/>
            </a:xfrm>
            <a:prstGeom prst="diamond">
              <a:avLst/>
            </a:prstGeom>
            <a:solidFill>
              <a:srgbClr val="29292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19477" name="Freeform 83">
              <a:extLst>
                <a:ext uri="{FF2B5EF4-FFF2-40B4-BE49-F238E27FC236}">
                  <a16:creationId xmlns:a16="http://schemas.microsoft.com/office/drawing/2014/main" id="{EAB4F792-F4D1-4030-8962-0FD8276AB4F1}"/>
                </a:ext>
              </a:extLst>
            </p:cNvPr>
            <p:cNvSpPr>
              <a:spLocks noEditPoints="1"/>
            </p:cNvSpPr>
            <p:nvPr/>
          </p:nvSpPr>
          <p:spPr bwMode="auto">
            <a:xfrm>
              <a:off x="3992813" y="3906484"/>
              <a:ext cx="480357" cy="377607"/>
            </a:xfrm>
            <a:custGeom>
              <a:avLst/>
              <a:gdLst>
                <a:gd name="T0" fmla="*/ 66742433 w 212"/>
                <a:gd name="T1" fmla="*/ 776166639 h 166"/>
                <a:gd name="T2" fmla="*/ 77011197 w 212"/>
                <a:gd name="T3" fmla="*/ 734770903 h 166"/>
                <a:gd name="T4" fmla="*/ 308040255 w 212"/>
                <a:gd name="T5" fmla="*/ 677852335 h 166"/>
                <a:gd name="T6" fmla="*/ 138619248 w 212"/>
                <a:gd name="T7" fmla="*/ 491571522 h 166"/>
                <a:gd name="T8" fmla="*/ 82143313 w 212"/>
                <a:gd name="T9" fmla="*/ 325990853 h 166"/>
                <a:gd name="T10" fmla="*/ 107815222 w 212"/>
                <a:gd name="T11" fmla="*/ 305292985 h 166"/>
                <a:gd name="T12" fmla="*/ 112947338 w 212"/>
                <a:gd name="T13" fmla="*/ 56918568 h 166"/>
                <a:gd name="T14" fmla="*/ 148885746 w 212"/>
                <a:gd name="T15" fmla="*/ 51743533 h 166"/>
                <a:gd name="T16" fmla="*/ 523668434 w 212"/>
                <a:gd name="T17" fmla="*/ 238024345 h 166"/>
                <a:gd name="T18" fmla="*/ 903585505 w 212"/>
                <a:gd name="T19" fmla="*/ 77616436 h 166"/>
                <a:gd name="T20" fmla="*/ 1062740014 w 212"/>
                <a:gd name="T21" fmla="*/ 0 h 166"/>
                <a:gd name="T22" fmla="*/ 1001131963 w 212"/>
                <a:gd name="T23" fmla="*/ 124187208 h 166"/>
                <a:gd name="T24" fmla="*/ 1088409658 w 212"/>
                <a:gd name="T25" fmla="*/ 82791472 h 166"/>
                <a:gd name="T26" fmla="*/ 970327938 w 212"/>
                <a:gd name="T27" fmla="*/ 238024345 h 166"/>
                <a:gd name="T28" fmla="*/ 374782688 w 212"/>
                <a:gd name="T29" fmla="*/ 858958111 h 166"/>
                <a:gd name="T30" fmla="*/ 154020128 w 212"/>
                <a:gd name="T31" fmla="*/ 776166639 h 166"/>
                <a:gd name="T32" fmla="*/ 369648307 w 212"/>
                <a:gd name="T33" fmla="*/ 817562375 h 166"/>
                <a:gd name="T34" fmla="*/ 929255148 w 212"/>
                <a:gd name="T35" fmla="*/ 232849309 h 166"/>
                <a:gd name="T36" fmla="*/ 939523912 w 212"/>
                <a:gd name="T37" fmla="*/ 212151441 h 166"/>
                <a:gd name="T38" fmla="*/ 934389530 w 212"/>
                <a:gd name="T39" fmla="*/ 181105777 h 166"/>
                <a:gd name="T40" fmla="*/ 908719886 w 212"/>
                <a:gd name="T41" fmla="*/ 150057837 h 166"/>
                <a:gd name="T42" fmla="*/ 975462319 w 212"/>
                <a:gd name="T43" fmla="*/ 93139269 h 166"/>
                <a:gd name="T44" fmla="*/ 888182359 w 212"/>
                <a:gd name="T45" fmla="*/ 119012172 h 166"/>
                <a:gd name="T46" fmla="*/ 744430995 w 212"/>
                <a:gd name="T47" fmla="*/ 51743533 h 166"/>
                <a:gd name="T48" fmla="*/ 564741224 w 212"/>
                <a:gd name="T49" fmla="*/ 274245045 h 166"/>
                <a:gd name="T50" fmla="*/ 544205962 w 212"/>
                <a:gd name="T51" fmla="*/ 300117949 h 166"/>
                <a:gd name="T52" fmla="*/ 195092917 w 212"/>
                <a:gd name="T53" fmla="*/ 325990853 h 166"/>
                <a:gd name="T54" fmla="*/ 184824153 w 212"/>
                <a:gd name="T55" fmla="*/ 362211553 h 166"/>
                <a:gd name="T56" fmla="*/ 272101848 w 212"/>
                <a:gd name="T57" fmla="*/ 501921594 h 166"/>
                <a:gd name="T58" fmla="*/ 277236230 w 212"/>
                <a:gd name="T59" fmla="*/ 543317330 h 166"/>
                <a:gd name="T60" fmla="*/ 205359415 w 212"/>
                <a:gd name="T61" fmla="*/ 548492365 h 166"/>
                <a:gd name="T62" fmla="*/ 420987594 w 212"/>
                <a:gd name="T63" fmla="*/ 646806670 h 166"/>
                <a:gd name="T64" fmla="*/ 154020128 w 212"/>
                <a:gd name="T65" fmla="*/ 776166639 h 16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12" h="166">
                  <a:moveTo>
                    <a:pt x="72" y="166"/>
                  </a:moveTo>
                  <a:cubicBezTo>
                    <a:pt x="51" y="166"/>
                    <a:pt x="31" y="161"/>
                    <a:pt x="13" y="150"/>
                  </a:cubicBezTo>
                  <a:cubicBezTo>
                    <a:pt x="0" y="142"/>
                    <a:pt x="0" y="142"/>
                    <a:pt x="0" y="142"/>
                  </a:cubicBezTo>
                  <a:cubicBezTo>
                    <a:pt x="15" y="142"/>
                    <a:pt x="15" y="142"/>
                    <a:pt x="15" y="142"/>
                  </a:cubicBezTo>
                  <a:cubicBezTo>
                    <a:pt x="15" y="142"/>
                    <a:pt x="16" y="143"/>
                    <a:pt x="17" y="143"/>
                  </a:cubicBezTo>
                  <a:cubicBezTo>
                    <a:pt x="23" y="143"/>
                    <a:pt x="41" y="142"/>
                    <a:pt x="60" y="131"/>
                  </a:cubicBezTo>
                  <a:cubicBezTo>
                    <a:pt x="46" y="127"/>
                    <a:pt x="34" y="116"/>
                    <a:pt x="30" y="102"/>
                  </a:cubicBezTo>
                  <a:cubicBezTo>
                    <a:pt x="27" y="95"/>
                    <a:pt x="27" y="95"/>
                    <a:pt x="27" y="95"/>
                  </a:cubicBezTo>
                  <a:cubicBezTo>
                    <a:pt x="34" y="97"/>
                    <a:pt x="34" y="97"/>
                    <a:pt x="34" y="97"/>
                  </a:cubicBezTo>
                  <a:cubicBezTo>
                    <a:pt x="23" y="89"/>
                    <a:pt x="17" y="77"/>
                    <a:pt x="16" y="63"/>
                  </a:cubicBezTo>
                  <a:cubicBezTo>
                    <a:pt x="16" y="57"/>
                    <a:pt x="16" y="57"/>
                    <a:pt x="16" y="57"/>
                  </a:cubicBezTo>
                  <a:cubicBezTo>
                    <a:pt x="21" y="59"/>
                    <a:pt x="21" y="59"/>
                    <a:pt x="21" y="59"/>
                  </a:cubicBezTo>
                  <a:cubicBezTo>
                    <a:pt x="23" y="60"/>
                    <a:pt x="24" y="60"/>
                    <a:pt x="25" y="60"/>
                  </a:cubicBezTo>
                  <a:cubicBezTo>
                    <a:pt x="16" y="49"/>
                    <a:pt x="11" y="30"/>
                    <a:pt x="22" y="11"/>
                  </a:cubicBezTo>
                  <a:cubicBezTo>
                    <a:pt x="25" y="6"/>
                    <a:pt x="25" y="6"/>
                    <a:pt x="25" y="6"/>
                  </a:cubicBezTo>
                  <a:cubicBezTo>
                    <a:pt x="29" y="10"/>
                    <a:pt x="29" y="10"/>
                    <a:pt x="29" y="10"/>
                  </a:cubicBezTo>
                  <a:cubicBezTo>
                    <a:pt x="46" y="34"/>
                    <a:pt x="73" y="48"/>
                    <a:pt x="102" y="50"/>
                  </a:cubicBezTo>
                  <a:cubicBezTo>
                    <a:pt x="102" y="48"/>
                    <a:pt x="102" y="46"/>
                    <a:pt x="102" y="46"/>
                  </a:cubicBezTo>
                  <a:cubicBezTo>
                    <a:pt x="102" y="24"/>
                    <a:pt x="118" y="2"/>
                    <a:pt x="145" y="2"/>
                  </a:cubicBezTo>
                  <a:cubicBezTo>
                    <a:pt x="157" y="2"/>
                    <a:pt x="168" y="7"/>
                    <a:pt x="176" y="15"/>
                  </a:cubicBezTo>
                  <a:cubicBezTo>
                    <a:pt x="187" y="12"/>
                    <a:pt x="197" y="6"/>
                    <a:pt x="197" y="6"/>
                  </a:cubicBezTo>
                  <a:cubicBezTo>
                    <a:pt x="207" y="0"/>
                    <a:pt x="207" y="0"/>
                    <a:pt x="207" y="0"/>
                  </a:cubicBezTo>
                  <a:cubicBezTo>
                    <a:pt x="203" y="10"/>
                    <a:pt x="203" y="10"/>
                    <a:pt x="203" y="10"/>
                  </a:cubicBezTo>
                  <a:cubicBezTo>
                    <a:pt x="201" y="15"/>
                    <a:pt x="199" y="20"/>
                    <a:pt x="195" y="24"/>
                  </a:cubicBezTo>
                  <a:cubicBezTo>
                    <a:pt x="197" y="23"/>
                    <a:pt x="199" y="23"/>
                    <a:pt x="201" y="22"/>
                  </a:cubicBezTo>
                  <a:cubicBezTo>
                    <a:pt x="212" y="16"/>
                    <a:pt x="212" y="16"/>
                    <a:pt x="212" y="16"/>
                  </a:cubicBezTo>
                  <a:cubicBezTo>
                    <a:pt x="208" y="27"/>
                    <a:pt x="208" y="27"/>
                    <a:pt x="208" y="27"/>
                  </a:cubicBezTo>
                  <a:cubicBezTo>
                    <a:pt x="204" y="35"/>
                    <a:pt x="197" y="42"/>
                    <a:pt x="189" y="46"/>
                  </a:cubicBezTo>
                  <a:cubicBezTo>
                    <a:pt x="191" y="74"/>
                    <a:pt x="179" y="106"/>
                    <a:pt x="158" y="129"/>
                  </a:cubicBezTo>
                  <a:cubicBezTo>
                    <a:pt x="143" y="146"/>
                    <a:pt x="116" y="166"/>
                    <a:pt x="73" y="166"/>
                  </a:cubicBezTo>
                  <a:lnTo>
                    <a:pt x="72" y="166"/>
                  </a:lnTo>
                  <a:close/>
                  <a:moveTo>
                    <a:pt x="30" y="150"/>
                  </a:moveTo>
                  <a:cubicBezTo>
                    <a:pt x="43" y="155"/>
                    <a:pt x="57" y="158"/>
                    <a:pt x="72" y="158"/>
                  </a:cubicBezTo>
                  <a:cubicBezTo>
                    <a:pt x="72" y="158"/>
                    <a:pt x="72" y="158"/>
                    <a:pt x="72" y="158"/>
                  </a:cubicBezTo>
                  <a:cubicBezTo>
                    <a:pt x="113" y="158"/>
                    <a:pt x="138" y="139"/>
                    <a:pt x="152" y="123"/>
                  </a:cubicBezTo>
                  <a:cubicBezTo>
                    <a:pt x="172" y="101"/>
                    <a:pt x="183" y="71"/>
                    <a:pt x="181" y="45"/>
                  </a:cubicBezTo>
                  <a:cubicBezTo>
                    <a:pt x="180" y="42"/>
                    <a:pt x="180" y="42"/>
                    <a:pt x="180" y="42"/>
                  </a:cubicBezTo>
                  <a:cubicBezTo>
                    <a:pt x="183" y="41"/>
                    <a:pt x="183" y="41"/>
                    <a:pt x="183" y="41"/>
                  </a:cubicBezTo>
                  <a:cubicBezTo>
                    <a:pt x="187" y="39"/>
                    <a:pt x="191" y="36"/>
                    <a:pt x="194" y="33"/>
                  </a:cubicBezTo>
                  <a:cubicBezTo>
                    <a:pt x="190" y="34"/>
                    <a:pt x="187" y="34"/>
                    <a:pt x="182" y="35"/>
                  </a:cubicBezTo>
                  <a:cubicBezTo>
                    <a:pt x="179" y="35"/>
                    <a:pt x="179" y="35"/>
                    <a:pt x="179" y="35"/>
                  </a:cubicBezTo>
                  <a:cubicBezTo>
                    <a:pt x="177" y="29"/>
                    <a:pt x="177" y="29"/>
                    <a:pt x="177" y="29"/>
                  </a:cubicBezTo>
                  <a:cubicBezTo>
                    <a:pt x="180" y="27"/>
                    <a:pt x="180" y="27"/>
                    <a:pt x="180" y="27"/>
                  </a:cubicBezTo>
                  <a:cubicBezTo>
                    <a:pt x="184" y="25"/>
                    <a:pt x="187" y="22"/>
                    <a:pt x="190" y="18"/>
                  </a:cubicBezTo>
                  <a:cubicBezTo>
                    <a:pt x="185" y="20"/>
                    <a:pt x="180" y="22"/>
                    <a:pt x="175" y="23"/>
                  </a:cubicBezTo>
                  <a:cubicBezTo>
                    <a:pt x="173" y="23"/>
                    <a:pt x="173" y="23"/>
                    <a:pt x="173" y="23"/>
                  </a:cubicBezTo>
                  <a:cubicBezTo>
                    <a:pt x="172" y="22"/>
                    <a:pt x="172" y="22"/>
                    <a:pt x="172" y="22"/>
                  </a:cubicBezTo>
                  <a:cubicBezTo>
                    <a:pt x="165" y="14"/>
                    <a:pt x="155" y="10"/>
                    <a:pt x="145" y="10"/>
                  </a:cubicBezTo>
                  <a:cubicBezTo>
                    <a:pt x="123" y="10"/>
                    <a:pt x="110" y="28"/>
                    <a:pt x="110" y="46"/>
                  </a:cubicBezTo>
                  <a:cubicBezTo>
                    <a:pt x="110" y="47"/>
                    <a:pt x="110" y="51"/>
                    <a:pt x="110" y="53"/>
                  </a:cubicBezTo>
                  <a:cubicBezTo>
                    <a:pt x="112" y="58"/>
                    <a:pt x="112" y="58"/>
                    <a:pt x="112" y="58"/>
                  </a:cubicBezTo>
                  <a:cubicBezTo>
                    <a:pt x="106" y="58"/>
                    <a:pt x="106" y="58"/>
                    <a:pt x="106" y="58"/>
                  </a:cubicBezTo>
                  <a:cubicBezTo>
                    <a:pt x="75" y="57"/>
                    <a:pt x="47" y="44"/>
                    <a:pt x="26" y="20"/>
                  </a:cubicBezTo>
                  <a:cubicBezTo>
                    <a:pt x="18" y="41"/>
                    <a:pt x="32" y="58"/>
                    <a:pt x="38" y="63"/>
                  </a:cubicBezTo>
                  <a:cubicBezTo>
                    <a:pt x="48" y="71"/>
                    <a:pt x="48" y="71"/>
                    <a:pt x="48" y="71"/>
                  </a:cubicBezTo>
                  <a:cubicBezTo>
                    <a:pt x="36" y="70"/>
                    <a:pt x="36" y="70"/>
                    <a:pt x="36" y="70"/>
                  </a:cubicBezTo>
                  <a:cubicBezTo>
                    <a:pt x="32" y="70"/>
                    <a:pt x="28" y="70"/>
                    <a:pt x="25" y="69"/>
                  </a:cubicBezTo>
                  <a:cubicBezTo>
                    <a:pt x="28" y="83"/>
                    <a:pt x="39" y="94"/>
                    <a:pt x="53" y="97"/>
                  </a:cubicBezTo>
                  <a:cubicBezTo>
                    <a:pt x="69" y="101"/>
                    <a:pt x="69" y="101"/>
                    <a:pt x="69" y="101"/>
                  </a:cubicBezTo>
                  <a:cubicBezTo>
                    <a:pt x="54" y="105"/>
                    <a:pt x="54" y="105"/>
                    <a:pt x="54" y="105"/>
                  </a:cubicBezTo>
                  <a:cubicBezTo>
                    <a:pt x="51" y="106"/>
                    <a:pt x="48" y="106"/>
                    <a:pt x="44" y="106"/>
                  </a:cubicBezTo>
                  <a:cubicBezTo>
                    <a:pt x="43" y="106"/>
                    <a:pt x="41" y="106"/>
                    <a:pt x="40" y="106"/>
                  </a:cubicBezTo>
                  <a:cubicBezTo>
                    <a:pt x="46" y="117"/>
                    <a:pt x="58" y="124"/>
                    <a:pt x="71" y="125"/>
                  </a:cubicBezTo>
                  <a:cubicBezTo>
                    <a:pt x="82" y="125"/>
                    <a:pt x="82" y="125"/>
                    <a:pt x="82" y="125"/>
                  </a:cubicBezTo>
                  <a:cubicBezTo>
                    <a:pt x="73" y="132"/>
                    <a:pt x="73" y="132"/>
                    <a:pt x="73" y="132"/>
                  </a:cubicBezTo>
                  <a:cubicBezTo>
                    <a:pt x="57" y="144"/>
                    <a:pt x="41" y="148"/>
                    <a:pt x="30" y="15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sp>
        <p:nvSpPr>
          <p:cNvPr id="35" name="文本框 56">
            <a:extLst>
              <a:ext uri="{FF2B5EF4-FFF2-40B4-BE49-F238E27FC236}">
                <a16:creationId xmlns:a16="http://schemas.microsoft.com/office/drawing/2014/main" id="{1369AF1B-9DEB-4AD1-851D-8498B0858F87}"/>
              </a:ext>
            </a:extLst>
          </p:cNvPr>
          <p:cNvSpPr txBox="1"/>
          <p:nvPr/>
        </p:nvSpPr>
        <p:spPr>
          <a:xfrm>
            <a:off x="646113" y="4652963"/>
            <a:ext cx="1816100" cy="1230312"/>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ctr" eaLnBrk="1" fontAlgn="auto" hangingPunct="1">
              <a:lnSpc>
                <a:spcPct val="100000"/>
              </a:lnSpc>
              <a:spcBef>
                <a:spcPts val="0"/>
              </a:spcBef>
              <a:spcAft>
                <a:spcPts val="0"/>
              </a:spcAft>
              <a:defRPr/>
            </a:pPr>
            <a:r>
              <a:rPr lang="en-US" altLang="zh-CN" sz="1800" dirty="0">
                <a:solidFill>
                  <a:schemeClr val="tx1">
                    <a:lumMod val="75000"/>
                    <a:lumOff val="25000"/>
                  </a:schemeClr>
                </a:solidFill>
                <a:latin typeface="Impact" pitchFamily="34" charset="0"/>
                <a:ea typeface="+mn-ea"/>
              </a:rPr>
              <a:t>Your Title</a:t>
            </a:r>
          </a:p>
          <a:p>
            <a:pPr algn="ctr" eaLnBrk="1" fontAlgn="auto" hangingPunct="1">
              <a:lnSpc>
                <a:spcPct val="100000"/>
              </a:lnSpc>
              <a:spcBef>
                <a:spcPts val="0"/>
              </a:spcBef>
              <a:spcAft>
                <a:spcPts val="0"/>
              </a:spcAft>
              <a:defRPr/>
            </a:pPr>
            <a:r>
              <a:rPr lang="en-US" altLang="zh-CN" dirty="0">
                <a:solidFill>
                  <a:schemeClr val="tx1">
                    <a:lumMod val="75000"/>
                    <a:lumOff val="25000"/>
                  </a:schemeClr>
                </a:solidFill>
                <a:latin typeface="+mn-lt"/>
                <a:ea typeface="+mn-ea"/>
              </a:rPr>
              <a:t>click to add subtitle click to add subtitle click to add subtitle click to add subtitle</a:t>
            </a:r>
            <a:endParaRPr lang="zh-CN" altLang="en-US" dirty="0">
              <a:solidFill>
                <a:schemeClr val="tx1">
                  <a:lumMod val="75000"/>
                  <a:lumOff val="25000"/>
                </a:schemeClr>
              </a:solidFill>
              <a:latin typeface="+mn-lt"/>
              <a:ea typeface="+mn-ea"/>
            </a:endParaRPr>
          </a:p>
        </p:txBody>
      </p:sp>
      <p:sp>
        <p:nvSpPr>
          <p:cNvPr id="41" name="文本框 56">
            <a:extLst>
              <a:ext uri="{FF2B5EF4-FFF2-40B4-BE49-F238E27FC236}">
                <a16:creationId xmlns:a16="http://schemas.microsoft.com/office/drawing/2014/main" id="{9204EE1F-A103-481B-8480-84993FE4E9A1}"/>
              </a:ext>
            </a:extLst>
          </p:cNvPr>
          <p:cNvSpPr txBox="1"/>
          <p:nvPr/>
        </p:nvSpPr>
        <p:spPr>
          <a:xfrm>
            <a:off x="2452688" y="4652963"/>
            <a:ext cx="1817687" cy="1230312"/>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ctr" eaLnBrk="1" fontAlgn="auto" hangingPunct="1">
              <a:lnSpc>
                <a:spcPct val="100000"/>
              </a:lnSpc>
              <a:spcBef>
                <a:spcPts val="0"/>
              </a:spcBef>
              <a:spcAft>
                <a:spcPts val="0"/>
              </a:spcAft>
              <a:defRPr/>
            </a:pPr>
            <a:r>
              <a:rPr lang="en-US" altLang="zh-CN" sz="1800" dirty="0">
                <a:solidFill>
                  <a:schemeClr val="tx1">
                    <a:lumMod val="75000"/>
                    <a:lumOff val="25000"/>
                  </a:schemeClr>
                </a:solidFill>
                <a:latin typeface="Impact" pitchFamily="34" charset="0"/>
                <a:ea typeface="+mn-ea"/>
              </a:rPr>
              <a:t>Your Title</a:t>
            </a:r>
          </a:p>
          <a:p>
            <a:pPr algn="ctr" eaLnBrk="1" fontAlgn="auto" hangingPunct="1">
              <a:lnSpc>
                <a:spcPct val="100000"/>
              </a:lnSpc>
              <a:spcBef>
                <a:spcPts val="0"/>
              </a:spcBef>
              <a:spcAft>
                <a:spcPts val="0"/>
              </a:spcAft>
              <a:defRPr/>
            </a:pPr>
            <a:r>
              <a:rPr lang="en-US" altLang="zh-CN" dirty="0">
                <a:solidFill>
                  <a:schemeClr val="tx1">
                    <a:lumMod val="75000"/>
                    <a:lumOff val="25000"/>
                  </a:schemeClr>
                </a:solidFill>
                <a:latin typeface="+mn-lt"/>
                <a:ea typeface="+mn-ea"/>
              </a:rPr>
              <a:t>click to add subtitle click to add subtitle click to add subtitle click to add subtitle</a:t>
            </a:r>
            <a:endParaRPr lang="zh-CN" altLang="en-US" dirty="0">
              <a:solidFill>
                <a:schemeClr val="tx1">
                  <a:lumMod val="75000"/>
                  <a:lumOff val="25000"/>
                </a:schemeClr>
              </a:solidFill>
              <a:latin typeface="+mn-lt"/>
              <a:ea typeface="+mn-ea"/>
            </a:endParaRPr>
          </a:p>
        </p:txBody>
      </p:sp>
      <p:sp>
        <p:nvSpPr>
          <p:cNvPr id="42" name="文本框 56">
            <a:extLst>
              <a:ext uri="{FF2B5EF4-FFF2-40B4-BE49-F238E27FC236}">
                <a16:creationId xmlns:a16="http://schemas.microsoft.com/office/drawing/2014/main" id="{770CB03F-1C5A-445A-86A7-A7EA0FCF8CF8}"/>
              </a:ext>
            </a:extLst>
          </p:cNvPr>
          <p:cNvSpPr txBox="1"/>
          <p:nvPr/>
        </p:nvSpPr>
        <p:spPr>
          <a:xfrm>
            <a:off x="4260850" y="4652963"/>
            <a:ext cx="1816100" cy="1230312"/>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ctr" eaLnBrk="1" fontAlgn="auto" hangingPunct="1">
              <a:lnSpc>
                <a:spcPct val="100000"/>
              </a:lnSpc>
              <a:spcBef>
                <a:spcPts val="0"/>
              </a:spcBef>
              <a:spcAft>
                <a:spcPts val="0"/>
              </a:spcAft>
              <a:defRPr/>
            </a:pPr>
            <a:r>
              <a:rPr lang="en-US" altLang="zh-CN" sz="1800" dirty="0">
                <a:solidFill>
                  <a:schemeClr val="tx1">
                    <a:lumMod val="75000"/>
                    <a:lumOff val="25000"/>
                  </a:schemeClr>
                </a:solidFill>
                <a:latin typeface="Impact" pitchFamily="34" charset="0"/>
                <a:ea typeface="+mn-ea"/>
              </a:rPr>
              <a:t>Your Title</a:t>
            </a:r>
          </a:p>
          <a:p>
            <a:pPr algn="ctr" eaLnBrk="1" fontAlgn="auto" hangingPunct="1">
              <a:lnSpc>
                <a:spcPct val="100000"/>
              </a:lnSpc>
              <a:spcBef>
                <a:spcPts val="0"/>
              </a:spcBef>
              <a:spcAft>
                <a:spcPts val="0"/>
              </a:spcAft>
              <a:defRPr/>
            </a:pPr>
            <a:r>
              <a:rPr lang="en-US" altLang="zh-CN" dirty="0">
                <a:solidFill>
                  <a:schemeClr val="tx1">
                    <a:lumMod val="75000"/>
                    <a:lumOff val="25000"/>
                  </a:schemeClr>
                </a:solidFill>
                <a:latin typeface="+mn-lt"/>
                <a:ea typeface="+mn-ea"/>
              </a:rPr>
              <a:t>click to add subtitle click to add subtitle click to add subtitle click to add subtitle</a:t>
            </a:r>
            <a:endParaRPr lang="zh-CN" altLang="en-US" dirty="0">
              <a:solidFill>
                <a:schemeClr val="tx1">
                  <a:lumMod val="75000"/>
                  <a:lumOff val="25000"/>
                </a:schemeClr>
              </a:solidFill>
              <a:latin typeface="+mn-lt"/>
              <a:ea typeface="+mn-ea"/>
            </a:endParaRPr>
          </a:p>
        </p:txBody>
      </p:sp>
      <p:sp>
        <p:nvSpPr>
          <p:cNvPr id="43" name="文本框 56">
            <a:extLst>
              <a:ext uri="{FF2B5EF4-FFF2-40B4-BE49-F238E27FC236}">
                <a16:creationId xmlns:a16="http://schemas.microsoft.com/office/drawing/2014/main" id="{A9E75B2F-3A8E-444F-9BE4-8C593EBF0E6A}"/>
              </a:ext>
            </a:extLst>
          </p:cNvPr>
          <p:cNvSpPr txBox="1"/>
          <p:nvPr/>
        </p:nvSpPr>
        <p:spPr>
          <a:xfrm>
            <a:off x="6067425" y="4652963"/>
            <a:ext cx="1817688" cy="1230312"/>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ctr" eaLnBrk="1" fontAlgn="auto" hangingPunct="1">
              <a:lnSpc>
                <a:spcPct val="100000"/>
              </a:lnSpc>
              <a:spcBef>
                <a:spcPts val="0"/>
              </a:spcBef>
              <a:spcAft>
                <a:spcPts val="0"/>
              </a:spcAft>
              <a:defRPr/>
            </a:pPr>
            <a:r>
              <a:rPr lang="en-US" altLang="zh-CN" sz="1800" dirty="0">
                <a:solidFill>
                  <a:schemeClr val="tx1">
                    <a:lumMod val="75000"/>
                    <a:lumOff val="25000"/>
                  </a:schemeClr>
                </a:solidFill>
                <a:latin typeface="Impact" pitchFamily="34" charset="0"/>
                <a:ea typeface="+mn-ea"/>
              </a:rPr>
              <a:t>Your Title</a:t>
            </a:r>
          </a:p>
          <a:p>
            <a:pPr algn="ctr" eaLnBrk="1" fontAlgn="auto" hangingPunct="1">
              <a:lnSpc>
                <a:spcPct val="100000"/>
              </a:lnSpc>
              <a:spcBef>
                <a:spcPts val="0"/>
              </a:spcBef>
              <a:spcAft>
                <a:spcPts val="0"/>
              </a:spcAft>
              <a:defRPr/>
            </a:pPr>
            <a:r>
              <a:rPr lang="en-US" altLang="zh-CN" dirty="0">
                <a:solidFill>
                  <a:schemeClr val="tx1">
                    <a:lumMod val="75000"/>
                    <a:lumOff val="25000"/>
                  </a:schemeClr>
                </a:solidFill>
                <a:latin typeface="+mn-lt"/>
                <a:ea typeface="+mn-ea"/>
              </a:rPr>
              <a:t>click to add subtitle click to add subtitle click to add subtitle click to add subtitle</a:t>
            </a:r>
            <a:endParaRPr lang="zh-CN" altLang="en-US" dirty="0">
              <a:solidFill>
                <a:schemeClr val="tx1">
                  <a:lumMod val="75000"/>
                  <a:lumOff val="25000"/>
                </a:schemeClr>
              </a:solidFill>
              <a:latin typeface="+mn-lt"/>
              <a:ea typeface="+mn-ea"/>
            </a:endParaRPr>
          </a:p>
        </p:txBody>
      </p:sp>
      <p:sp>
        <p:nvSpPr>
          <p:cNvPr id="44" name="文本框 56">
            <a:extLst>
              <a:ext uri="{FF2B5EF4-FFF2-40B4-BE49-F238E27FC236}">
                <a16:creationId xmlns:a16="http://schemas.microsoft.com/office/drawing/2014/main" id="{D815F8DE-6FAB-45F9-B5FC-110ABB5D0393}"/>
              </a:ext>
            </a:extLst>
          </p:cNvPr>
          <p:cNvSpPr txBox="1"/>
          <p:nvPr/>
        </p:nvSpPr>
        <p:spPr>
          <a:xfrm>
            <a:off x="9682163" y="4662488"/>
            <a:ext cx="1817687" cy="1230312"/>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ctr" eaLnBrk="1" fontAlgn="auto" hangingPunct="1">
              <a:lnSpc>
                <a:spcPct val="100000"/>
              </a:lnSpc>
              <a:spcBef>
                <a:spcPts val="0"/>
              </a:spcBef>
              <a:spcAft>
                <a:spcPts val="0"/>
              </a:spcAft>
              <a:defRPr/>
            </a:pPr>
            <a:r>
              <a:rPr lang="en-US" altLang="zh-CN" sz="1800" dirty="0">
                <a:solidFill>
                  <a:schemeClr val="tx1">
                    <a:lumMod val="75000"/>
                    <a:lumOff val="25000"/>
                  </a:schemeClr>
                </a:solidFill>
                <a:latin typeface="Impact" pitchFamily="34" charset="0"/>
                <a:ea typeface="+mn-ea"/>
              </a:rPr>
              <a:t>Your Title</a:t>
            </a:r>
          </a:p>
          <a:p>
            <a:pPr algn="ctr" eaLnBrk="1" fontAlgn="auto" hangingPunct="1">
              <a:lnSpc>
                <a:spcPct val="100000"/>
              </a:lnSpc>
              <a:spcBef>
                <a:spcPts val="0"/>
              </a:spcBef>
              <a:spcAft>
                <a:spcPts val="0"/>
              </a:spcAft>
              <a:defRPr/>
            </a:pPr>
            <a:r>
              <a:rPr lang="en-US" altLang="zh-CN" dirty="0">
                <a:solidFill>
                  <a:schemeClr val="tx1">
                    <a:lumMod val="75000"/>
                    <a:lumOff val="25000"/>
                  </a:schemeClr>
                </a:solidFill>
                <a:latin typeface="+mn-lt"/>
                <a:ea typeface="+mn-ea"/>
              </a:rPr>
              <a:t>click to add subtitle click to add subtitle click to add subtitle click to add subtitle</a:t>
            </a:r>
            <a:endParaRPr lang="zh-CN" altLang="en-US" dirty="0">
              <a:solidFill>
                <a:schemeClr val="tx1">
                  <a:lumMod val="75000"/>
                  <a:lumOff val="25000"/>
                </a:schemeClr>
              </a:solidFill>
              <a:latin typeface="+mn-lt"/>
              <a:ea typeface="+mn-ea"/>
            </a:endParaRPr>
          </a:p>
        </p:txBody>
      </p:sp>
      <p:sp>
        <p:nvSpPr>
          <p:cNvPr id="45" name="文本框 56">
            <a:extLst>
              <a:ext uri="{FF2B5EF4-FFF2-40B4-BE49-F238E27FC236}">
                <a16:creationId xmlns:a16="http://schemas.microsoft.com/office/drawing/2014/main" id="{B6131970-5F2D-4298-8E9B-E04E9C021787}"/>
              </a:ext>
            </a:extLst>
          </p:cNvPr>
          <p:cNvSpPr txBox="1"/>
          <p:nvPr/>
        </p:nvSpPr>
        <p:spPr>
          <a:xfrm>
            <a:off x="7875588" y="4683125"/>
            <a:ext cx="1816100" cy="1231900"/>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ctr" eaLnBrk="1" fontAlgn="auto" hangingPunct="1">
              <a:lnSpc>
                <a:spcPct val="100000"/>
              </a:lnSpc>
              <a:spcBef>
                <a:spcPts val="0"/>
              </a:spcBef>
              <a:spcAft>
                <a:spcPts val="0"/>
              </a:spcAft>
              <a:defRPr/>
            </a:pPr>
            <a:r>
              <a:rPr lang="en-US" altLang="zh-CN" sz="1800" dirty="0">
                <a:solidFill>
                  <a:schemeClr val="tx1">
                    <a:lumMod val="75000"/>
                    <a:lumOff val="25000"/>
                  </a:schemeClr>
                </a:solidFill>
                <a:latin typeface="Impact" pitchFamily="34" charset="0"/>
                <a:ea typeface="+mn-ea"/>
              </a:rPr>
              <a:t>Your Title</a:t>
            </a:r>
          </a:p>
          <a:p>
            <a:pPr algn="ctr" eaLnBrk="1" fontAlgn="auto" hangingPunct="1">
              <a:lnSpc>
                <a:spcPct val="100000"/>
              </a:lnSpc>
              <a:spcBef>
                <a:spcPts val="0"/>
              </a:spcBef>
              <a:spcAft>
                <a:spcPts val="0"/>
              </a:spcAft>
              <a:defRPr/>
            </a:pPr>
            <a:r>
              <a:rPr lang="en-US" altLang="zh-CN" dirty="0">
                <a:solidFill>
                  <a:schemeClr val="tx1">
                    <a:lumMod val="75000"/>
                    <a:lumOff val="25000"/>
                  </a:schemeClr>
                </a:solidFill>
                <a:latin typeface="+mn-lt"/>
                <a:ea typeface="+mn-ea"/>
              </a:rPr>
              <a:t>click to add subtitle click to add subtitle click to add subtitle click to add subtitle</a:t>
            </a:r>
            <a:endParaRPr lang="zh-CN" altLang="en-US" dirty="0">
              <a:solidFill>
                <a:schemeClr val="tx1">
                  <a:lumMod val="75000"/>
                  <a:lumOff val="25000"/>
                </a:schemeClr>
              </a:solidFill>
              <a:latin typeface="+mn-lt"/>
              <a:ea typeface="+mn-ea"/>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3" presetClass="entr" presetSubtype="16" fill="hold" nodeType="afterEffect">
                                  <p:stCondLst>
                                    <p:cond delay="0"/>
                                  </p:stCondLst>
                                  <p:childTnLst>
                                    <p:set>
                                      <p:cBhvr>
                                        <p:cTn id="6" dur="1" fill="hold">
                                          <p:stCondLst>
                                            <p:cond delay="0"/>
                                          </p:stCondLst>
                                        </p:cTn>
                                        <p:tgtEl>
                                          <p:spTgt spid="4105"/>
                                        </p:tgtEl>
                                        <p:attrNameLst>
                                          <p:attrName>style.visibility</p:attrName>
                                        </p:attrNameLst>
                                      </p:cBhvr>
                                      <p:to>
                                        <p:strVal val="visible"/>
                                      </p:to>
                                    </p:set>
                                    <p:anim calcmode="lin" valueType="num">
                                      <p:cBhvr>
                                        <p:cTn id="7" dur="300" fill="hold"/>
                                        <p:tgtEl>
                                          <p:spTgt spid="4105"/>
                                        </p:tgtEl>
                                        <p:attrNameLst>
                                          <p:attrName>ppt_w</p:attrName>
                                        </p:attrNameLst>
                                      </p:cBhvr>
                                      <p:tavLst>
                                        <p:tav tm="0">
                                          <p:val>
                                            <p:fltVal val="0"/>
                                          </p:val>
                                        </p:tav>
                                        <p:tav tm="100000">
                                          <p:val>
                                            <p:strVal val="#ppt_w"/>
                                          </p:val>
                                        </p:tav>
                                      </p:tavLst>
                                    </p:anim>
                                    <p:anim calcmode="lin" valueType="num">
                                      <p:cBhvr>
                                        <p:cTn id="8" dur="300" fill="hold"/>
                                        <p:tgtEl>
                                          <p:spTgt spid="4105"/>
                                        </p:tgtEl>
                                        <p:attrNameLst>
                                          <p:attrName>ppt_h</p:attrName>
                                        </p:attrNameLst>
                                      </p:cBhvr>
                                      <p:tavLst>
                                        <p:tav tm="0">
                                          <p:val>
                                            <p:fltVal val="0"/>
                                          </p:val>
                                        </p:tav>
                                        <p:tav tm="100000">
                                          <p:val>
                                            <p:strVal val="#ppt_h"/>
                                          </p:val>
                                        </p:tav>
                                      </p:tavLst>
                                    </p:anim>
                                    <p:animEffect transition="in" filter="fade">
                                      <p:cBhvr>
                                        <p:cTn id="9" dur="300"/>
                                        <p:tgtEl>
                                          <p:spTgt spid="4105"/>
                                        </p:tgtEl>
                                      </p:cBhvr>
                                    </p:animEffect>
                                  </p:childTnLst>
                                </p:cTn>
                              </p:par>
                            </p:childTnLst>
                          </p:cTn>
                        </p:par>
                        <p:par>
                          <p:cTn id="10" fill="hold" nodeType="afterGroup">
                            <p:stCondLst>
                              <p:cond delay="300"/>
                            </p:stCondLst>
                            <p:childTnLst>
                              <p:par>
                                <p:cTn id="11" presetID="53" presetClass="entr" presetSubtype="16" fill="hold" nodeType="afterEffect">
                                  <p:stCondLst>
                                    <p:cond delay="0"/>
                                  </p:stCondLst>
                                  <p:childTnLst>
                                    <p:set>
                                      <p:cBhvr>
                                        <p:cTn id="12" dur="1" fill="hold">
                                          <p:stCondLst>
                                            <p:cond delay="0"/>
                                          </p:stCondLst>
                                        </p:cTn>
                                        <p:tgtEl>
                                          <p:spTgt spid="4101"/>
                                        </p:tgtEl>
                                        <p:attrNameLst>
                                          <p:attrName>style.visibility</p:attrName>
                                        </p:attrNameLst>
                                      </p:cBhvr>
                                      <p:to>
                                        <p:strVal val="visible"/>
                                      </p:to>
                                    </p:set>
                                    <p:anim calcmode="lin" valueType="num">
                                      <p:cBhvr>
                                        <p:cTn id="13" dur="300" fill="hold"/>
                                        <p:tgtEl>
                                          <p:spTgt spid="4101"/>
                                        </p:tgtEl>
                                        <p:attrNameLst>
                                          <p:attrName>ppt_w</p:attrName>
                                        </p:attrNameLst>
                                      </p:cBhvr>
                                      <p:tavLst>
                                        <p:tav tm="0">
                                          <p:val>
                                            <p:fltVal val="0"/>
                                          </p:val>
                                        </p:tav>
                                        <p:tav tm="100000">
                                          <p:val>
                                            <p:strVal val="#ppt_w"/>
                                          </p:val>
                                        </p:tav>
                                      </p:tavLst>
                                    </p:anim>
                                    <p:anim calcmode="lin" valueType="num">
                                      <p:cBhvr>
                                        <p:cTn id="14" dur="300" fill="hold"/>
                                        <p:tgtEl>
                                          <p:spTgt spid="4101"/>
                                        </p:tgtEl>
                                        <p:attrNameLst>
                                          <p:attrName>ppt_h</p:attrName>
                                        </p:attrNameLst>
                                      </p:cBhvr>
                                      <p:tavLst>
                                        <p:tav tm="0">
                                          <p:val>
                                            <p:fltVal val="0"/>
                                          </p:val>
                                        </p:tav>
                                        <p:tav tm="100000">
                                          <p:val>
                                            <p:strVal val="#ppt_h"/>
                                          </p:val>
                                        </p:tav>
                                      </p:tavLst>
                                    </p:anim>
                                    <p:animEffect transition="in" filter="fade">
                                      <p:cBhvr>
                                        <p:cTn id="15" dur="300"/>
                                        <p:tgtEl>
                                          <p:spTgt spid="4101"/>
                                        </p:tgtEl>
                                      </p:cBhvr>
                                    </p:animEffect>
                                  </p:childTnLst>
                                </p:cTn>
                              </p:par>
                            </p:childTnLst>
                          </p:cTn>
                        </p:par>
                        <p:par>
                          <p:cTn id="16" fill="hold" nodeType="afterGroup">
                            <p:stCondLst>
                              <p:cond delay="600"/>
                            </p:stCondLst>
                            <p:childTnLst>
                              <p:par>
                                <p:cTn id="17" presetID="53" presetClass="entr" presetSubtype="16" fill="hold" nodeType="afterEffect">
                                  <p:stCondLst>
                                    <p:cond delay="0"/>
                                  </p:stCondLst>
                                  <p:childTnLst>
                                    <p:set>
                                      <p:cBhvr>
                                        <p:cTn id="18" dur="1" fill="hold">
                                          <p:stCondLst>
                                            <p:cond delay="0"/>
                                          </p:stCondLst>
                                        </p:cTn>
                                        <p:tgtEl>
                                          <p:spTgt spid="4106"/>
                                        </p:tgtEl>
                                        <p:attrNameLst>
                                          <p:attrName>style.visibility</p:attrName>
                                        </p:attrNameLst>
                                      </p:cBhvr>
                                      <p:to>
                                        <p:strVal val="visible"/>
                                      </p:to>
                                    </p:set>
                                    <p:anim calcmode="lin" valueType="num">
                                      <p:cBhvr>
                                        <p:cTn id="19" dur="300" fill="hold"/>
                                        <p:tgtEl>
                                          <p:spTgt spid="4106"/>
                                        </p:tgtEl>
                                        <p:attrNameLst>
                                          <p:attrName>ppt_w</p:attrName>
                                        </p:attrNameLst>
                                      </p:cBhvr>
                                      <p:tavLst>
                                        <p:tav tm="0">
                                          <p:val>
                                            <p:fltVal val="0"/>
                                          </p:val>
                                        </p:tav>
                                        <p:tav tm="100000">
                                          <p:val>
                                            <p:strVal val="#ppt_w"/>
                                          </p:val>
                                        </p:tav>
                                      </p:tavLst>
                                    </p:anim>
                                    <p:anim calcmode="lin" valueType="num">
                                      <p:cBhvr>
                                        <p:cTn id="20" dur="300" fill="hold"/>
                                        <p:tgtEl>
                                          <p:spTgt spid="4106"/>
                                        </p:tgtEl>
                                        <p:attrNameLst>
                                          <p:attrName>ppt_h</p:attrName>
                                        </p:attrNameLst>
                                      </p:cBhvr>
                                      <p:tavLst>
                                        <p:tav tm="0">
                                          <p:val>
                                            <p:fltVal val="0"/>
                                          </p:val>
                                        </p:tav>
                                        <p:tav tm="100000">
                                          <p:val>
                                            <p:strVal val="#ppt_h"/>
                                          </p:val>
                                        </p:tav>
                                      </p:tavLst>
                                    </p:anim>
                                    <p:animEffect transition="in" filter="fade">
                                      <p:cBhvr>
                                        <p:cTn id="21" dur="300"/>
                                        <p:tgtEl>
                                          <p:spTgt spid="4106"/>
                                        </p:tgtEl>
                                      </p:cBhvr>
                                    </p:animEffect>
                                  </p:childTnLst>
                                </p:cTn>
                              </p:par>
                            </p:childTnLst>
                          </p:cTn>
                        </p:par>
                        <p:par>
                          <p:cTn id="22" fill="hold" nodeType="afterGroup">
                            <p:stCondLst>
                              <p:cond delay="900"/>
                            </p:stCondLst>
                            <p:childTnLst>
                              <p:par>
                                <p:cTn id="23" presetID="53" presetClass="entr" presetSubtype="16" fill="hold" nodeType="afterEffect">
                                  <p:stCondLst>
                                    <p:cond delay="0"/>
                                  </p:stCondLst>
                                  <p:childTnLst>
                                    <p:set>
                                      <p:cBhvr>
                                        <p:cTn id="24" dur="1" fill="hold">
                                          <p:stCondLst>
                                            <p:cond delay="0"/>
                                          </p:stCondLst>
                                        </p:cTn>
                                        <p:tgtEl>
                                          <p:spTgt spid="4107"/>
                                        </p:tgtEl>
                                        <p:attrNameLst>
                                          <p:attrName>style.visibility</p:attrName>
                                        </p:attrNameLst>
                                      </p:cBhvr>
                                      <p:to>
                                        <p:strVal val="visible"/>
                                      </p:to>
                                    </p:set>
                                    <p:anim calcmode="lin" valueType="num">
                                      <p:cBhvr>
                                        <p:cTn id="25" dur="300" fill="hold"/>
                                        <p:tgtEl>
                                          <p:spTgt spid="4107"/>
                                        </p:tgtEl>
                                        <p:attrNameLst>
                                          <p:attrName>ppt_w</p:attrName>
                                        </p:attrNameLst>
                                      </p:cBhvr>
                                      <p:tavLst>
                                        <p:tav tm="0">
                                          <p:val>
                                            <p:fltVal val="0"/>
                                          </p:val>
                                        </p:tav>
                                        <p:tav tm="100000">
                                          <p:val>
                                            <p:strVal val="#ppt_w"/>
                                          </p:val>
                                        </p:tav>
                                      </p:tavLst>
                                    </p:anim>
                                    <p:anim calcmode="lin" valueType="num">
                                      <p:cBhvr>
                                        <p:cTn id="26" dur="300" fill="hold"/>
                                        <p:tgtEl>
                                          <p:spTgt spid="4107"/>
                                        </p:tgtEl>
                                        <p:attrNameLst>
                                          <p:attrName>ppt_h</p:attrName>
                                        </p:attrNameLst>
                                      </p:cBhvr>
                                      <p:tavLst>
                                        <p:tav tm="0">
                                          <p:val>
                                            <p:fltVal val="0"/>
                                          </p:val>
                                        </p:tav>
                                        <p:tav tm="100000">
                                          <p:val>
                                            <p:strVal val="#ppt_h"/>
                                          </p:val>
                                        </p:tav>
                                      </p:tavLst>
                                    </p:anim>
                                    <p:animEffect transition="in" filter="fade">
                                      <p:cBhvr>
                                        <p:cTn id="27" dur="300"/>
                                        <p:tgtEl>
                                          <p:spTgt spid="4107"/>
                                        </p:tgtEl>
                                      </p:cBhvr>
                                    </p:animEffect>
                                  </p:childTnLst>
                                </p:cTn>
                              </p:par>
                            </p:childTnLst>
                          </p:cTn>
                        </p:par>
                        <p:par>
                          <p:cTn id="28" fill="hold" nodeType="afterGroup">
                            <p:stCondLst>
                              <p:cond delay="1200"/>
                            </p:stCondLst>
                            <p:childTnLst>
                              <p:par>
                                <p:cTn id="29" presetID="53" presetClass="entr" presetSubtype="16" fill="hold" nodeType="afterEffect">
                                  <p:stCondLst>
                                    <p:cond delay="0"/>
                                  </p:stCondLst>
                                  <p:childTnLst>
                                    <p:set>
                                      <p:cBhvr>
                                        <p:cTn id="30" dur="1" fill="hold">
                                          <p:stCondLst>
                                            <p:cond delay="0"/>
                                          </p:stCondLst>
                                        </p:cTn>
                                        <p:tgtEl>
                                          <p:spTgt spid="4102"/>
                                        </p:tgtEl>
                                        <p:attrNameLst>
                                          <p:attrName>style.visibility</p:attrName>
                                        </p:attrNameLst>
                                      </p:cBhvr>
                                      <p:to>
                                        <p:strVal val="visible"/>
                                      </p:to>
                                    </p:set>
                                    <p:anim calcmode="lin" valueType="num">
                                      <p:cBhvr>
                                        <p:cTn id="31" dur="300" fill="hold"/>
                                        <p:tgtEl>
                                          <p:spTgt spid="4102"/>
                                        </p:tgtEl>
                                        <p:attrNameLst>
                                          <p:attrName>ppt_w</p:attrName>
                                        </p:attrNameLst>
                                      </p:cBhvr>
                                      <p:tavLst>
                                        <p:tav tm="0">
                                          <p:val>
                                            <p:fltVal val="0"/>
                                          </p:val>
                                        </p:tav>
                                        <p:tav tm="100000">
                                          <p:val>
                                            <p:strVal val="#ppt_w"/>
                                          </p:val>
                                        </p:tav>
                                      </p:tavLst>
                                    </p:anim>
                                    <p:anim calcmode="lin" valueType="num">
                                      <p:cBhvr>
                                        <p:cTn id="32" dur="300" fill="hold"/>
                                        <p:tgtEl>
                                          <p:spTgt spid="4102"/>
                                        </p:tgtEl>
                                        <p:attrNameLst>
                                          <p:attrName>ppt_h</p:attrName>
                                        </p:attrNameLst>
                                      </p:cBhvr>
                                      <p:tavLst>
                                        <p:tav tm="0">
                                          <p:val>
                                            <p:fltVal val="0"/>
                                          </p:val>
                                        </p:tav>
                                        <p:tav tm="100000">
                                          <p:val>
                                            <p:strVal val="#ppt_h"/>
                                          </p:val>
                                        </p:tav>
                                      </p:tavLst>
                                    </p:anim>
                                    <p:animEffect transition="in" filter="fade">
                                      <p:cBhvr>
                                        <p:cTn id="33" dur="300"/>
                                        <p:tgtEl>
                                          <p:spTgt spid="4102"/>
                                        </p:tgtEl>
                                      </p:cBhvr>
                                    </p:animEffect>
                                  </p:childTnLst>
                                </p:cTn>
                              </p:par>
                            </p:childTnLst>
                          </p:cTn>
                        </p:par>
                        <p:par>
                          <p:cTn id="34" fill="hold" nodeType="afterGroup">
                            <p:stCondLst>
                              <p:cond delay="1500"/>
                            </p:stCondLst>
                            <p:childTnLst>
                              <p:par>
                                <p:cTn id="35" presetID="53" presetClass="entr" presetSubtype="16" fill="hold" nodeType="afterEffect">
                                  <p:stCondLst>
                                    <p:cond delay="0"/>
                                  </p:stCondLst>
                                  <p:childTnLst>
                                    <p:set>
                                      <p:cBhvr>
                                        <p:cTn id="36" dur="1" fill="hold">
                                          <p:stCondLst>
                                            <p:cond delay="0"/>
                                          </p:stCondLst>
                                        </p:cTn>
                                        <p:tgtEl>
                                          <p:spTgt spid="4104"/>
                                        </p:tgtEl>
                                        <p:attrNameLst>
                                          <p:attrName>style.visibility</p:attrName>
                                        </p:attrNameLst>
                                      </p:cBhvr>
                                      <p:to>
                                        <p:strVal val="visible"/>
                                      </p:to>
                                    </p:set>
                                    <p:anim calcmode="lin" valueType="num">
                                      <p:cBhvr>
                                        <p:cTn id="37" dur="300" fill="hold"/>
                                        <p:tgtEl>
                                          <p:spTgt spid="4104"/>
                                        </p:tgtEl>
                                        <p:attrNameLst>
                                          <p:attrName>ppt_w</p:attrName>
                                        </p:attrNameLst>
                                      </p:cBhvr>
                                      <p:tavLst>
                                        <p:tav tm="0">
                                          <p:val>
                                            <p:fltVal val="0"/>
                                          </p:val>
                                        </p:tav>
                                        <p:tav tm="100000">
                                          <p:val>
                                            <p:strVal val="#ppt_w"/>
                                          </p:val>
                                        </p:tav>
                                      </p:tavLst>
                                    </p:anim>
                                    <p:anim calcmode="lin" valueType="num">
                                      <p:cBhvr>
                                        <p:cTn id="38" dur="300" fill="hold"/>
                                        <p:tgtEl>
                                          <p:spTgt spid="4104"/>
                                        </p:tgtEl>
                                        <p:attrNameLst>
                                          <p:attrName>ppt_h</p:attrName>
                                        </p:attrNameLst>
                                      </p:cBhvr>
                                      <p:tavLst>
                                        <p:tav tm="0">
                                          <p:val>
                                            <p:fltVal val="0"/>
                                          </p:val>
                                        </p:tav>
                                        <p:tav tm="100000">
                                          <p:val>
                                            <p:strVal val="#ppt_h"/>
                                          </p:val>
                                        </p:tav>
                                      </p:tavLst>
                                    </p:anim>
                                    <p:animEffect transition="in" filter="fade">
                                      <p:cBhvr>
                                        <p:cTn id="39" dur="300"/>
                                        <p:tgtEl>
                                          <p:spTgt spid="4104"/>
                                        </p:tgtEl>
                                      </p:cBhvr>
                                    </p:animEffect>
                                  </p:childTnLst>
                                </p:cTn>
                              </p:par>
                            </p:childTnLst>
                          </p:cTn>
                        </p:par>
                        <p:par>
                          <p:cTn id="40" fill="hold" nodeType="afterGroup">
                            <p:stCondLst>
                              <p:cond delay="1800"/>
                            </p:stCondLst>
                            <p:childTnLst>
                              <p:par>
                                <p:cTn id="41" presetID="53" presetClass="entr" presetSubtype="16" fill="hold" nodeType="afterEffect">
                                  <p:stCondLst>
                                    <p:cond delay="0"/>
                                  </p:stCondLst>
                                  <p:childTnLst>
                                    <p:set>
                                      <p:cBhvr>
                                        <p:cTn id="42" dur="1" fill="hold">
                                          <p:stCondLst>
                                            <p:cond delay="0"/>
                                          </p:stCondLst>
                                        </p:cTn>
                                        <p:tgtEl>
                                          <p:spTgt spid="8"/>
                                        </p:tgtEl>
                                        <p:attrNameLst>
                                          <p:attrName>style.visibility</p:attrName>
                                        </p:attrNameLst>
                                      </p:cBhvr>
                                      <p:to>
                                        <p:strVal val="visible"/>
                                      </p:to>
                                    </p:set>
                                    <p:anim calcmode="lin" valueType="num">
                                      <p:cBhvr>
                                        <p:cTn id="43" dur="500" fill="hold"/>
                                        <p:tgtEl>
                                          <p:spTgt spid="8"/>
                                        </p:tgtEl>
                                        <p:attrNameLst>
                                          <p:attrName>ppt_w</p:attrName>
                                        </p:attrNameLst>
                                      </p:cBhvr>
                                      <p:tavLst>
                                        <p:tav tm="0">
                                          <p:val>
                                            <p:fltVal val="0"/>
                                          </p:val>
                                        </p:tav>
                                        <p:tav tm="100000">
                                          <p:val>
                                            <p:strVal val="#ppt_w"/>
                                          </p:val>
                                        </p:tav>
                                      </p:tavLst>
                                    </p:anim>
                                    <p:anim calcmode="lin" valueType="num">
                                      <p:cBhvr>
                                        <p:cTn id="44" dur="500" fill="hold"/>
                                        <p:tgtEl>
                                          <p:spTgt spid="8"/>
                                        </p:tgtEl>
                                        <p:attrNameLst>
                                          <p:attrName>ppt_h</p:attrName>
                                        </p:attrNameLst>
                                      </p:cBhvr>
                                      <p:tavLst>
                                        <p:tav tm="0">
                                          <p:val>
                                            <p:fltVal val="0"/>
                                          </p:val>
                                        </p:tav>
                                        <p:tav tm="100000">
                                          <p:val>
                                            <p:strVal val="#ppt_h"/>
                                          </p:val>
                                        </p:tav>
                                      </p:tavLst>
                                    </p:anim>
                                    <p:animEffect transition="in" filter="fade">
                                      <p:cBhvr>
                                        <p:cTn id="45" dur="500"/>
                                        <p:tgtEl>
                                          <p:spTgt spid="8"/>
                                        </p:tgtEl>
                                      </p:cBhvr>
                                    </p:animEffect>
                                  </p:childTnLst>
                                </p:cTn>
                              </p:par>
                              <p:par>
                                <p:cTn id="46" presetID="53" presetClass="entr" presetSubtype="16" fill="hold" nodeType="withEffect">
                                  <p:stCondLst>
                                    <p:cond delay="0"/>
                                  </p:stCondLst>
                                  <p:childTnLst>
                                    <p:set>
                                      <p:cBhvr>
                                        <p:cTn id="47" dur="1" fill="hold">
                                          <p:stCondLst>
                                            <p:cond delay="0"/>
                                          </p:stCondLst>
                                        </p:cTn>
                                        <p:tgtEl>
                                          <p:spTgt spid="9"/>
                                        </p:tgtEl>
                                        <p:attrNameLst>
                                          <p:attrName>style.visibility</p:attrName>
                                        </p:attrNameLst>
                                      </p:cBhvr>
                                      <p:to>
                                        <p:strVal val="visible"/>
                                      </p:to>
                                    </p:set>
                                    <p:anim calcmode="lin" valueType="num">
                                      <p:cBhvr>
                                        <p:cTn id="48" dur="500" fill="hold"/>
                                        <p:tgtEl>
                                          <p:spTgt spid="9"/>
                                        </p:tgtEl>
                                        <p:attrNameLst>
                                          <p:attrName>ppt_w</p:attrName>
                                        </p:attrNameLst>
                                      </p:cBhvr>
                                      <p:tavLst>
                                        <p:tav tm="0">
                                          <p:val>
                                            <p:fltVal val="0"/>
                                          </p:val>
                                        </p:tav>
                                        <p:tav tm="100000">
                                          <p:val>
                                            <p:strVal val="#ppt_w"/>
                                          </p:val>
                                        </p:tav>
                                      </p:tavLst>
                                    </p:anim>
                                    <p:anim calcmode="lin" valueType="num">
                                      <p:cBhvr>
                                        <p:cTn id="49" dur="500" fill="hold"/>
                                        <p:tgtEl>
                                          <p:spTgt spid="9"/>
                                        </p:tgtEl>
                                        <p:attrNameLst>
                                          <p:attrName>ppt_h</p:attrName>
                                        </p:attrNameLst>
                                      </p:cBhvr>
                                      <p:tavLst>
                                        <p:tav tm="0">
                                          <p:val>
                                            <p:fltVal val="0"/>
                                          </p:val>
                                        </p:tav>
                                        <p:tav tm="100000">
                                          <p:val>
                                            <p:strVal val="#ppt_h"/>
                                          </p:val>
                                        </p:tav>
                                      </p:tavLst>
                                    </p:anim>
                                    <p:animEffect transition="in" filter="fade">
                                      <p:cBhvr>
                                        <p:cTn id="50" dur="500"/>
                                        <p:tgtEl>
                                          <p:spTgt spid="9"/>
                                        </p:tgtEl>
                                      </p:cBhvr>
                                    </p:animEffect>
                                  </p:childTnLst>
                                </p:cTn>
                              </p:par>
                              <p:par>
                                <p:cTn id="51" presetID="53" presetClass="entr" presetSubtype="16" fill="hold" nodeType="withEffect">
                                  <p:stCondLst>
                                    <p:cond delay="0"/>
                                  </p:stCondLst>
                                  <p:childTnLst>
                                    <p:set>
                                      <p:cBhvr>
                                        <p:cTn id="52" dur="1" fill="hold">
                                          <p:stCondLst>
                                            <p:cond delay="0"/>
                                          </p:stCondLst>
                                        </p:cTn>
                                        <p:tgtEl>
                                          <p:spTgt spid="10"/>
                                        </p:tgtEl>
                                        <p:attrNameLst>
                                          <p:attrName>style.visibility</p:attrName>
                                        </p:attrNameLst>
                                      </p:cBhvr>
                                      <p:to>
                                        <p:strVal val="visible"/>
                                      </p:to>
                                    </p:set>
                                    <p:anim calcmode="lin" valueType="num">
                                      <p:cBhvr>
                                        <p:cTn id="53" dur="500" fill="hold"/>
                                        <p:tgtEl>
                                          <p:spTgt spid="10"/>
                                        </p:tgtEl>
                                        <p:attrNameLst>
                                          <p:attrName>ppt_w</p:attrName>
                                        </p:attrNameLst>
                                      </p:cBhvr>
                                      <p:tavLst>
                                        <p:tav tm="0">
                                          <p:val>
                                            <p:fltVal val="0"/>
                                          </p:val>
                                        </p:tav>
                                        <p:tav tm="100000">
                                          <p:val>
                                            <p:strVal val="#ppt_w"/>
                                          </p:val>
                                        </p:tav>
                                      </p:tavLst>
                                    </p:anim>
                                    <p:anim calcmode="lin" valueType="num">
                                      <p:cBhvr>
                                        <p:cTn id="54" dur="500" fill="hold"/>
                                        <p:tgtEl>
                                          <p:spTgt spid="10"/>
                                        </p:tgtEl>
                                        <p:attrNameLst>
                                          <p:attrName>ppt_h</p:attrName>
                                        </p:attrNameLst>
                                      </p:cBhvr>
                                      <p:tavLst>
                                        <p:tav tm="0">
                                          <p:val>
                                            <p:fltVal val="0"/>
                                          </p:val>
                                        </p:tav>
                                        <p:tav tm="100000">
                                          <p:val>
                                            <p:strVal val="#ppt_h"/>
                                          </p:val>
                                        </p:tav>
                                      </p:tavLst>
                                    </p:anim>
                                    <p:animEffect transition="in" filter="fade">
                                      <p:cBhvr>
                                        <p:cTn id="55" dur="500"/>
                                        <p:tgtEl>
                                          <p:spTgt spid="10"/>
                                        </p:tgtEl>
                                      </p:cBhvr>
                                    </p:animEffect>
                                  </p:childTnLst>
                                </p:cTn>
                              </p:par>
                              <p:par>
                                <p:cTn id="56" presetID="53" presetClass="entr" presetSubtype="16" fill="hold" nodeType="withEffect">
                                  <p:stCondLst>
                                    <p:cond delay="0"/>
                                  </p:stCondLst>
                                  <p:childTnLst>
                                    <p:set>
                                      <p:cBhvr>
                                        <p:cTn id="57" dur="1" fill="hold">
                                          <p:stCondLst>
                                            <p:cond delay="0"/>
                                          </p:stCondLst>
                                        </p:cTn>
                                        <p:tgtEl>
                                          <p:spTgt spid="11"/>
                                        </p:tgtEl>
                                        <p:attrNameLst>
                                          <p:attrName>style.visibility</p:attrName>
                                        </p:attrNameLst>
                                      </p:cBhvr>
                                      <p:to>
                                        <p:strVal val="visible"/>
                                      </p:to>
                                    </p:set>
                                    <p:anim calcmode="lin" valueType="num">
                                      <p:cBhvr>
                                        <p:cTn id="58" dur="500" fill="hold"/>
                                        <p:tgtEl>
                                          <p:spTgt spid="11"/>
                                        </p:tgtEl>
                                        <p:attrNameLst>
                                          <p:attrName>ppt_w</p:attrName>
                                        </p:attrNameLst>
                                      </p:cBhvr>
                                      <p:tavLst>
                                        <p:tav tm="0">
                                          <p:val>
                                            <p:fltVal val="0"/>
                                          </p:val>
                                        </p:tav>
                                        <p:tav tm="100000">
                                          <p:val>
                                            <p:strVal val="#ppt_w"/>
                                          </p:val>
                                        </p:tav>
                                      </p:tavLst>
                                    </p:anim>
                                    <p:anim calcmode="lin" valueType="num">
                                      <p:cBhvr>
                                        <p:cTn id="59" dur="500" fill="hold"/>
                                        <p:tgtEl>
                                          <p:spTgt spid="11"/>
                                        </p:tgtEl>
                                        <p:attrNameLst>
                                          <p:attrName>ppt_h</p:attrName>
                                        </p:attrNameLst>
                                      </p:cBhvr>
                                      <p:tavLst>
                                        <p:tav tm="0">
                                          <p:val>
                                            <p:fltVal val="0"/>
                                          </p:val>
                                        </p:tav>
                                        <p:tav tm="100000">
                                          <p:val>
                                            <p:strVal val="#ppt_h"/>
                                          </p:val>
                                        </p:tav>
                                      </p:tavLst>
                                    </p:anim>
                                    <p:animEffect transition="in" filter="fade">
                                      <p:cBhvr>
                                        <p:cTn id="60" dur="500"/>
                                        <p:tgtEl>
                                          <p:spTgt spid="11"/>
                                        </p:tgtEl>
                                      </p:cBhvr>
                                    </p:animEffect>
                                  </p:childTnLst>
                                </p:cTn>
                              </p:par>
                              <p:par>
                                <p:cTn id="61" presetID="53" presetClass="entr" presetSubtype="16" fill="hold" nodeType="withEffect">
                                  <p:stCondLst>
                                    <p:cond delay="0"/>
                                  </p:stCondLst>
                                  <p:childTnLst>
                                    <p:set>
                                      <p:cBhvr>
                                        <p:cTn id="62" dur="1" fill="hold">
                                          <p:stCondLst>
                                            <p:cond delay="0"/>
                                          </p:stCondLst>
                                        </p:cTn>
                                        <p:tgtEl>
                                          <p:spTgt spid="13"/>
                                        </p:tgtEl>
                                        <p:attrNameLst>
                                          <p:attrName>style.visibility</p:attrName>
                                        </p:attrNameLst>
                                      </p:cBhvr>
                                      <p:to>
                                        <p:strVal val="visible"/>
                                      </p:to>
                                    </p:set>
                                    <p:anim calcmode="lin" valueType="num">
                                      <p:cBhvr>
                                        <p:cTn id="63" dur="500" fill="hold"/>
                                        <p:tgtEl>
                                          <p:spTgt spid="13"/>
                                        </p:tgtEl>
                                        <p:attrNameLst>
                                          <p:attrName>ppt_w</p:attrName>
                                        </p:attrNameLst>
                                      </p:cBhvr>
                                      <p:tavLst>
                                        <p:tav tm="0">
                                          <p:val>
                                            <p:fltVal val="0"/>
                                          </p:val>
                                        </p:tav>
                                        <p:tav tm="100000">
                                          <p:val>
                                            <p:strVal val="#ppt_w"/>
                                          </p:val>
                                        </p:tav>
                                      </p:tavLst>
                                    </p:anim>
                                    <p:anim calcmode="lin" valueType="num">
                                      <p:cBhvr>
                                        <p:cTn id="64" dur="500" fill="hold"/>
                                        <p:tgtEl>
                                          <p:spTgt spid="13"/>
                                        </p:tgtEl>
                                        <p:attrNameLst>
                                          <p:attrName>ppt_h</p:attrName>
                                        </p:attrNameLst>
                                      </p:cBhvr>
                                      <p:tavLst>
                                        <p:tav tm="0">
                                          <p:val>
                                            <p:fltVal val="0"/>
                                          </p:val>
                                        </p:tav>
                                        <p:tav tm="100000">
                                          <p:val>
                                            <p:strVal val="#ppt_h"/>
                                          </p:val>
                                        </p:tav>
                                      </p:tavLst>
                                    </p:anim>
                                    <p:animEffect transition="in" filter="fade">
                                      <p:cBhvr>
                                        <p:cTn id="65" dur="500"/>
                                        <p:tgtEl>
                                          <p:spTgt spid="13"/>
                                        </p:tgtEl>
                                      </p:cBhvr>
                                    </p:animEffect>
                                  </p:childTnLst>
                                </p:cTn>
                              </p:par>
                            </p:childTnLst>
                          </p:cTn>
                        </p:par>
                        <p:par>
                          <p:cTn id="66" fill="hold" nodeType="afterGroup">
                            <p:stCondLst>
                              <p:cond delay="2300"/>
                            </p:stCondLst>
                            <p:childTnLst>
                              <p:par>
                                <p:cTn id="67" presetID="42" presetClass="entr" presetSubtype="0" fill="hold" grpId="0" nodeType="afterEffect">
                                  <p:stCondLst>
                                    <p:cond delay="0"/>
                                  </p:stCondLst>
                                  <p:childTnLst>
                                    <p:set>
                                      <p:cBhvr>
                                        <p:cTn id="68" dur="1" fill="hold">
                                          <p:stCondLst>
                                            <p:cond delay="0"/>
                                          </p:stCondLst>
                                        </p:cTn>
                                        <p:tgtEl>
                                          <p:spTgt spid="35"/>
                                        </p:tgtEl>
                                        <p:attrNameLst>
                                          <p:attrName>style.visibility</p:attrName>
                                        </p:attrNameLst>
                                      </p:cBhvr>
                                      <p:to>
                                        <p:strVal val="visible"/>
                                      </p:to>
                                    </p:set>
                                    <p:animEffect transition="in" filter="fade">
                                      <p:cBhvr>
                                        <p:cTn id="69" dur="500"/>
                                        <p:tgtEl>
                                          <p:spTgt spid="35"/>
                                        </p:tgtEl>
                                      </p:cBhvr>
                                    </p:animEffect>
                                    <p:anim calcmode="lin" valueType="num">
                                      <p:cBhvr>
                                        <p:cTn id="70" dur="500" fill="hold"/>
                                        <p:tgtEl>
                                          <p:spTgt spid="35"/>
                                        </p:tgtEl>
                                        <p:attrNameLst>
                                          <p:attrName>ppt_x</p:attrName>
                                        </p:attrNameLst>
                                      </p:cBhvr>
                                      <p:tavLst>
                                        <p:tav tm="0">
                                          <p:val>
                                            <p:strVal val="#ppt_x"/>
                                          </p:val>
                                        </p:tav>
                                        <p:tav tm="100000">
                                          <p:val>
                                            <p:strVal val="#ppt_x"/>
                                          </p:val>
                                        </p:tav>
                                      </p:tavLst>
                                    </p:anim>
                                    <p:anim calcmode="lin" valueType="num">
                                      <p:cBhvr>
                                        <p:cTn id="71" dur="500" fill="hold"/>
                                        <p:tgtEl>
                                          <p:spTgt spid="35"/>
                                        </p:tgtEl>
                                        <p:attrNameLst>
                                          <p:attrName>ppt_y</p:attrName>
                                        </p:attrNameLst>
                                      </p:cBhvr>
                                      <p:tavLst>
                                        <p:tav tm="0">
                                          <p:val>
                                            <p:strVal val="#ppt_y+.1"/>
                                          </p:val>
                                        </p:tav>
                                        <p:tav tm="100000">
                                          <p:val>
                                            <p:strVal val="#ppt_y"/>
                                          </p:val>
                                        </p:tav>
                                      </p:tavLst>
                                    </p:anim>
                                  </p:childTnLst>
                                </p:cTn>
                              </p:par>
                            </p:childTnLst>
                          </p:cTn>
                        </p:par>
                        <p:par>
                          <p:cTn id="72" fill="hold" nodeType="afterGroup">
                            <p:stCondLst>
                              <p:cond delay="2800"/>
                            </p:stCondLst>
                            <p:childTnLst>
                              <p:par>
                                <p:cTn id="73" presetID="42" presetClass="entr" presetSubtype="0" fill="hold" grpId="0" nodeType="afterEffect">
                                  <p:stCondLst>
                                    <p:cond delay="0"/>
                                  </p:stCondLst>
                                  <p:childTnLst>
                                    <p:set>
                                      <p:cBhvr>
                                        <p:cTn id="74" dur="1" fill="hold">
                                          <p:stCondLst>
                                            <p:cond delay="0"/>
                                          </p:stCondLst>
                                        </p:cTn>
                                        <p:tgtEl>
                                          <p:spTgt spid="41"/>
                                        </p:tgtEl>
                                        <p:attrNameLst>
                                          <p:attrName>style.visibility</p:attrName>
                                        </p:attrNameLst>
                                      </p:cBhvr>
                                      <p:to>
                                        <p:strVal val="visible"/>
                                      </p:to>
                                    </p:set>
                                    <p:animEffect transition="in" filter="fade">
                                      <p:cBhvr>
                                        <p:cTn id="75" dur="500"/>
                                        <p:tgtEl>
                                          <p:spTgt spid="41"/>
                                        </p:tgtEl>
                                      </p:cBhvr>
                                    </p:animEffect>
                                    <p:anim calcmode="lin" valueType="num">
                                      <p:cBhvr>
                                        <p:cTn id="76" dur="500" fill="hold"/>
                                        <p:tgtEl>
                                          <p:spTgt spid="41"/>
                                        </p:tgtEl>
                                        <p:attrNameLst>
                                          <p:attrName>ppt_x</p:attrName>
                                        </p:attrNameLst>
                                      </p:cBhvr>
                                      <p:tavLst>
                                        <p:tav tm="0">
                                          <p:val>
                                            <p:strVal val="#ppt_x"/>
                                          </p:val>
                                        </p:tav>
                                        <p:tav tm="100000">
                                          <p:val>
                                            <p:strVal val="#ppt_x"/>
                                          </p:val>
                                        </p:tav>
                                      </p:tavLst>
                                    </p:anim>
                                    <p:anim calcmode="lin" valueType="num">
                                      <p:cBhvr>
                                        <p:cTn id="77" dur="500" fill="hold"/>
                                        <p:tgtEl>
                                          <p:spTgt spid="41"/>
                                        </p:tgtEl>
                                        <p:attrNameLst>
                                          <p:attrName>ppt_y</p:attrName>
                                        </p:attrNameLst>
                                      </p:cBhvr>
                                      <p:tavLst>
                                        <p:tav tm="0">
                                          <p:val>
                                            <p:strVal val="#ppt_y+.1"/>
                                          </p:val>
                                        </p:tav>
                                        <p:tav tm="100000">
                                          <p:val>
                                            <p:strVal val="#ppt_y"/>
                                          </p:val>
                                        </p:tav>
                                      </p:tavLst>
                                    </p:anim>
                                  </p:childTnLst>
                                </p:cTn>
                              </p:par>
                            </p:childTnLst>
                          </p:cTn>
                        </p:par>
                        <p:par>
                          <p:cTn id="78" fill="hold" nodeType="afterGroup">
                            <p:stCondLst>
                              <p:cond delay="3300"/>
                            </p:stCondLst>
                            <p:childTnLst>
                              <p:par>
                                <p:cTn id="79" presetID="42" presetClass="entr" presetSubtype="0" fill="hold" grpId="0" nodeType="afterEffect">
                                  <p:stCondLst>
                                    <p:cond delay="0"/>
                                  </p:stCondLst>
                                  <p:childTnLst>
                                    <p:set>
                                      <p:cBhvr>
                                        <p:cTn id="80" dur="1" fill="hold">
                                          <p:stCondLst>
                                            <p:cond delay="0"/>
                                          </p:stCondLst>
                                        </p:cTn>
                                        <p:tgtEl>
                                          <p:spTgt spid="42"/>
                                        </p:tgtEl>
                                        <p:attrNameLst>
                                          <p:attrName>style.visibility</p:attrName>
                                        </p:attrNameLst>
                                      </p:cBhvr>
                                      <p:to>
                                        <p:strVal val="visible"/>
                                      </p:to>
                                    </p:set>
                                    <p:animEffect transition="in" filter="fade">
                                      <p:cBhvr>
                                        <p:cTn id="81" dur="500"/>
                                        <p:tgtEl>
                                          <p:spTgt spid="42"/>
                                        </p:tgtEl>
                                      </p:cBhvr>
                                    </p:animEffect>
                                    <p:anim calcmode="lin" valueType="num">
                                      <p:cBhvr>
                                        <p:cTn id="82" dur="500" fill="hold"/>
                                        <p:tgtEl>
                                          <p:spTgt spid="42"/>
                                        </p:tgtEl>
                                        <p:attrNameLst>
                                          <p:attrName>ppt_x</p:attrName>
                                        </p:attrNameLst>
                                      </p:cBhvr>
                                      <p:tavLst>
                                        <p:tav tm="0">
                                          <p:val>
                                            <p:strVal val="#ppt_x"/>
                                          </p:val>
                                        </p:tav>
                                        <p:tav tm="100000">
                                          <p:val>
                                            <p:strVal val="#ppt_x"/>
                                          </p:val>
                                        </p:tav>
                                      </p:tavLst>
                                    </p:anim>
                                    <p:anim calcmode="lin" valueType="num">
                                      <p:cBhvr>
                                        <p:cTn id="83" dur="500" fill="hold"/>
                                        <p:tgtEl>
                                          <p:spTgt spid="42"/>
                                        </p:tgtEl>
                                        <p:attrNameLst>
                                          <p:attrName>ppt_y</p:attrName>
                                        </p:attrNameLst>
                                      </p:cBhvr>
                                      <p:tavLst>
                                        <p:tav tm="0">
                                          <p:val>
                                            <p:strVal val="#ppt_y+.1"/>
                                          </p:val>
                                        </p:tav>
                                        <p:tav tm="100000">
                                          <p:val>
                                            <p:strVal val="#ppt_y"/>
                                          </p:val>
                                        </p:tav>
                                      </p:tavLst>
                                    </p:anim>
                                  </p:childTnLst>
                                </p:cTn>
                              </p:par>
                            </p:childTnLst>
                          </p:cTn>
                        </p:par>
                        <p:par>
                          <p:cTn id="84" fill="hold" nodeType="afterGroup">
                            <p:stCondLst>
                              <p:cond delay="3800"/>
                            </p:stCondLst>
                            <p:childTnLst>
                              <p:par>
                                <p:cTn id="85" presetID="42" presetClass="entr" presetSubtype="0" fill="hold" grpId="0" nodeType="afterEffect">
                                  <p:stCondLst>
                                    <p:cond delay="0"/>
                                  </p:stCondLst>
                                  <p:childTnLst>
                                    <p:set>
                                      <p:cBhvr>
                                        <p:cTn id="86" dur="1" fill="hold">
                                          <p:stCondLst>
                                            <p:cond delay="0"/>
                                          </p:stCondLst>
                                        </p:cTn>
                                        <p:tgtEl>
                                          <p:spTgt spid="43"/>
                                        </p:tgtEl>
                                        <p:attrNameLst>
                                          <p:attrName>style.visibility</p:attrName>
                                        </p:attrNameLst>
                                      </p:cBhvr>
                                      <p:to>
                                        <p:strVal val="visible"/>
                                      </p:to>
                                    </p:set>
                                    <p:animEffect transition="in" filter="fade">
                                      <p:cBhvr>
                                        <p:cTn id="87" dur="500"/>
                                        <p:tgtEl>
                                          <p:spTgt spid="43"/>
                                        </p:tgtEl>
                                      </p:cBhvr>
                                    </p:animEffect>
                                    <p:anim calcmode="lin" valueType="num">
                                      <p:cBhvr>
                                        <p:cTn id="88" dur="500" fill="hold"/>
                                        <p:tgtEl>
                                          <p:spTgt spid="43"/>
                                        </p:tgtEl>
                                        <p:attrNameLst>
                                          <p:attrName>ppt_x</p:attrName>
                                        </p:attrNameLst>
                                      </p:cBhvr>
                                      <p:tavLst>
                                        <p:tav tm="0">
                                          <p:val>
                                            <p:strVal val="#ppt_x"/>
                                          </p:val>
                                        </p:tav>
                                        <p:tav tm="100000">
                                          <p:val>
                                            <p:strVal val="#ppt_x"/>
                                          </p:val>
                                        </p:tav>
                                      </p:tavLst>
                                    </p:anim>
                                    <p:anim calcmode="lin" valueType="num">
                                      <p:cBhvr>
                                        <p:cTn id="89" dur="500" fill="hold"/>
                                        <p:tgtEl>
                                          <p:spTgt spid="43"/>
                                        </p:tgtEl>
                                        <p:attrNameLst>
                                          <p:attrName>ppt_y</p:attrName>
                                        </p:attrNameLst>
                                      </p:cBhvr>
                                      <p:tavLst>
                                        <p:tav tm="0">
                                          <p:val>
                                            <p:strVal val="#ppt_y+.1"/>
                                          </p:val>
                                        </p:tav>
                                        <p:tav tm="100000">
                                          <p:val>
                                            <p:strVal val="#ppt_y"/>
                                          </p:val>
                                        </p:tav>
                                      </p:tavLst>
                                    </p:anim>
                                  </p:childTnLst>
                                </p:cTn>
                              </p:par>
                            </p:childTnLst>
                          </p:cTn>
                        </p:par>
                        <p:par>
                          <p:cTn id="90" fill="hold" nodeType="afterGroup">
                            <p:stCondLst>
                              <p:cond delay="4300"/>
                            </p:stCondLst>
                            <p:childTnLst>
                              <p:par>
                                <p:cTn id="91" presetID="42" presetClass="entr" presetSubtype="0" fill="hold" grpId="0" nodeType="afterEffect">
                                  <p:stCondLst>
                                    <p:cond delay="0"/>
                                  </p:stCondLst>
                                  <p:childTnLst>
                                    <p:set>
                                      <p:cBhvr>
                                        <p:cTn id="92" dur="1" fill="hold">
                                          <p:stCondLst>
                                            <p:cond delay="0"/>
                                          </p:stCondLst>
                                        </p:cTn>
                                        <p:tgtEl>
                                          <p:spTgt spid="45"/>
                                        </p:tgtEl>
                                        <p:attrNameLst>
                                          <p:attrName>style.visibility</p:attrName>
                                        </p:attrNameLst>
                                      </p:cBhvr>
                                      <p:to>
                                        <p:strVal val="visible"/>
                                      </p:to>
                                    </p:set>
                                    <p:animEffect transition="in" filter="fade">
                                      <p:cBhvr>
                                        <p:cTn id="93" dur="500"/>
                                        <p:tgtEl>
                                          <p:spTgt spid="45"/>
                                        </p:tgtEl>
                                      </p:cBhvr>
                                    </p:animEffect>
                                    <p:anim calcmode="lin" valueType="num">
                                      <p:cBhvr>
                                        <p:cTn id="94" dur="500" fill="hold"/>
                                        <p:tgtEl>
                                          <p:spTgt spid="45"/>
                                        </p:tgtEl>
                                        <p:attrNameLst>
                                          <p:attrName>ppt_x</p:attrName>
                                        </p:attrNameLst>
                                      </p:cBhvr>
                                      <p:tavLst>
                                        <p:tav tm="0">
                                          <p:val>
                                            <p:strVal val="#ppt_x"/>
                                          </p:val>
                                        </p:tav>
                                        <p:tav tm="100000">
                                          <p:val>
                                            <p:strVal val="#ppt_x"/>
                                          </p:val>
                                        </p:tav>
                                      </p:tavLst>
                                    </p:anim>
                                    <p:anim calcmode="lin" valueType="num">
                                      <p:cBhvr>
                                        <p:cTn id="95" dur="500" fill="hold"/>
                                        <p:tgtEl>
                                          <p:spTgt spid="45"/>
                                        </p:tgtEl>
                                        <p:attrNameLst>
                                          <p:attrName>ppt_y</p:attrName>
                                        </p:attrNameLst>
                                      </p:cBhvr>
                                      <p:tavLst>
                                        <p:tav tm="0">
                                          <p:val>
                                            <p:strVal val="#ppt_y+.1"/>
                                          </p:val>
                                        </p:tav>
                                        <p:tav tm="100000">
                                          <p:val>
                                            <p:strVal val="#ppt_y"/>
                                          </p:val>
                                        </p:tav>
                                      </p:tavLst>
                                    </p:anim>
                                  </p:childTnLst>
                                </p:cTn>
                              </p:par>
                            </p:childTnLst>
                          </p:cTn>
                        </p:par>
                        <p:par>
                          <p:cTn id="96" fill="hold" nodeType="afterGroup">
                            <p:stCondLst>
                              <p:cond delay="4800"/>
                            </p:stCondLst>
                            <p:childTnLst>
                              <p:par>
                                <p:cTn id="97" presetID="42" presetClass="entr" presetSubtype="0" fill="hold" grpId="0" nodeType="afterEffect">
                                  <p:stCondLst>
                                    <p:cond delay="0"/>
                                  </p:stCondLst>
                                  <p:childTnLst>
                                    <p:set>
                                      <p:cBhvr>
                                        <p:cTn id="98" dur="1" fill="hold">
                                          <p:stCondLst>
                                            <p:cond delay="0"/>
                                          </p:stCondLst>
                                        </p:cTn>
                                        <p:tgtEl>
                                          <p:spTgt spid="44"/>
                                        </p:tgtEl>
                                        <p:attrNameLst>
                                          <p:attrName>style.visibility</p:attrName>
                                        </p:attrNameLst>
                                      </p:cBhvr>
                                      <p:to>
                                        <p:strVal val="visible"/>
                                      </p:to>
                                    </p:set>
                                    <p:animEffect transition="in" filter="fade">
                                      <p:cBhvr>
                                        <p:cTn id="99" dur="500"/>
                                        <p:tgtEl>
                                          <p:spTgt spid="44"/>
                                        </p:tgtEl>
                                      </p:cBhvr>
                                    </p:animEffect>
                                    <p:anim calcmode="lin" valueType="num">
                                      <p:cBhvr>
                                        <p:cTn id="100" dur="500" fill="hold"/>
                                        <p:tgtEl>
                                          <p:spTgt spid="44"/>
                                        </p:tgtEl>
                                        <p:attrNameLst>
                                          <p:attrName>ppt_x</p:attrName>
                                        </p:attrNameLst>
                                      </p:cBhvr>
                                      <p:tavLst>
                                        <p:tav tm="0">
                                          <p:val>
                                            <p:strVal val="#ppt_x"/>
                                          </p:val>
                                        </p:tav>
                                        <p:tav tm="100000">
                                          <p:val>
                                            <p:strVal val="#ppt_x"/>
                                          </p:val>
                                        </p:tav>
                                      </p:tavLst>
                                    </p:anim>
                                    <p:anim calcmode="lin" valueType="num">
                                      <p:cBhvr>
                                        <p:cTn id="101" dur="500" fill="hold"/>
                                        <p:tgtEl>
                                          <p:spTgt spid="4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41" grpId="0"/>
      <p:bldP spid="42" grpId="0"/>
      <p:bldP spid="43" grpId="0"/>
      <p:bldP spid="44" grpId="0"/>
      <p:bldP spid="4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a:extLst>
              <a:ext uri="{FF2B5EF4-FFF2-40B4-BE49-F238E27FC236}">
                <a16:creationId xmlns:a16="http://schemas.microsoft.com/office/drawing/2014/main" id="{64FE567C-88F1-4D21-8B4D-98B03E7AC028}"/>
              </a:ext>
            </a:extLst>
          </p:cNvPr>
          <p:cNvGrpSpPr>
            <a:grpSpLocks/>
          </p:cNvGrpSpPr>
          <p:nvPr/>
        </p:nvGrpSpPr>
        <p:grpSpPr bwMode="auto">
          <a:xfrm>
            <a:off x="1571625" y="3927475"/>
            <a:ext cx="9048750" cy="1571625"/>
            <a:chOff x="1571045" y="3927935"/>
            <a:chExt cx="9049909" cy="1571165"/>
          </a:xfrm>
        </p:grpSpPr>
        <p:sp>
          <p:nvSpPr>
            <p:cNvPr id="20495" name="Rectangle 5">
              <a:extLst>
                <a:ext uri="{FF2B5EF4-FFF2-40B4-BE49-F238E27FC236}">
                  <a16:creationId xmlns:a16="http://schemas.microsoft.com/office/drawing/2014/main" id="{7D643859-C68C-4A1B-A240-AE1FADD4BD9A}"/>
                </a:ext>
              </a:extLst>
            </p:cNvPr>
            <p:cNvSpPr>
              <a:spLocks noChangeArrowheads="1"/>
            </p:cNvSpPr>
            <p:nvPr/>
          </p:nvSpPr>
          <p:spPr bwMode="auto">
            <a:xfrm rot="-5400000">
              <a:off x="8626499" y="3112779"/>
              <a:ext cx="1160814" cy="2828097"/>
            </a:xfrm>
            <a:prstGeom prst="rect">
              <a:avLst/>
            </a:prstGeom>
            <a:solidFill>
              <a:srgbClr val="29292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endParaRPr lang="zh-CN" altLang="en-US" sz="1600"/>
            </a:p>
          </p:txBody>
        </p:sp>
        <p:sp>
          <p:nvSpPr>
            <p:cNvPr id="20496" name="Freeform 7">
              <a:extLst>
                <a:ext uri="{FF2B5EF4-FFF2-40B4-BE49-F238E27FC236}">
                  <a16:creationId xmlns:a16="http://schemas.microsoft.com/office/drawing/2014/main" id="{3C9BCD8D-4640-4C8F-AEA6-F9FEEECB1972}"/>
                </a:ext>
              </a:extLst>
            </p:cNvPr>
            <p:cNvSpPr>
              <a:spLocks/>
            </p:cNvSpPr>
            <p:nvPr/>
          </p:nvSpPr>
          <p:spPr bwMode="auto">
            <a:xfrm rot="-5400000">
              <a:off x="6559956" y="4266198"/>
              <a:ext cx="1571165" cy="894639"/>
            </a:xfrm>
            <a:custGeom>
              <a:avLst/>
              <a:gdLst>
                <a:gd name="T0" fmla="*/ 2147483646 w 425"/>
                <a:gd name="T1" fmla="*/ 0 h 242"/>
                <a:gd name="T2" fmla="*/ 0 w 425"/>
                <a:gd name="T3" fmla="*/ 0 h 242"/>
                <a:gd name="T4" fmla="*/ 1448676977 w 425"/>
                <a:gd name="T5" fmla="*/ 2147483646 h 242"/>
                <a:gd name="T6" fmla="*/ 2147483646 w 425"/>
                <a:gd name="T7" fmla="*/ 2147483646 h 242"/>
                <a:gd name="T8" fmla="*/ 2147483646 w 425"/>
                <a:gd name="T9" fmla="*/ 0 h 2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5" h="242">
                  <a:moveTo>
                    <a:pt x="425" y="0"/>
                  </a:moveTo>
                  <a:lnTo>
                    <a:pt x="0" y="0"/>
                  </a:lnTo>
                  <a:lnTo>
                    <a:pt x="106" y="242"/>
                  </a:lnTo>
                  <a:lnTo>
                    <a:pt x="420" y="242"/>
                  </a:lnTo>
                  <a:lnTo>
                    <a:pt x="425" y="0"/>
                  </a:lnTo>
                  <a:close/>
                </a:path>
              </a:pathLst>
            </a:custGeom>
            <a:solidFill>
              <a:srgbClr val="29292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0497" name="Rectangle 9">
              <a:extLst>
                <a:ext uri="{FF2B5EF4-FFF2-40B4-BE49-F238E27FC236}">
                  <a16:creationId xmlns:a16="http://schemas.microsoft.com/office/drawing/2014/main" id="{A84A288D-9057-4B64-AE70-40F14F967212}"/>
                </a:ext>
              </a:extLst>
            </p:cNvPr>
            <p:cNvSpPr>
              <a:spLocks noChangeArrowheads="1"/>
            </p:cNvSpPr>
            <p:nvPr/>
          </p:nvSpPr>
          <p:spPr bwMode="auto">
            <a:xfrm rot="-5400000">
              <a:off x="2400990" y="3116476"/>
              <a:ext cx="1164510" cy="2824400"/>
            </a:xfrm>
            <a:prstGeom prst="rect">
              <a:avLst/>
            </a:prstGeom>
            <a:solidFill>
              <a:srgbClr val="29292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endParaRPr lang="zh-CN" altLang="en-US" sz="1600"/>
            </a:p>
          </p:txBody>
        </p:sp>
        <p:sp>
          <p:nvSpPr>
            <p:cNvPr id="20498" name="Freeform 11">
              <a:extLst>
                <a:ext uri="{FF2B5EF4-FFF2-40B4-BE49-F238E27FC236}">
                  <a16:creationId xmlns:a16="http://schemas.microsoft.com/office/drawing/2014/main" id="{EE0D04D7-B96B-4EF5-A62F-3CC7D089F362}"/>
                </a:ext>
              </a:extLst>
            </p:cNvPr>
            <p:cNvSpPr>
              <a:spLocks/>
            </p:cNvSpPr>
            <p:nvPr/>
          </p:nvSpPr>
          <p:spPr bwMode="auto">
            <a:xfrm rot="-5400000">
              <a:off x="4064576" y="4266198"/>
              <a:ext cx="1563771" cy="902033"/>
            </a:xfrm>
            <a:custGeom>
              <a:avLst/>
              <a:gdLst>
                <a:gd name="T0" fmla="*/ 2147483646 w 423"/>
                <a:gd name="T1" fmla="*/ 2147483646 h 244"/>
                <a:gd name="T2" fmla="*/ 0 w 423"/>
                <a:gd name="T3" fmla="*/ 2147483646 h 244"/>
                <a:gd name="T4" fmla="*/ 1435009430 w 423"/>
                <a:gd name="T5" fmla="*/ 0 h 244"/>
                <a:gd name="T6" fmla="*/ 2147483646 w 423"/>
                <a:gd name="T7" fmla="*/ 0 h 244"/>
                <a:gd name="T8" fmla="*/ 2147483646 w 423"/>
                <a:gd name="T9" fmla="*/ 2147483646 h 24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3" h="244">
                  <a:moveTo>
                    <a:pt x="423" y="244"/>
                  </a:moveTo>
                  <a:lnTo>
                    <a:pt x="0" y="244"/>
                  </a:lnTo>
                  <a:lnTo>
                    <a:pt x="105" y="0"/>
                  </a:lnTo>
                  <a:lnTo>
                    <a:pt x="420" y="0"/>
                  </a:lnTo>
                  <a:lnTo>
                    <a:pt x="423" y="244"/>
                  </a:lnTo>
                  <a:close/>
                </a:path>
              </a:pathLst>
            </a:custGeom>
            <a:solidFill>
              <a:srgbClr val="29292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0499" name="Rectangle 13">
              <a:extLst>
                <a:ext uri="{FF2B5EF4-FFF2-40B4-BE49-F238E27FC236}">
                  <a16:creationId xmlns:a16="http://schemas.microsoft.com/office/drawing/2014/main" id="{3961DFFE-D50F-4152-A83B-E9322597B026}"/>
                </a:ext>
              </a:extLst>
            </p:cNvPr>
            <p:cNvSpPr>
              <a:spLocks noChangeArrowheads="1"/>
            </p:cNvSpPr>
            <p:nvPr/>
          </p:nvSpPr>
          <p:spPr bwMode="auto">
            <a:xfrm rot="-5400000">
              <a:off x="5321508" y="3922390"/>
              <a:ext cx="1552680" cy="1600740"/>
            </a:xfrm>
            <a:prstGeom prst="rect">
              <a:avLst/>
            </a:prstGeom>
            <a:solidFill>
              <a:srgbClr val="29292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endParaRPr lang="zh-CN" altLang="en-US" sz="1600"/>
            </a:p>
          </p:txBody>
        </p:sp>
        <p:sp>
          <p:nvSpPr>
            <p:cNvPr id="20500" name="Freeform 21">
              <a:extLst>
                <a:ext uri="{FF2B5EF4-FFF2-40B4-BE49-F238E27FC236}">
                  <a16:creationId xmlns:a16="http://schemas.microsoft.com/office/drawing/2014/main" id="{B74086DA-FDF4-428B-8B09-82122282CD69}"/>
                </a:ext>
              </a:extLst>
            </p:cNvPr>
            <p:cNvSpPr>
              <a:spLocks/>
            </p:cNvSpPr>
            <p:nvPr/>
          </p:nvSpPr>
          <p:spPr bwMode="auto">
            <a:xfrm>
              <a:off x="5308570" y="4530523"/>
              <a:ext cx="218114" cy="218114"/>
            </a:xfrm>
            <a:custGeom>
              <a:avLst/>
              <a:gdLst>
                <a:gd name="T0" fmla="*/ 437333357 w 59"/>
                <a:gd name="T1" fmla="*/ 0 h 59"/>
                <a:gd name="T2" fmla="*/ 437333357 w 59"/>
                <a:gd name="T3" fmla="*/ 355333584 h 59"/>
                <a:gd name="T4" fmla="*/ 806334186 w 59"/>
                <a:gd name="T5" fmla="*/ 355333584 h 59"/>
                <a:gd name="T6" fmla="*/ 806334186 w 59"/>
                <a:gd name="T7" fmla="*/ 451000602 h 59"/>
                <a:gd name="T8" fmla="*/ 437333357 w 59"/>
                <a:gd name="T9" fmla="*/ 451000602 h 59"/>
                <a:gd name="T10" fmla="*/ 437333357 w 59"/>
                <a:gd name="T11" fmla="*/ 806334186 h 59"/>
                <a:gd name="T12" fmla="*/ 369000829 w 59"/>
                <a:gd name="T13" fmla="*/ 806334186 h 59"/>
                <a:gd name="T14" fmla="*/ 369000829 w 59"/>
                <a:gd name="T15" fmla="*/ 451000602 h 59"/>
                <a:gd name="T16" fmla="*/ 0 w 59"/>
                <a:gd name="T17" fmla="*/ 451000602 h 59"/>
                <a:gd name="T18" fmla="*/ 0 w 59"/>
                <a:gd name="T19" fmla="*/ 355333584 h 59"/>
                <a:gd name="T20" fmla="*/ 369000829 w 59"/>
                <a:gd name="T21" fmla="*/ 355333584 h 59"/>
                <a:gd name="T22" fmla="*/ 369000829 w 59"/>
                <a:gd name="T23" fmla="*/ 0 h 59"/>
                <a:gd name="T24" fmla="*/ 437333357 w 59"/>
                <a:gd name="T25" fmla="*/ 0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9" h="59">
                  <a:moveTo>
                    <a:pt x="32" y="0"/>
                  </a:moveTo>
                  <a:lnTo>
                    <a:pt x="32" y="26"/>
                  </a:lnTo>
                  <a:lnTo>
                    <a:pt x="59" y="26"/>
                  </a:lnTo>
                  <a:lnTo>
                    <a:pt x="59" y="33"/>
                  </a:lnTo>
                  <a:lnTo>
                    <a:pt x="32" y="33"/>
                  </a:lnTo>
                  <a:lnTo>
                    <a:pt x="32" y="59"/>
                  </a:lnTo>
                  <a:lnTo>
                    <a:pt x="27" y="59"/>
                  </a:lnTo>
                  <a:lnTo>
                    <a:pt x="27" y="33"/>
                  </a:lnTo>
                  <a:lnTo>
                    <a:pt x="0" y="33"/>
                  </a:lnTo>
                  <a:lnTo>
                    <a:pt x="0" y="26"/>
                  </a:lnTo>
                  <a:lnTo>
                    <a:pt x="27" y="26"/>
                  </a:lnTo>
                  <a:lnTo>
                    <a:pt x="27" y="0"/>
                  </a:lnTo>
                  <a:lnTo>
                    <a:pt x="3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0501" name="TextBox 682">
              <a:extLst>
                <a:ext uri="{FF2B5EF4-FFF2-40B4-BE49-F238E27FC236}">
                  <a16:creationId xmlns:a16="http://schemas.microsoft.com/office/drawing/2014/main" id="{3AE85816-CE38-406D-8406-43B610582810}"/>
                </a:ext>
              </a:extLst>
            </p:cNvPr>
            <p:cNvSpPr txBox="1">
              <a:spLocks noChangeArrowheads="1"/>
            </p:cNvSpPr>
            <p:nvPr/>
          </p:nvSpPr>
          <p:spPr bwMode="auto">
            <a:xfrm>
              <a:off x="6550762" y="4436890"/>
              <a:ext cx="591829"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sz="2000" b="1">
                  <a:solidFill>
                    <a:schemeClr val="bg1"/>
                  </a:solidFill>
                  <a:latin typeface="Agency FB" panose="020B0503020202020204" pitchFamily="34" charset="0"/>
                </a:rPr>
                <a:t>60%</a:t>
              </a:r>
              <a:endParaRPr lang="zh-CN" altLang="en-US" sz="2000" b="1">
                <a:solidFill>
                  <a:schemeClr val="bg1"/>
                </a:solidFill>
                <a:latin typeface="Agency FB" panose="020B0503020202020204" pitchFamily="34" charset="0"/>
              </a:endParaRPr>
            </a:p>
          </p:txBody>
        </p:sp>
        <p:sp>
          <p:nvSpPr>
            <p:cNvPr id="20502" name="Freeform 8">
              <a:extLst>
                <a:ext uri="{FF2B5EF4-FFF2-40B4-BE49-F238E27FC236}">
                  <a16:creationId xmlns:a16="http://schemas.microsoft.com/office/drawing/2014/main" id="{802EDD65-E3EA-4E59-AF69-049CDDD97EA0}"/>
                </a:ext>
              </a:extLst>
            </p:cNvPr>
            <p:cNvSpPr>
              <a:spLocks noEditPoints="1"/>
            </p:cNvSpPr>
            <p:nvPr/>
          </p:nvSpPr>
          <p:spPr bwMode="auto">
            <a:xfrm>
              <a:off x="5832738" y="4391371"/>
              <a:ext cx="488078" cy="491147"/>
            </a:xfrm>
            <a:custGeom>
              <a:avLst/>
              <a:gdLst>
                <a:gd name="T0" fmla="*/ 268634048 w 263"/>
                <a:gd name="T1" fmla="*/ 0 h 264"/>
                <a:gd name="T2" fmla="*/ 637145929 w 263"/>
                <a:gd name="T3" fmla="*/ 0 h 264"/>
                <a:gd name="T4" fmla="*/ 716357462 w 263"/>
                <a:gd name="T5" fmla="*/ 79604883 h 264"/>
                <a:gd name="T6" fmla="*/ 716357462 w 263"/>
                <a:gd name="T7" fmla="*/ 394565919 h 264"/>
                <a:gd name="T8" fmla="*/ 823124061 w 263"/>
                <a:gd name="T9" fmla="*/ 394565919 h 264"/>
                <a:gd name="T10" fmla="*/ 895448684 w 263"/>
                <a:gd name="T11" fmla="*/ 443022036 h 264"/>
                <a:gd name="T12" fmla="*/ 878228624 w 263"/>
                <a:gd name="T13" fmla="*/ 529549486 h 264"/>
                <a:gd name="T14" fmla="*/ 509716743 w 263"/>
                <a:gd name="T15" fmla="*/ 889504425 h 264"/>
                <a:gd name="T16" fmla="*/ 454612180 w 263"/>
                <a:gd name="T17" fmla="*/ 913732483 h 264"/>
                <a:gd name="T18" fmla="*/ 396063234 w 263"/>
                <a:gd name="T19" fmla="*/ 889504425 h 264"/>
                <a:gd name="T20" fmla="*/ 27551354 w 263"/>
                <a:gd name="T21" fmla="*/ 529549486 h 264"/>
                <a:gd name="T22" fmla="*/ 13775677 w 263"/>
                <a:gd name="T23" fmla="*/ 443022036 h 264"/>
                <a:gd name="T24" fmla="*/ 86100300 w 263"/>
                <a:gd name="T25" fmla="*/ 394565919 h 264"/>
                <a:gd name="T26" fmla="*/ 189422515 w 263"/>
                <a:gd name="T27" fmla="*/ 394565919 h 264"/>
                <a:gd name="T28" fmla="*/ 189422515 w 263"/>
                <a:gd name="T29" fmla="*/ 79604883 h 264"/>
                <a:gd name="T30" fmla="*/ 268634048 w 263"/>
                <a:gd name="T31" fmla="*/ 0 h 264"/>
                <a:gd name="T32" fmla="*/ 454612180 w 263"/>
                <a:gd name="T33" fmla="*/ 861816013 h 264"/>
                <a:gd name="T34" fmla="*/ 471832240 w 263"/>
                <a:gd name="T35" fmla="*/ 851433091 h 264"/>
                <a:gd name="T36" fmla="*/ 843786648 w 263"/>
                <a:gd name="T37" fmla="*/ 491478152 h 264"/>
                <a:gd name="T38" fmla="*/ 847231031 w 263"/>
                <a:gd name="T39" fmla="*/ 463787880 h 264"/>
                <a:gd name="T40" fmla="*/ 823124061 w 263"/>
                <a:gd name="T41" fmla="*/ 449944604 h 264"/>
                <a:gd name="T42" fmla="*/ 664697283 w 263"/>
                <a:gd name="T43" fmla="*/ 449944604 h 264"/>
                <a:gd name="T44" fmla="*/ 664697283 w 263"/>
                <a:gd name="T45" fmla="*/ 79604883 h 264"/>
                <a:gd name="T46" fmla="*/ 637145929 w 263"/>
                <a:gd name="T47" fmla="*/ 51916470 h 264"/>
                <a:gd name="T48" fmla="*/ 268634048 w 263"/>
                <a:gd name="T49" fmla="*/ 51916470 h 264"/>
                <a:gd name="T50" fmla="*/ 244527078 w 263"/>
                <a:gd name="T51" fmla="*/ 79604883 h 264"/>
                <a:gd name="T52" fmla="*/ 244527078 w 263"/>
                <a:gd name="T53" fmla="*/ 449944604 h 264"/>
                <a:gd name="T54" fmla="*/ 86100300 w 263"/>
                <a:gd name="T55" fmla="*/ 449944604 h 264"/>
                <a:gd name="T56" fmla="*/ 61993329 w 263"/>
                <a:gd name="T57" fmla="*/ 463787880 h 264"/>
                <a:gd name="T58" fmla="*/ 65435857 w 263"/>
                <a:gd name="T59" fmla="*/ 491478152 h 264"/>
                <a:gd name="T60" fmla="*/ 433947737 w 263"/>
                <a:gd name="T61" fmla="*/ 851433091 h 264"/>
                <a:gd name="T62" fmla="*/ 454612180 w 263"/>
                <a:gd name="T63" fmla="*/ 861816013 h 26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63" h="264">
                  <a:moveTo>
                    <a:pt x="78" y="0"/>
                  </a:moveTo>
                  <a:cubicBezTo>
                    <a:pt x="185" y="0"/>
                    <a:pt x="185" y="0"/>
                    <a:pt x="185" y="0"/>
                  </a:cubicBezTo>
                  <a:cubicBezTo>
                    <a:pt x="198" y="0"/>
                    <a:pt x="208" y="10"/>
                    <a:pt x="208" y="23"/>
                  </a:cubicBezTo>
                  <a:cubicBezTo>
                    <a:pt x="208" y="114"/>
                    <a:pt x="208" y="114"/>
                    <a:pt x="208" y="114"/>
                  </a:cubicBezTo>
                  <a:cubicBezTo>
                    <a:pt x="239" y="114"/>
                    <a:pt x="239" y="114"/>
                    <a:pt x="239" y="114"/>
                  </a:cubicBezTo>
                  <a:cubicBezTo>
                    <a:pt x="248" y="114"/>
                    <a:pt x="256" y="120"/>
                    <a:pt x="260" y="128"/>
                  </a:cubicBezTo>
                  <a:cubicBezTo>
                    <a:pt x="263" y="136"/>
                    <a:pt x="262" y="146"/>
                    <a:pt x="255" y="153"/>
                  </a:cubicBezTo>
                  <a:cubicBezTo>
                    <a:pt x="148" y="257"/>
                    <a:pt x="148" y="257"/>
                    <a:pt x="148" y="257"/>
                  </a:cubicBezTo>
                  <a:cubicBezTo>
                    <a:pt x="144" y="262"/>
                    <a:pt x="138" y="264"/>
                    <a:pt x="132" y="264"/>
                  </a:cubicBezTo>
                  <a:cubicBezTo>
                    <a:pt x="125" y="264"/>
                    <a:pt x="119" y="262"/>
                    <a:pt x="115" y="257"/>
                  </a:cubicBezTo>
                  <a:cubicBezTo>
                    <a:pt x="8" y="153"/>
                    <a:pt x="8" y="153"/>
                    <a:pt x="8" y="153"/>
                  </a:cubicBezTo>
                  <a:cubicBezTo>
                    <a:pt x="2" y="146"/>
                    <a:pt x="0" y="136"/>
                    <a:pt x="4" y="128"/>
                  </a:cubicBezTo>
                  <a:cubicBezTo>
                    <a:pt x="8" y="120"/>
                    <a:pt x="16" y="114"/>
                    <a:pt x="25" y="114"/>
                  </a:cubicBezTo>
                  <a:cubicBezTo>
                    <a:pt x="55" y="114"/>
                    <a:pt x="55" y="114"/>
                    <a:pt x="55" y="114"/>
                  </a:cubicBezTo>
                  <a:cubicBezTo>
                    <a:pt x="55" y="23"/>
                    <a:pt x="55" y="23"/>
                    <a:pt x="55" y="23"/>
                  </a:cubicBezTo>
                  <a:cubicBezTo>
                    <a:pt x="55" y="10"/>
                    <a:pt x="66" y="0"/>
                    <a:pt x="78" y="0"/>
                  </a:cubicBezTo>
                  <a:close/>
                  <a:moveTo>
                    <a:pt x="132" y="249"/>
                  </a:moveTo>
                  <a:cubicBezTo>
                    <a:pt x="134" y="249"/>
                    <a:pt x="136" y="248"/>
                    <a:pt x="137" y="246"/>
                  </a:cubicBezTo>
                  <a:cubicBezTo>
                    <a:pt x="245" y="142"/>
                    <a:pt x="245" y="142"/>
                    <a:pt x="245" y="142"/>
                  </a:cubicBezTo>
                  <a:cubicBezTo>
                    <a:pt x="246" y="140"/>
                    <a:pt x="247" y="137"/>
                    <a:pt x="246" y="134"/>
                  </a:cubicBezTo>
                  <a:cubicBezTo>
                    <a:pt x="245" y="131"/>
                    <a:pt x="242" y="130"/>
                    <a:pt x="239" y="130"/>
                  </a:cubicBezTo>
                  <a:cubicBezTo>
                    <a:pt x="193" y="130"/>
                    <a:pt x="193" y="130"/>
                    <a:pt x="193" y="130"/>
                  </a:cubicBezTo>
                  <a:cubicBezTo>
                    <a:pt x="193" y="23"/>
                    <a:pt x="193" y="23"/>
                    <a:pt x="193" y="23"/>
                  </a:cubicBezTo>
                  <a:cubicBezTo>
                    <a:pt x="193" y="18"/>
                    <a:pt x="189" y="15"/>
                    <a:pt x="185" y="15"/>
                  </a:cubicBezTo>
                  <a:cubicBezTo>
                    <a:pt x="78" y="15"/>
                    <a:pt x="78" y="15"/>
                    <a:pt x="78" y="15"/>
                  </a:cubicBezTo>
                  <a:cubicBezTo>
                    <a:pt x="74" y="15"/>
                    <a:pt x="71" y="18"/>
                    <a:pt x="71" y="23"/>
                  </a:cubicBezTo>
                  <a:cubicBezTo>
                    <a:pt x="71" y="130"/>
                    <a:pt x="71" y="130"/>
                    <a:pt x="71" y="130"/>
                  </a:cubicBezTo>
                  <a:cubicBezTo>
                    <a:pt x="25" y="130"/>
                    <a:pt x="25" y="130"/>
                    <a:pt x="25" y="130"/>
                  </a:cubicBezTo>
                  <a:cubicBezTo>
                    <a:pt x="22" y="130"/>
                    <a:pt x="19" y="131"/>
                    <a:pt x="18" y="134"/>
                  </a:cubicBezTo>
                  <a:cubicBezTo>
                    <a:pt x="17" y="137"/>
                    <a:pt x="17" y="140"/>
                    <a:pt x="19" y="142"/>
                  </a:cubicBezTo>
                  <a:cubicBezTo>
                    <a:pt x="126" y="246"/>
                    <a:pt x="126" y="246"/>
                    <a:pt x="126" y="246"/>
                  </a:cubicBezTo>
                  <a:cubicBezTo>
                    <a:pt x="128" y="248"/>
                    <a:pt x="130" y="249"/>
                    <a:pt x="132" y="24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0503" name="文本框 56">
              <a:extLst>
                <a:ext uri="{FF2B5EF4-FFF2-40B4-BE49-F238E27FC236}">
                  <a16:creationId xmlns:a16="http://schemas.microsoft.com/office/drawing/2014/main" id="{6B1A5217-C4D2-48B4-AA42-E13A4A6F6A68}"/>
                </a:ext>
              </a:extLst>
            </p:cNvPr>
            <p:cNvSpPr txBox="1">
              <a:spLocks noChangeArrowheads="1"/>
            </p:cNvSpPr>
            <p:nvPr/>
          </p:nvSpPr>
          <p:spPr bwMode="auto">
            <a:xfrm>
              <a:off x="7746810" y="4126717"/>
              <a:ext cx="2697353" cy="800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sz="1800">
                  <a:solidFill>
                    <a:schemeClr val="bg1"/>
                  </a:solidFill>
                  <a:latin typeface="Impact" panose="020B0806030902050204" pitchFamily="34" charset="0"/>
                </a:rPr>
                <a:t>Click To Add Your Title</a:t>
              </a:r>
            </a:p>
            <a:p>
              <a:pPr eaLnBrk="1" hangingPunct="1">
                <a:lnSpc>
                  <a:spcPct val="100000"/>
                </a:lnSpc>
                <a:spcBef>
                  <a:spcPct val="0"/>
                </a:spcBef>
                <a:buFontTx/>
                <a:buNone/>
              </a:pPr>
              <a:r>
                <a:rPr lang="en-US" altLang="zh-CN" sz="1400">
                  <a:solidFill>
                    <a:schemeClr val="bg1"/>
                  </a:solidFill>
                </a:rPr>
                <a:t>click to add subtitle click to add subtitle click to add subtitle</a:t>
              </a:r>
              <a:endParaRPr lang="zh-CN" altLang="en-US" sz="1400">
                <a:solidFill>
                  <a:schemeClr val="bg1"/>
                </a:solidFill>
              </a:endParaRPr>
            </a:p>
          </p:txBody>
        </p:sp>
        <p:sp>
          <p:nvSpPr>
            <p:cNvPr id="20504" name="文本框 56">
              <a:extLst>
                <a:ext uri="{FF2B5EF4-FFF2-40B4-BE49-F238E27FC236}">
                  <a16:creationId xmlns:a16="http://schemas.microsoft.com/office/drawing/2014/main" id="{296DC6EA-6BEC-46E4-9F54-F6BF576B8B0C}"/>
                </a:ext>
              </a:extLst>
            </p:cNvPr>
            <p:cNvSpPr txBox="1">
              <a:spLocks noChangeArrowheads="1"/>
            </p:cNvSpPr>
            <p:nvPr/>
          </p:nvSpPr>
          <p:spPr bwMode="auto">
            <a:xfrm>
              <a:off x="1703639" y="4126717"/>
              <a:ext cx="2697353" cy="800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r" eaLnBrk="1" hangingPunct="1">
                <a:lnSpc>
                  <a:spcPct val="100000"/>
                </a:lnSpc>
                <a:spcBef>
                  <a:spcPct val="0"/>
                </a:spcBef>
                <a:buFontTx/>
                <a:buNone/>
              </a:pPr>
              <a:r>
                <a:rPr lang="en-US" altLang="zh-CN" sz="1800" dirty="0">
                  <a:solidFill>
                    <a:schemeClr val="bg1"/>
                  </a:solidFill>
                  <a:latin typeface="Impact" panose="020B0806030902050204" pitchFamily="34" charset="0"/>
                </a:rPr>
                <a:t>Click To Add Your Title</a:t>
              </a:r>
            </a:p>
            <a:p>
              <a:pPr algn="r" eaLnBrk="1" hangingPunct="1">
                <a:lnSpc>
                  <a:spcPct val="100000"/>
                </a:lnSpc>
                <a:spcBef>
                  <a:spcPct val="0"/>
                </a:spcBef>
                <a:buFontTx/>
                <a:buNone/>
              </a:pPr>
              <a:r>
                <a:rPr lang="en-US" altLang="zh-CN" sz="1400" dirty="0">
                  <a:solidFill>
                    <a:schemeClr val="bg1"/>
                  </a:solidFill>
                </a:rPr>
                <a:t>click to add subtitle click to add subtitle click to add subtitle</a:t>
              </a:r>
              <a:endParaRPr lang="zh-CN" altLang="en-US" sz="1400" dirty="0">
                <a:solidFill>
                  <a:schemeClr val="bg1"/>
                </a:solidFill>
              </a:endParaRPr>
            </a:p>
          </p:txBody>
        </p:sp>
      </p:grpSp>
      <p:sp>
        <p:nvSpPr>
          <p:cNvPr id="20483" name="文本框 56">
            <a:extLst>
              <a:ext uri="{FF2B5EF4-FFF2-40B4-BE49-F238E27FC236}">
                <a16:creationId xmlns:a16="http://schemas.microsoft.com/office/drawing/2014/main" id="{1215E37D-282D-4770-A652-5DB0B6D8CFCB}"/>
              </a:ext>
            </a:extLst>
          </p:cNvPr>
          <p:cNvSpPr txBox="1">
            <a:spLocks noChangeArrowheads="1"/>
          </p:cNvSpPr>
          <p:nvPr/>
        </p:nvSpPr>
        <p:spPr bwMode="auto">
          <a:xfrm>
            <a:off x="1154113" y="566738"/>
            <a:ext cx="509587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00000"/>
              </a:lnSpc>
              <a:spcBef>
                <a:spcPct val="0"/>
              </a:spcBef>
              <a:buFontTx/>
              <a:buNone/>
            </a:pPr>
            <a:r>
              <a:rPr lang="en-US" altLang="zh-CN" sz="3200" b="1">
                <a:solidFill>
                  <a:srgbClr val="C20F2A"/>
                </a:solidFill>
                <a:latin typeface="Agency FB" panose="020B0503020202020204" pitchFamily="34" charset="0"/>
              </a:rPr>
              <a:t>CLICK TO ADD YOUR TITLE IN HERE</a:t>
            </a:r>
          </a:p>
        </p:txBody>
      </p:sp>
      <p:grpSp>
        <p:nvGrpSpPr>
          <p:cNvPr id="2" name="组合 1">
            <a:extLst>
              <a:ext uri="{FF2B5EF4-FFF2-40B4-BE49-F238E27FC236}">
                <a16:creationId xmlns:a16="http://schemas.microsoft.com/office/drawing/2014/main" id="{F08DCFB5-489F-438F-8595-81E1F1FA4AC5}"/>
              </a:ext>
            </a:extLst>
          </p:cNvPr>
          <p:cNvGrpSpPr>
            <a:grpSpLocks/>
          </p:cNvGrpSpPr>
          <p:nvPr/>
        </p:nvGrpSpPr>
        <p:grpSpPr bwMode="auto">
          <a:xfrm>
            <a:off x="1571625" y="2374900"/>
            <a:ext cx="9048750" cy="1574800"/>
            <a:chOff x="1571046" y="2375254"/>
            <a:chExt cx="9049909" cy="1574863"/>
          </a:xfrm>
        </p:grpSpPr>
        <p:sp>
          <p:nvSpPr>
            <p:cNvPr id="20485" name="Rectangle 6">
              <a:extLst>
                <a:ext uri="{FF2B5EF4-FFF2-40B4-BE49-F238E27FC236}">
                  <a16:creationId xmlns:a16="http://schemas.microsoft.com/office/drawing/2014/main" id="{8FCBD9B8-8486-460B-A870-F2FE5F84555E}"/>
                </a:ext>
              </a:extLst>
            </p:cNvPr>
            <p:cNvSpPr>
              <a:spLocks noChangeArrowheads="1"/>
            </p:cNvSpPr>
            <p:nvPr/>
          </p:nvSpPr>
          <p:spPr bwMode="auto">
            <a:xfrm rot="-5400000">
              <a:off x="8622803" y="1951965"/>
              <a:ext cx="1168207" cy="2828097"/>
            </a:xfrm>
            <a:prstGeom prst="rect">
              <a:avLst/>
            </a:prstGeom>
            <a:solidFill>
              <a:srgbClr val="C20F2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endParaRPr lang="zh-CN" altLang="en-US" sz="1600"/>
            </a:p>
          </p:txBody>
        </p:sp>
        <p:sp>
          <p:nvSpPr>
            <p:cNvPr id="20486" name="Freeform 8">
              <a:extLst>
                <a:ext uri="{FF2B5EF4-FFF2-40B4-BE49-F238E27FC236}">
                  <a16:creationId xmlns:a16="http://schemas.microsoft.com/office/drawing/2014/main" id="{79D1FDB1-2474-4968-8C6E-410B4688A0FB}"/>
                </a:ext>
              </a:extLst>
            </p:cNvPr>
            <p:cNvSpPr>
              <a:spLocks/>
            </p:cNvSpPr>
            <p:nvPr/>
          </p:nvSpPr>
          <p:spPr bwMode="auto">
            <a:xfrm rot="-5400000">
              <a:off x="6558107" y="2715366"/>
              <a:ext cx="1574862" cy="894639"/>
            </a:xfrm>
            <a:custGeom>
              <a:avLst/>
              <a:gdLst>
                <a:gd name="T0" fmla="*/ 2147483646 w 426"/>
                <a:gd name="T1" fmla="*/ 0 h 242"/>
                <a:gd name="T2" fmla="*/ 41001865 w 426"/>
                <a:gd name="T3" fmla="*/ 0 h 242"/>
                <a:gd name="T4" fmla="*/ 0 w 426"/>
                <a:gd name="T5" fmla="*/ 2147483646 h 242"/>
                <a:gd name="T6" fmla="*/ 2147483646 w 426"/>
                <a:gd name="T7" fmla="*/ 2147483646 h 242"/>
                <a:gd name="T8" fmla="*/ 2147483646 w 426"/>
                <a:gd name="T9" fmla="*/ 0 h 24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6" h="242">
                  <a:moveTo>
                    <a:pt x="426" y="0"/>
                  </a:moveTo>
                  <a:lnTo>
                    <a:pt x="3" y="0"/>
                  </a:lnTo>
                  <a:lnTo>
                    <a:pt x="0" y="242"/>
                  </a:lnTo>
                  <a:lnTo>
                    <a:pt x="316" y="242"/>
                  </a:lnTo>
                  <a:lnTo>
                    <a:pt x="426" y="0"/>
                  </a:lnTo>
                  <a:close/>
                </a:path>
              </a:pathLst>
            </a:custGeom>
            <a:solidFill>
              <a:srgbClr val="C20F2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0487" name="Rectangle 10">
              <a:extLst>
                <a:ext uri="{FF2B5EF4-FFF2-40B4-BE49-F238E27FC236}">
                  <a16:creationId xmlns:a16="http://schemas.microsoft.com/office/drawing/2014/main" id="{A9D48838-1ED6-4439-A6EB-341AD05A51E8}"/>
                </a:ext>
              </a:extLst>
            </p:cNvPr>
            <p:cNvSpPr>
              <a:spLocks noChangeArrowheads="1"/>
            </p:cNvSpPr>
            <p:nvPr/>
          </p:nvSpPr>
          <p:spPr bwMode="auto">
            <a:xfrm rot="-5400000">
              <a:off x="2402839" y="1957510"/>
              <a:ext cx="1160814" cy="2824400"/>
            </a:xfrm>
            <a:prstGeom prst="rect">
              <a:avLst/>
            </a:prstGeom>
            <a:solidFill>
              <a:srgbClr val="C20F2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endParaRPr lang="zh-CN" altLang="en-US" sz="1600"/>
            </a:p>
          </p:txBody>
        </p:sp>
        <p:sp>
          <p:nvSpPr>
            <p:cNvPr id="20488" name="Freeform 12">
              <a:extLst>
                <a:ext uri="{FF2B5EF4-FFF2-40B4-BE49-F238E27FC236}">
                  <a16:creationId xmlns:a16="http://schemas.microsoft.com/office/drawing/2014/main" id="{796E233B-AA18-4EAD-96C9-C229834AA627}"/>
                </a:ext>
              </a:extLst>
            </p:cNvPr>
            <p:cNvSpPr>
              <a:spLocks/>
            </p:cNvSpPr>
            <p:nvPr/>
          </p:nvSpPr>
          <p:spPr bwMode="auto">
            <a:xfrm rot="-5400000">
              <a:off x="4059032" y="2711669"/>
              <a:ext cx="1574862" cy="902033"/>
            </a:xfrm>
            <a:custGeom>
              <a:avLst/>
              <a:gdLst>
                <a:gd name="T0" fmla="*/ 2147483646 w 426"/>
                <a:gd name="T1" fmla="*/ 2147483646 h 244"/>
                <a:gd name="T2" fmla="*/ 13667288 w 426"/>
                <a:gd name="T3" fmla="*/ 2147483646 h 244"/>
                <a:gd name="T4" fmla="*/ 0 w 426"/>
                <a:gd name="T5" fmla="*/ 0 h 244"/>
                <a:gd name="T6" fmla="*/ 2147483646 w 426"/>
                <a:gd name="T7" fmla="*/ 0 h 244"/>
                <a:gd name="T8" fmla="*/ 2147483646 w 426"/>
                <a:gd name="T9" fmla="*/ 2147483646 h 24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6" h="244">
                  <a:moveTo>
                    <a:pt x="426" y="244"/>
                  </a:moveTo>
                  <a:lnTo>
                    <a:pt x="1" y="244"/>
                  </a:lnTo>
                  <a:lnTo>
                    <a:pt x="0" y="0"/>
                  </a:lnTo>
                  <a:lnTo>
                    <a:pt x="314" y="0"/>
                  </a:lnTo>
                  <a:lnTo>
                    <a:pt x="426" y="244"/>
                  </a:lnTo>
                  <a:close/>
                </a:path>
              </a:pathLst>
            </a:custGeom>
            <a:solidFill>
              <a:srgbClr val="C20F2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0489" name="Rectangle 14">
              <a:extLst>
                <a:ext uri="{FF2B5EF4-FFF2-40B4-BE49-F238E27FC236}">
                  <a16:creationId xmlns:a16="http://schemas.microsoft.com/office/drawing/2014/main" id="{852E5D6A-E577-43FA-8F7D-87C3E2778D6B}"/>
                </a:ext>
              </a:extLst>
            </p:cNvPr>
            <p:cNvSpPr>
              <a:spLocks noChangeArrowheads="1"/>
            </p:cNvSpPr>
            <p:nvPr/>
          </p:nvSpPr>
          <p:spPr bwMode="auto">
            <a:xfrm rot="-5400000">
              <a:off x="5312267" y="2360467"/>
              <a:ext cx="1571165" cy="1600740"/>
            </a:xfrm>
            <a:prstGeom prst="rect">
              <a:avLst/>
            </a:prstGeom>
            <a:solidFill>
              <a:srgbClr val="C20F2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endParaRPr lang="zh-CN" altLang="en-US" sz="1600"/>
            </a:p>
          </p:txBody>
        </p:sp>
        <p:sp>
          <p:nvSpPr>
            <p:cNvPr id="20490" name="Freeform 16">
              <a:extLst>
                <a:ext uri="{FF2B5EF4-FFF2-40B4-BE49-F238E27FC236}">
                  <a16:creationId xmlns:a16="http://schemas.microsoft.com/office/drawing/2014/main" id="{2C6898CC-2E1D-4DBC-BEE0-70F196D4A592}"/>
                </a:ext>
              </a:extLst>
            </p:cNvPr>
            <p:cNvSpPr>
              <a:spLocks/>
            </p:cNvSpPr>
            <p:nvPr/>
          </p:nvSpPr>
          <p:spPr bwMode="auto">
            <a:xfrm>
              <a:off x="5282691" y="3181169"/>
              <a:ext cx="118300" cy="29575"/>
            </a:xfrm>
            <a:custGeom>
              <a:avLst/>
              <a:gdLst>
                <a:gd name="T0" fmla="*/ 437340313 w 32"/>
                <a:gd name="T1" fmla="*/ 0 h 8"/>
                <a:gd name="T2" fmla="*/ 423672966 w 32"/>
                <a:gd name="T3" fmla="*/ 109335078 h 8"/>
                <a:gd name="T4" fmla="*/ 0 w 32"/>
                <a:gd name="T5" fmla="*/ 109335078 h 8"/>
                <a:gd name="T6" fmla="*/ 13667347 w 32"/>
                <a:gd name="T7" fmla="*/ 0 h 8"/>
                <a:gd name="T8" fmla="*/ 437340313 w 32"/>
                <a:gd name="T9" fmla="*/ 0 h 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2" h="8">
                  <a:moveTo>
                    <a:pt x="32" y="0"/>
                  </a:moveTo>
                  <a:lnTo>
                    <a:pt x="31" y="8"/>
                  </a:lnTo>
                  <a:lnTo>
                    <a:pt x="0" y="8"/>
                  </a:lnTo>
                  <a:lnTo>
                    <a:pt x="1" y="0"/>
                  </a:lnTo>
                  <a:lnTo>
                    <a:pt x="3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0491" name="TextBox 682">
              <a:extLst>
                <a:ext uri="{FF2B5EF4-FFF2-40B4-BE49-F238E27FC236}">
                  <a16:creationId xmlns:a16="http://schemas.microsoft.com/office/drawing/2014/main" id="{D1F9DEAB-F5D1-4A5C-A772-5437A198D42F}"/>
                </a:ext>
              </a:extLst>
            </p:cNvPr>
            <p:cNvSpPr txBox="1">
              <a:spLocks noChangeArrowheads="1"/>
            </p:cNvSpPr>
            <p:nvPr/>
          </p:nvSpPr>
          <p:spPr bwMode="auto">
            <a:xfrm>
              <a:off x="6550762" y="2995901"/>
              <a:ext cx="59022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sz="2000" b="1">
                  <a:solidFill>
                    <a:schemeClr val="bg1"/>
                  </a:solidFill>
                  <a:latin typeface="Agency FB" panose="020B0503020202020204" pitchFamily="34" charset="0"/>
                </a:rPr>
                <a:t>40%</a:t>
              </a:r>
              <a:endParaRPr lang="zh-CN" altLang="en-US" sz="2000" b="1">
                <a:solidFill>
                  <a:schemeClr val="bg1"/>
                </a:solidFill>
                <a:latin typeface="Agency FB" panose="020B0503020202020204" pitchFamily="34" charset="0"/>
              </a:endParaRPr>
            </a:p>
          </p:txBody>
        </p:sp>
        <p:sp>
          <p:nvSpPr>
            <p:cNvPr id="20492" name="Freeform 5">
              <a:extLst>
                <a:ext uri="{FF2B5EF4-FFF2-40B4-BE49-F238E27FC236}">
                  <a16:creationId xmlns:a16="http://schemas.microsoft.com/office/drawing/2014/main" id="{B2D43A53-F166-47BD-845C-74778AD51C04}"/>
                </a:ext>
              </a:extLst>
            </p:cNvPr>
            <p:cNvSpPr>
              <a:spLocks noEditPoints="1"/>
            </p:cNvSpPr>
            <p:nvPr/>
          </p:nvSpPr>
          <p:spPr bwMode="auto">
            <a:xfrm>
              <a:off x="5752145" y="2950383"/>
              <a:ext cx="488078" cy="491147"/>
            </a:xfrm>
            <a:custGeom>
              <a:avLst/>
              <a:gdLst>
                <a:gd name="T0" fmla="*/ 637145929 w 263"/>
                <a:gd name="T1" fmla="*/ 913732483 h 264"/>
                <a:gd name="T2" fmla="*/ 268634048 w 263"/>
                <a:gd name="T3" fmla="*/ 913732483 h 264"/>
                <a:gd name="T4" fmla="*/ 189422515 w 263"/>
                <a:gd name="T5" fmla="*/ 834127601 h 264"/>
                <a:gd name="T6" fmla="*/ 189422515 w 263"/>
                <a:gd name="T7" fmla="*/ 519166564 h 264"/>
                <a:gd name="T8" fmla="*/ 86100300 w 263"/>
                <a:gd name="T9" fmla="*/ 519166564 h 264"/>
                <a:gd name="T10" fmla="*/ 13775677 w 263"/>
                <a:gd name="T11" fmla="*/ 470710448 h 264"/>
                <a:gd name="T12" fmla="*/ 27551354 w 263"/>
                <a:gd name="T13" fmla="*/ 384182997 h 264"/>
                <a:gd name="T14" fmla="*/ 396063234 w 263"/>
                <a:gd name="T15" fmla="*/ 24228058 h 264"/>
                <a:gd name="T16" fmla="*/ 454612180 w 263"/>
                <a:gd name="T17" fmla="*/ 0 h 264"/>
                <a:gd name="T18" fmla="*/ 509716743 w 263"/>
                <a:gd name="T19" fmla="*/ 24228058 h 264"/>
                <a:gd name="T20" fmla="*/ 878228624 w 263"/>
                <a:gd name="T21" fmla="*/ 384182997 h 264"/>
                <a:gd name="T22" fmla="*/ 892004301 w 263"/>
                <a:gd name="T23" fmla="*/ 470710448 h 264"/>
                <a:gd name="T24" fmla="*/ 819679678 w 263"/>
                <a:gd name="T25" fmla="*/ 519166564 h 264"/>
                <a:gd name="T26" fmla="*/ 716357462 w 263"/>
                <a:gd name="T27" fmla="*/ 519166564 h 264"/>
                <a:gd name="T28" fmla="*/ 716357462 w 263"/>
                <a:gd name="T29" fmla="*/ 834127601 h 264"/>
                <a:gd name="T30" fmla="*/ 637145929 w 263"/>
                <a:gd name="T31" fmla="*/ 913732483 h 264"/>
                <a:gd name="T32" fmla="*/ 454612180 w 263"/>
                <a:gd name="T33" fmla="*/ 51916470 h 264"/>
                <a:gd name="T34" fmla="*/ 433947737 w 263"/>
                <a:gd name="T35" fmla="*/ 58839039 h 264"/>
                <a:gd name="T36" fmla="*/ 65435857 w 263"/>
                <a:gd name="T37" fmla="*/ 422254331 h 264"/>
                <a:gd name="T38" fmla="*/ 61993329 w 263"/>
                <a:gd name="T39" fmla="*/ 449944604 h 264"/>
                <a:gd name="T40" fmla="*/ 86100300 w 263"/>
                <a:gd name="T41" fmla="*/ 463787880 h 264"/>
                <a:gd name="T42" fmla="*/ 241082695 w 263"/>
                <a:gd name="T43" fmla="*/ 463787880 h 264"/>
                <a:gd name="T44" fmla="*/ 241082695 w 263"/>
                <a:gd name="T45" fmla="*/ 834127601 h 264"/>
                <a:gd name="T46" fmla="*/ 268634048 w 263"/>
                <a:gd name="T47" fmla="*/ 861816013 h 264"/>
                <a:gd name="T48" fmla="*/ 637145929 w 263"/>
                <a:gd name="T49" fmla="*/ 861816013 h 264"/>
                <a:gd name="T50" fmla="*/ 664697283 w 263"/>
                <a:gd name="T51" fmla="*/ 834127601 h 264"/>
                <a:gd name="T52" fmla="*/ 664697283 w 263"/>
                <a:gd name="T53" fmla="*/ 463787880 h 264"/>
                <a:gd name="T54" fmla="*/ 819679678 w 263"/>
                <a:gd name="T55" fmla="*/ 463787880 h 264"/>
                <a:gd name="T56" fmla="*/ 843786648 w 263"/>
                <a:gd name="T57" fmla="*/ 449944604 h 264"/>
                <a:gd name="T58" fmla="*/ 840344121 w 263"/>
                <a:gd name="T59" fmla="*/ 422254331 h 264"/>
                <a:gd name="T60" fmla="*/ 471832240 w 263"/>
                <a:gd name="T61" fmla="*/ 62299392 h 264"/>
                <a:gd name="T62" fmla="*/ 454612180 w 263"/>
                <a:gd name="T63" fmla="*/ 51916470 h 26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63" h="264">
                  <a:moveTo>
                    <a:pt x="185" y="264"/>
                  </a:moveTo>
                  <a:cubicBezTo>
                    <a:pt x="78" y="264"/>
                    <a:pt x="78" y="264"/>
                    <a:pt x="78" y="264"/>
                  </a:cubicBezTo>
                  <a:cubicBezTo>
                    <a:pt x="65" y="264"/>
                    <a:pt x="55" y="254"/>
                    <a:pt x="55" y="241"/>
                  </a:cubicBezTo>
                  <a:cubicBezTo>
                    <a:pt x="55" y="150"/>
                    <a:pt x="55" y="150"/>
                    <a:pt x="55" y="150"/>
                  </a:cubicBezTo>
                  <a:cubicBezTo>
                    <a:pt x="25" y="150"/>
                    <a:pt x="25" y="150"/>
                    <a:pt x="25" y="150"/>
                  </a:cubicBezTo>
                  <a:cubicBezTo>
                    <a:pt x="16" y="150"/>
                    <a:pt x="7" y="144"/>
                    <a:pt x="4" y="136"/>
                  </a:cubicBezTo>
                  <a:cubicBezTo>
                    <a:pt x="0" y="128"/>
                    <a:pt x="2" y="118"/>
                    <a:pt x="8" y="111"/>
                  </a:cubicBezTo>
                  <a:cubicBezTo>
                    <a:pt x="115" y="7"/>
                    <a:pt x="115" y="7"/>
                    <a:pt x="115" y="7"/>
                  </a:cubicBezTo>
                  <a:cubicBezTo>
                    <a:pt x="119" y="2"/>
                    <a:pt x="125" y="0"/>
                    <a:pt x="132" y="0"/>
                  </a:cubicBezTo>
                  <a:cubicBezTo>
                    <a:pt x="138" y="0"/>
                    <a:pt x="144" y="2"/>
                    <a:pt x="148" y="7"/>
                  </a:cubicBezTo>
                  <a:cubicBezTo>
                    <a:pt x="255" y="111"/>
                    <a:pt x="255" y="111"/>
                    <a:pt x="255" y="111"/>
                  </a:cubicBezTo>
                  <a:cubicBezTo>
                    <a:pt x="261" y="118"/>
                    <a:pt x="263" y="127"/>
                    <a:pt x="259" y="136"/>
                  </a:cubicBezTo>
                  <a:cubicBezTo>
                    <a:pt x="256" y="144"/>
                    <a:pt x="248" y="150"/>
                    <a:pt x="238" y="150"/>
                  </a:cubicBezTo>
                  <a:cubicBezTo>
                    <a:pt x="208" y="150"/>
                    <a:pt x="208" y="150"/>
                    <a:pt x="208" y="150"/>
                  </a:cubicBezTo>
                  <a:cubicBezTo>
                    <a:pt x="208" y="241"/>
                    <a:pt x="208" y="241"/>
                    <a:pt x="208" y="241"/>
                  </a:cubicBezTo>
                  <a:cubicBezTo>
                    <a:pt x="208" y="254"/>
                    <a:pt x="198" y="264"/>
                    <a:pt x="185" y="264"/>
                  </a:cubicBezTo>
                  <a:close/>
                  <a:moveTo>
                    <a:pt x="132" y="15"/>
                  </a:moveTo>
                  <a:cubicBezTo>
                    <a:pt x="129" y="15"/>
                    <a:pt x="127" y="16"/>
                    <a:pt x="126" y="17"/>
                  </a:cubicBezTo>
                  <a:cubicBezTo>
                    <a:pt x="19" y="122"/>
                    <a:pt x="19" y="122"/>
                    <a:pt x="19" y="122"/>
                  </a:cubicBezTo>
                  <a:cubicBezTo>
                    <a:pt x="17" y="124"/>
                    <a:pt x="16" y="127"/>
                    <a:pt x="18" y="130"/>
                  </a:cubicBezTo>
                  <a:cubicBezTo>
                    <a:pt x="19" y="133"/>
                    <a:pt x="22" y="134"/>
                    <a:pt x="25" y="134"/>
                  </a:cubicBezTo>
                  <a:cubicBezTo>
                    <a:pt x="70" y="134"/>
                    <a:pt x="70" y="134"/>
                    <a:pt x="70" y="134"/>
                  </a:cubicBezTo>
                  <a:cubicBezTo>
                    <a:pt x="70" y="241"/>
                    <a:pt x="70" y="241"/>
                    <a:pt x="70" y="241"/>
                  </a:cubicBezTo>
                  <a:cubicBezTo>
                    <a:pt x="70" y="245"/>
                    <a:pt x="74" y="249"/>
                    <a:pt x="78" y="249"/>
                  </a:cubicBezTo>
                  <a:cubicBezTo>
                    <a:pt x="185" y="249"/>
                    <a:pt x="185" y="249"/>
                    <a:pt x="185" y="249"/>
                  </a:cubicBezTo>
                  <a:cubicBezTo>
                    <a:pt x="189" y="249"/>
                    <a:pt x="193" y="245"/>
                    <a:pt x="193" y="241"/>
                  </a:cubicBezTo>
                  <a:cubicBezTo>
                    <a:pt x="193" y="134"/>
                    <a:pt x="193" y="134"/>
                    <a:pt x="193" y="134"/>
                  </a:cubicBezTo>
                  <a:cubicBezTo>
                    <a:pt x="238" y="134"/>
                    <a:pt x="238" y="134"/>
                    <a:pt x="238" y="134"/>
                  </a:cubicBezTo>
                  <a:cubicBezTo>
                    <a:pt x="241" y="134"/>
                    <a:pt x="244" y="133"/>
                    <a:pt x="245" y="130"/>
                  </a:cubicBezTo>
                  <a:cubicBezTo>
                    <a:pt x="247" y="127"/>
                    <a:pt x="246" y="124"/>
                    <a:pt x="244" y="122"/>
                  </a:cubicBezTo>
                  <a:cubicBezTo>
                    <a:pt x="137" y="18"/>
                    <a:pt x="137" y="18"/>
                    <a:pt x="137" y="18"/>
                  </a:cubicBezTo>
                  <a:cubicBezTo>
                    <a:pt x="136" y="16"/>
                    <a:pt x="134" y="15"/>
                    <a:pt x="132" y="1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0493" name="文本框 56">
              <a:extLst>
                <a:ext uri="{FF2B5EF4-FFF2-40B4-BE49-F238E27FC236}">
                  <a16:creationId xmlns:a16="http://schemas.microsoft.com/office/drawing/2014/main" id="{866B5FF2-A77F-4B67-9B17-2D4D65FEAD5C}"/>
                </a:ext>
              </a:extLst>
            </p:cNvPr>
            <p:cNvSpPr txBox="1">
              <a:spLocks noChangeArrowheads="1"/>
            </p:cNvSpPr>
            <p:nvPr/>
          </p:nvSpPr>
          <p:spPr bwMode="auto">
            <a:xfrm>
              <a:off x="7746810" y="2965904"/>
              <a:ext cx="2697353" cy="800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sz="1800">
                  <a:solidFill>
                    <a:schemeClr val="bg1"/>
                  </a:solidFill>
                  <a:latin typeface="Impact" panose="020B0806030902050204" pitchFamily="34" charset="0"/>
                </a:rPr>
                <a:t>Click To Add Your Title</a:t>
              </a:r>
            </a:p>
            <a:p>
              <a:pPr eaLnBrk="1" hangingPunct="1">
                <a:lnSpc>
                  <a:spcPct val="100000"/>
                </a:lnSpc>
                <a:spcBef>
                  <a:spcPct val="0"/>
                </a:spcBef>
                <a:buFontTx/>
                <a:buNone/>
              </a:pPr>
              <a:r>
                <a:rPr lang="en-US" altLang="zh-CN" sz="1400">
                  <a:solidFill>
                    <a:schemeClr val="bg1"/>
                  </a:solidFill>
                </a:rPr>
                <a:t>click to add subtitle click to add subtitle click to add subtitle</a:t>
              </a:r>
              <a:endParaRPr lang="zh-CN" altLang="en-US" sz="1400">
                <a:solidFill>
                  <a:schemeClr val="bg1"/>
                </a:solidFill>
              </a:endParaRPr>
            </a:p>
          </p:txBody>
        </p:sp>
        <p:sp>
          <p:nvSpPr>
            <p:cNvPr id="20494" name="文本框 56">
              <a:extLst>
                <a:ext uri="{FF2B5EF4-FFF2-40B4-BE49-F238E27FC236}">
                  <a16:creationId xmlns:a16="http://schemas.microsoft.com/office/drawing/2014/main" id="{9E3E62EB-2E2C-4B42-8C73-5BDEC1748296}"/>
                </a:ext>
              </a:extLst>
            </p:cNvPr>
            <p:cNvSpPr txBox="1">
              <a:spLocks noChangeArrowheads="1"/>
            </p:cNvSpPr>
            <p:nvPr/>
          </p:nvSpPr>
          <p:spPr bwMode="auto">
            <a:xfrm>
              <a:off x="1703639" y="2965904"/>
              <a:ext cx="2697353" cy="800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r" eaLnBrk="1" hangingPunct="1">
                <a:lnSpc>
                  <a:spcPct val="100000"/>
                </a:lnSpc>
                <a:spcBef>
                  <a:spcPct val="0"/>
                </a:spcBef>
                <a:buFontTx/>
                <a:buNone/>
              </a:pPr>
              <a:r>
                <a:rPr lang="en-US" altLang="zh-CN" sz="1800">
                  <a:solidFill>
                    <a:schemeClr val="bg1"/>
                  </a:solidFill>
                  <a:latin typeface="Impact" panose="020B0806030902050204" pitchFamily="34" charset="0"/>
                </a:rPr>
                <a:t>Click To Add Your Title</a:t>
              </a:r>
            </a:p>
            <a:p>
              <a:pPr algn="r" eaLnBrk="1" hangingPunct="1">
                <a:lnSpc>
                  <a:spcPct val="100000"/>
                </a:lnSpc>
                <a:spcBef>
                  <a:spcPct val="0"/>
                </a:spcBef>
                <a:buFontTx/>
                <a:buNone/>
              </a:pPr>
              <a:r>
                <a:rPr lang="en-US" altLang="zh-CN" sz="1400">
                  <a:solidFill>
                    <a:schemeClr val="bg1"/>
                  </a:solidFill>
                </a:rPr>
                <a:t>click to add subtitle click to add subtitle click to add subtitle</a:t>
              </a:r>
              <a:endParaRPr lang="zh-CN" altLang="en-US" sz="1400">
                <a:solidFill>
                  <a:schemeClr val="bg1"/>
                </a:solidFill>
              </a:endParaRPr>
            </a:p>
          </p:txBody>
        </p:sp>
      </p:gr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42"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par>
                                <p:cTn id="10" presetID="47" presetClass="entr" presetSubtype="0"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anim calcmode="lin" valueType="num">
                                      <p:cBhvr>
                                        <p:cTn id="13" dur="500" fill="hold"/>
                                        <p:tgtEl>
                                          <p:spTgt spid="3"/>
                                        </p:tgtEl>
                                        <p:attrNameLst>
                                          <p:attrName>ppt_x</p:attrName>
                                        </p:attrNameLst>
                                      </p:cBhvr>
                                      <p:tavLst>
                                        <p:tav tm="0">
                                          <p:val>
                                            <p:strVal val="#ppt_x"/>
                                          </p:val>
                                        </p:tav>
                                        <p:tav tm="100000">
                                          <p:val>
                                            <p:strVal val="#ppt_x"/>
                                          </p:val>
                                        </p:tav>
                                      </p:tavLst>
                                    </p:anim>
                                    <p:anim calcmode="lin" valueType="num">
                                      <p:cBhvr>
                                        <p:cTn id="14" dur="5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a:extLst>
              <a:ext uri="{FF2B5EF4-FFF2-40B4-BE49-F238E27FC236}">
                <a16:creationId xmlns:a16="http://schemas.microsoft.com/office/drawing/2014/main" id="{E731D071-7486-45AF-B536-F3A0505D3496}"/>
              </a:ext>
            </a:extLst>
          </p:cNvPr>
          <p:cNvSpPr/>
          <p:nvPr/>
        </p:nvSpPr>
        <p:spPr>
          <a:xfrm>
            <a:off x="1258888" y="1651000"/>
            <a:ext cx="9674225" cy="382428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sz="2400">
              <a:latin typeface="Agency FB" pitchFamily="34" charset="0"/>
            </a:endParaRPr>
          </a:p>
        </p:txBody>
      </p:sp>
      <p:grpSp>
        <p:nvGrpSpPr>
          <p:cNvPr id="20" name="组合 19">
            <a:extLst>
              <a:ext uri="{FF2B5EF4-FFF2-40B4-BE49-F238E27FC236}">
                <a16:creationId xmlns:a16="http://schemas.microsoft.com/office/drawing/2014/main" id="{321BDAD0-E63D-4694-8EDF-489CB50A5D55}"/>
              </a:ext>
            </a:extLst>
          </p:cNvPr>
          <p:cNvGrpSpPr>
            <a:grpSpLocks/>
          </p:cNvGrpSpPr>
          <p:nvPr/>
        </p:nvGrpSpPr>
        <p:grpSpPr bwMode="auto">
          <a:xfrm>
            <a:off x="4214813" y="4202113"/>
            <a:ext cx="541337" cy="1252537"/>
            <a:chOff x="4214151" y="4202620"/>
            <a:chExt cx="542543" cy="1252671"/>
          </a:xfrm>
        </p:grpSpPr>
        <p:sp>
          <p:nvSpPr>
            <p:cNvPr id="4" name="矩形 3">
              <a:extLst>
                <a:ext uri="{FF2B5EF4-FFF2-40B4-BE49-F238E27FC236}">
                  <a16:creationId xmlns:a16="http://schemas.microsoft.com/office/drawing/2014/main" id="{E34FA0D5-D91B-4E7F-A267-3FBFA253F038}"/>
                </a:ext>
              </a:extLst>
            </p:cNvPr>
            <p:cNvSpPr/>
            <p:nvPr/>
          </p:nvSpPr>
          <p:spPr>
            <a:xfrm>
              <a:off x="4214151" y="4202620"/>
              <a:ext cx="542543" cy="1252671"/>
            </a:xfrm>
            <a:prstGeom prst="rect">
              <a:avLst/>
            </a:prstGeom>
            <a:solidFill>
              <a:srgbClr val="29292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sz="2400">
                <a:latin typeface="Agency FB" pitchFamily="34" charset="0"/>
              </a:endParaRPr>
            </a:p>
          </p:txBody>
        </p:sp>
        <p:sp>
          <p:nvSpPr>
            <p:cNvPr id="21556" name="TextBox 8">
              <a:extLst>
                <a:ext uri="{FF2B5EF4-FFF2-40B4-BE49-F238E27FC236}">
                  <a16:creationId xmlns:a16="http://schemas.microsoft.com/office/drawing/2014/main" id="{9C315A4D-4930-4DDB-86AE-82F7FF5306BA}"/>
                </a:ext>
              </a:extLst>
            </p:cNvPr>
            <p:cNvSpPr txBox="1">
              <a:spLocks noChangeArrowheads="1"/>
            </p:cNvSpPr>
            <p:nvPr/>
          </p:nvSpPr>
          <p:spPr bwMode="auto">
            <a:xfrm>
              <a:off x="4240002" y="4202622"/>
              <a:ext cx="49084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00000"/>
                </a:lnSpc>
                <a:spcBef>
                  <a:spcPct val="0"/>
                </a:spcBef>
                <a:buFontTx/>
                <a:buNone/>
              </a:pPr>
              <a:r>
                <a:rPr lang="en-US" altLang="zh-CN" sz="1600" b="1">
                  <a:solidFill>
                    <a:schemeClr val="bg1"/>
                  </a:solidFill>
                  <a:latin typeface="Agency FB" panose="020B0503020202020204" pitchFamily="34" charset="0"/>
                  <a:ea typeface="新宋体" panose="02010609030101010101" pitchFamily="49" charset="-122"/>
                </a:rPr>
                <a:t>40%</a:t>
              </a:r>
              <a:endParaRPr lang="zh-CN" altLang="en-US" sz="1600" b="1">
                <a:solidFill>
                  <a:schemeClr val="bg1"/>
                </a:solidFill>
                <a:latin typeface="Agency FB" panose="020B0503020202020204" pitchFamily="34" charset="0"/>
                <a:ea typeface="新宋体" panose="02010609030101010101" pitchFamily="49" charset="-122"/>
              </a:endParaRPr>
            </a:p>
          </p:txBody>
        </p:sp>
      </p:grpSp>
      <p:grpSp>
        <p:nvGrpSpPr>
          <p:cNvPr id="26" name="组合 25">
            <a:extLst>
              <a:ext uri="{FF2B5EF4-FFF2-40B4-BE49-F238E27FC236}">
                <a16:creationId xmlns:a16="http://schemas.microsoft.com/office/drawing/2014/main" id="{A05260DE-9FB9-4FC8-B8C2-75C4EA9A0816}"/>
              </a:ext>
            </a:extLst>
          </p:cNvPr>
          <p:cNvGrpSpPr>
            <a:grpSpLocks/>
          </p:cNvGrpSpPr>
          <p:nvPr/>
        </p:nvGrpSpPr>
        <p:grpSpPr bwMode="auto">
          <a:xfrm>
            <a:off x="4754563" y="3103563"/>
            <a:ext cx="541337" cy="2351087"/>
            <a:chOff x="4753794" y="3103682"/>
            <a:chExt cx="542543" cy="2351611"/>
          </a:xfrm>
        </p:grpSpPr>
        <p:sp>
          <p:nvSpPr>
            <p:cNvPr id="6" name="矩形 5">
              <a:extLst>
                <a:ext uri="{FF2B5EF4-FFF2-40B4-BE49-F238E27FC236}">
                  <a16:creationId xmlns:a16="http://schemas.microsoft.com/office/drawing/2014/main" id="{35B52E3F-9E63-4013-97F1-79517B560898}"/>
                </a:ext>
              </a:extLst>
            </p:cNvPr>
            <p:cNvSpPr/>
            <p:nvPr/>
          </p:nvSpPr>
          <p:spPr>
            <a:xfrm>
              <a:off x="4753794" y="3103682"/>
              <a:ext cx="542543" cy="2351611"/>
            </a:xfrm>
            <a:prstGeom prst="rect">
              <a:avLst/>
            </a:prstGeom>
            <a:solidFill>
              <a:srgbClr val="C20F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sz="2400">
                <a:latin typeface="Agency FB" pitchFamily="34" charset="0"/>
              </a:endParaRPr>
            </a:p>
          </p:txBody>
        </p:sp>
        <p:sp>
          <p:nvSpPr>
            <p:cNvPr id="21554" name="TextBox 9">
              <a:extLst>
                <a:ext uri="{FF2B5EF4-FFF2-40B4-BE49-F238E27FC236}">
                  <a16:creationId xmlns:a16="http://schemas.microsoft.com/office/drawing/2014/main" id="{98B331F9-8D73-4719-A74F-42B8059EB76F}"/>
                </a:ext>
              </a:extLst>
            </p:cNvPr>
            <p:cNvSpPr txBox="1">
              <a:spLocks noChangeArrowheads="1"/>
            </p:cNvSpPr>
            <p:nvPr/>
          </p:nvSpPr>
          <p:spPr bwMode="auto">
            <a:xfrm>
              <a:off x="4782050" y="3103682"/>
              <a:ext cx="48603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00000"/>
                </a:lnSpc>
                <a:spcBef>
                  <a:spcPct val="0"/>
                </a:spcBef>
                <a:buFontTx/>
                <a:buNone/>
              </a:pPr>
              <a:r>
                <a:rPr lang="en-US" altLang="zh-CN" sz="1600" b="1">
                  <a:solidFill>
                    <a:schemeClr val="bg1"/>
                  </a:solidFill>
                  <a:latin typeface="Agency FB" panose="020B0503020202020204" pitchFamily="34" charset="0"/>
                  <a:ea typeface="新宋体" panose="02010609030101010101" pitchFamily="49" charset="-122"/>
                </a:rPr>
                <a:t>70%</a:t>
              </a:r>
              <a:endParaRPr lang="zh-CN" altLang="en-US" sz="1600" b="1">
                <a:solidFill>
                  <a:schemeClr val="bg1"/>
                </a:solidFill>
                <a:latin typeface="Agency FB" panose="020B0503020202020204" pitchFamily="34" charset="0"/>
                <a:ea typeface="新宋体" panose="02010609030101010101" pitchFamily="49" charset="-122"/>
              </a:endParaRPr>
            </a:p>
          </p:txBody>
        </p:sp>
      </p:grpSp>
      <p:grpSp>
        <p:nvGrpSpPr>
          <p:cNvPr id="14" name="组合 13">
            <a:extLst>
              <a:ext uri="{FF2B5EF4-FFF2-40B4-BE49-F238E27FC236}">
                <a16:creationId xmlns:a16="http://schemas.microsoft.com/office/drawing/2014/main" id="{919280E2-ABFA-4742-BF1A-9A3881F3118E}"/>
              </a:ext>
            </a:extLst>
          </p:cNvPr>
          <p:cNvGrpSpPr>
            <a:grpSpLocks/>
          </p:cNvGrpSpPr>
          <p:nvPr/>
        </p:nvGrpSpPr>
        <p:grpSpPr bwMode="auto">
          <a:xfrm>
            <a:off x="2382838" y="4473575"/>
            <a:ext cx="542925" cy="981075"/>
            <a:chOff x="2383069" y="4473892"/>
            <a:chExt cx="542543" cy="981400"/>
          </a:xfrm>
        </p:grpSpPr>
        <p:sp>
          <p:nvSpPr>
            <p:cNvPr id="11" name="矩形 10">
              <a:extLst>
                <a:ext uri="{FF2B5EF4-FFF2-40B4-BE49-F238E27FC236}">
                  <a16:creationId xmlns:a16="http://schemas.microsoft.com/office/drawing/2014/main" id="{F47691ED-8F04-4369-AFFF-8935D52C7BD2}"/>
                </a:ext>
              </a:extLst>
            </p:cNvPr>
            <p:cNvSpPr/>
            <p:nvPr/>
          </p:nvSpPr>
          <p:spPr>
            <a:xfrm>
              <a:off x="2383069" y="4473892"/>
              <a:ext cx="542543" cy="981400"/>
            </a:xfrm>
            <a:prstGeom prst="rect">
              <a:avLst/>
            </a:prstGeom>
            <a:solidFill>
              <a:srgbClr val="29292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sz="2400">
                <a:latin typeface="Agency FB" pitchFamily="34" charset="0"/>
              </a:endParaRPr>
            </a:p>
          </p:txBody>
        </p:sp>
        <p:sp>
          <p:nvSpPr>
            <p:cNvPr id="21552" name="TextBox 14">
              <a:extLst>
                <a:ext uri="{FF2B5EF4-FFF2-40B4-BE49-F238E27FC236}">
                  <a16:creationId xmlns:a16="http://schemas.microsoft.com/office/drawing/2014/main" id="{ED32F300-89B4-4AB0-8956-6041E9BF4BA0}"/>
                </a:ext>
              </a:extLst>
            </p:cNvPr>
            <p:cNvSpPr txBox="1">
              <a:spLocks noChangeArrowheads="1"/>
            </p:cNvSpPr>
            <p:nvPr/>
          </p:nvSpPr>
          <p:spPr bwMode="auto">
            <a:xfrm>
              <a:off x="2404913" y="4473893"/>
              <a:ext cx="49885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00000"/>
                </a:lnSpc>
                <a:spcBef>
                  <a:spcPct val="0"/>
                </a:spcBef>
                <a:buFontTx/>
                <a:buNone/>
              </a:pPr>
              <a:r>
                <a:rPr lang="en-US" altLang="zh-CN" sz="1600" b="1">
                  <a:solidFill>
                    <a:schemeClr val="bg1"/>
                  </a:solidFill>
                  <a:latin typeface="Agency FB" panose="020B0503020202020204" pitchFamily="34" charset="0"/>
                  <a:ea typeface="新宋体" panose="02010609030101010101" pitchFamily="49" charset="-122"/>
                </a:rPr>
                <a:t>30%</a:t>
              </a:r>
              <a:endParaRPr lang="zh-CN" altLang="en-US" sz="1600" b="1">
                <a:solidFill>
                  <a:schemeClr val="bg1"/>
                </a:solidFill>
                <a:latin typeface="Agency FB" panose="020B0503020202020204" pitchFamily="34" charset="0"/>
                <a:ea typeface="新宋体" panose="02010609030101010101" pitchFamily="49" charset="-122"/>
              </a:endParaRPr>
            </a:p>
          </p:txBody>
        </p:sp>
      </p:grpSp>
      <p:grpSp>
        <p:nvGrpSpPr>
          <p:cNvPr id="8" name="组合 7">
            <a:extLst>
              <a:ext uri="{FF2B5EF4-FFF2-40B4-BE49-F238E27FC236}">
                <a16:creationId xmlns:a16="http://schemas.microsoft.com/office/drawing/2014/main" id="{811CEE7E-448D-4E2A-9707-52D6F137CA50}"/>
              </a:ext>
            </a:extLst>
          </p:cNvPr>
          <p:cNvGrpSpPr>
            <a:grpSpLocks/>
          </p:cNvGrpSpPr>
          <p:nvPr/>
        </p:nvGrpSpPr>
        <p:grpSpPr bwMode="auto">
          <a:xfrm>
            <a:off x="2922588" y="3389313"/>
            <a:ext cx="542925" cy="2065337"/>
            <a:chOff x="2922713" y="3388806"/>
            <a:chExt cx="542543" cy="2066485"/>
          </a:xfrm>
        </p:grpSpPr>
        <p:sp>
          <p:nvSpPr>
            <p:cNvPr id="12" name="矩形 11">
              <a:extLst>
                <a:ext uri="{FF2B5EF4-FFF2-40B4-BE49-F238E27FC236}">
                  <a16:creationId xmlns:a16="http://schemas.microsoft.com/office/drawing/2014/main" id="{A3D94AFD-5C31-4210-A6A4-7A76E2814554}"/>
                </a:ext>
              </a:extLst>
            </p:cNvPr>
            <p:cNvSpPr/>
            <p:nvPr/>
          </p:nvSpPr>
          <p:spPr>
            <a:xfrm>
              <a:off x="2922713" y="3388806"/>
              <a:ext cx="542543" cy="2066485"/>
            </a:xfrm>
            <a:prstGeom prst="rect">
              <a:avLst/>
            </a:prstGeom>
            <a:solidFill>
              <a:srgbClr val="C20F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sz="2400">
                <a:latin typeface="Agency FB" pitchFamily="34" charset="0"/>
              </a:endParaRPr>
            </a:p>
          </p:txBody>
        </p:sp>
        <p:sp>
          <p:nvSpPr>
            <p:cNvPr id="21550" name="TextBox 15">
              <a:extLst>
                <a:ext uri="{FF2B5EF4-FFF2-40B4-BE49-F238E27FC236}">
                  <a16:creationId xmlns:a16="http://schemas.microsoft.com/office/drawing/2014/main" id="{CF8D419E-00A6-44A0-8CDC-A19515B8443B}"/>
                </a:ext>
              </a:extLst>
            </p:cNvPr>
            <p:cNvSpPr txBox="1">
              <a:spLocks noChangeArrowheads="1"/>
            </p:cNvSpPr>
            <p:nvPr/>
          </p:nvSpPr>
          <p:spPr bwMode="auto">
            <a:xfrm>
              <a:off x="2944557" y="3388808"/>
              <a:ext cx="49885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00000"/>
                </a:lnSpc>
                <a:spcBef>
                  <a:spcPct val="0"/>
                </a:spcBef>
                <a:buFontTx/>
                <a:buNone/>
              </a:pPr>
              <a:r>
                <a:rPr lang="en-US" altLang="zh-CN" sz="1600" b="1">
                  <a:solidFill>
                    <a:schemeClr val="bg1"/>
                  </a:solidFill>
                  <a:latin typeface="Agency FB" panose="020B0503020202020204" pitchFamily="34" charset="0"/>
                  <a:ea typeface="新宋体" panose="02010609030101010101" pitchFamily="49" charset="-122"/>
                </a:rPr>
                <a:t>60%</a:t>
              </a:r>
              <a:endParaRPr lang="zh-CN" altLang="en-US" sz="1600" b="1">
                <a:solidFill>
                  <a:schemeClr val="bg1"/>
                </a:solidFill>
                <a:latin typeface="Agency FB" panose="020B0503020202020204" pitchFamily="34" charset="0"/>
                <a:ea typeface="新宋体" panose="02010609030101010101" pitchFamily="49" charset="-122"/>
              </a:endParaRPr>
            </a:p>
          </p:txBody>
        </p:sp>
      </p:grpSp>
      <p:grpSp>
        <p:nvGrpSpPr>
          <p:cNvPr id="32" name="组合 31">
            <a:extLst>
              <a:ext uri="{FF2B5EF4-FFF2-40B4-BE49-F238E27FC236}">
                <a16:creationId xmlns:a16="http://schemas.microsoft.com/office/drawing/2014/main" id="{E4B60549-FA5E-4EF3-800F-C943D5470352}"/>
              </a:ext>
            </a:extLst>
          </p:cNvPr>
          <p:cNvGrpSpPr>
            <a:grpSpLocks/>
          </p:cNvGrpSpPr>
          <p:nvPr/>
        </p:nvGrpSpPr>
        <p:grpSpPr bwMode="auto">
          <a:xfrm>
            <a:off x="6045200" y="3732213"/>
            <a:ext cx="542925" cy="1722437"/>
            <a:chOff x="6045233" y="3731944"/>
            <a:chExt cx="542543" cy="1723349"/>
          </a:xfrm>
        </p:grpSpPr>
        <p:sp>
          <p:nvSpPr>
            <p:cNvPr id="17" name="矩形 16">
              <a:extLst>
                <a:ext uri="{FF2B5EF4-FFF2-40B4-BE49-F238E27FC236}">
                  <a16:creationId xmlns:a16="http://schemas.microsoft.com/office/drawing/2014/main" id="{F74139AA-1CEC-4DC2-B47B-491AE3E40061}"/>
                </a:ext>
              </a:extLst>
            </p:cNvPr>
            <p:cNvSpPr/>
            <p:nvPr/>
          </p:nvSpPr>
          <p:spPr>
            <a:xfrm>
              <a:off x="6045233" y="3736709"/>
              <a:ext cx="542543" cy="1718584"/>
            </a:xfrm>
            <a:prstGeom prst="rect">
              <a:avLst/>
            </a:prstGeom>
            <a:solidFill>
              <a:srgbClr val="29292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sz="2400">
                <a:latin typeface="Agency FB" pitchFamily="34" charset="0"/>
              </a:endParaRPr>
            </a:p>
          </p:txBody>
        </p:sp>
        <p:sp>
          <p:nvSpPr>
            <p:cNvPr id="21548" name="TextBox 20">
              <a:extLst>
                <a:ext uri="{FF2B5EF4-FFF2-40B4-BE49-F238E27FC236}">
                  <a16:creationId xmlns:a16="http://schemas.microsoft.com/office/drawing/2014/main" id="{ADE50487-3884-454C-908F-A96B120D20BD}"/>
                </a:ext>
              </a:extLst>
            </p:cNvPr>
            <p:cNvSpPr txBox="1">
              <a:spLocks noChangeArrowheads="1"/>
            </p:cNvSpPr>
            <p:nvPr/>
          </p:nvSpPr>
          <p:spPr bwMode="auto">
            <a:xfrm>
              <a:off x="6067878" y="3731944"/>
              <a:ext cx="49725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00000"/>
                </a:lnSpc>
                <a:spcBef>
                  <a:spcPct val="0"/>
                </a:spcBef>
                <a:buFontTx/>
                <a:buNone/>
              </a:pPr>
              <a:r>
                <a:rPr lang="en-US" altLang="zh-CN" sz="1600" b="1">
                  <a:solidFill>
                    <a:schemeClr val="bg1"/>
                  </a:solidFill>
                  <a:latin typeface="Agency FB" panose="020B0503020202020204" pitchFamily="34" charset="0"/>
                  <a:ea typeface="新宋体" panose="02010609030101010101" pitchFamily="49" charset="-122"/>
                </a:rPr>
                <a:t>50%</a:t>
              </a:r>
              <a:endParaRPr lang="zh-CN" altLang="en-US" sz="1600" b="1">
                <a:solidFill>
                  <a:schemeClr val="bg1"/>
                </a:solidFill>
                <a:latin typeface="Agency FB" panose="020B0503020202020204" pitchFamily="34" charset="0"/>
                <a:ea typeface="新宋体" panose="02010609030101010101" pitchFamily="49" charset="-122"/>
              </a:endParaRPr>
            </a:p>
          </p:txBody>
        </p:sp>
      </p:grpSp>
      <p:grpSp>
        <p:nvGrpSpPr>
          <p:cNvPr id="40" name="组合 39">
            <a:extLst>
              <a:ext uri="{FF2B5EF4-FFF2-40B4-BE49-F238E27FC236}">
                <a16:creationId xmlns:a16="http://schemas.microsoft.com/office/drawing/2014/main" id="{B1960317-967C-40D0-BF5F-5DEB09AFB0B9}"/>
              </a:ext>
            </a:extLst>
          </p:cNvPr>
          <p:cNvGrpSpPr>
            <a:grpSpLocks/>
          </p:cNvGrpSpPr>
          <p:nvPr/>
        </p:nvGrpSpPr>
        <p:grpSpPr bwMode="auto">
          <a:xfrm>
            <a:off x="6594475" y="2665413"/>
            <a:ext cx="542925" cy="2789237"/>
            <a:chOff x="6584876" y="2665416"/>
            <a:chExt cx="542543" cy="2789875"/>
          </a:xfrm>
        </p:grpSpPr>
        <p:sp>
          <p:nvSpPr>
            <p:cNvPr id="18" name="矩形 17">
              <a:extLst>
                <a:ext uri="{FF2B5EF4-FFF2-40B4-BE49-F238E27FC236}">
                  <a16:creationId xmlns:a16="http://schemas.microsoft.com/office/drawing/2014/main" id="{215615D6-6026-4721-8DBF-160933327503}"/>
                </a:ext>
              </a:extLst>
            </p:cNvPr>
            <p:cNvSpPr/>
            <p:nvPr/>
          </p:nvSpPr>
          <p:spPr>
            <a:xfrm>
              <a:off x="6584876" y="2665416"/>
              <a:ext cx="542543" cy="2789875"/>
            </a:xfrm>
            <a:prstGeom prst="rect">
              <a:avLst/>
            </a:prstGeom>
            <a:solidFill>
              <a:srgbClr val="C20F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sz="2400">
                <a:latin typeface="Agency FB" pitchFamily="34" charset="0"/>
              </a:endParaRPr>
            </a:p>
          </p:txBody>
        </p:sp>
        <p:sp>
          <p:nvSpPr>
            <p:cNvPr id="21546" name="TextBox 21">
              <a:extLst>
                <a:ext uri="{FF2B5EF4-FFF2-40B4-BE49-F238E27FC236}">
                  <a16:creationId xmlns:a16="http://schemas.microsoft.com/office/drawing/2014/main" id="{E6BEB588-9DE8-4526-A9B1-62C6AFC76515}"/>
                </a:ext>
              </a:extLst>
            </p:cNvPr>
            <p:cNvSpPr txBox="1">
              <a:spLocks noChangeArrowheads="1"/>
            </p:cNvSpPr>
            <p:nvPr/>
          </p:nvSpPr>
          <p:spPr bwMode="auto">
            <a:xfrm>
              <a:off x="6605918" y="2665417"/>
              <a:ext cx="50045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00000"/>
                </a:lnSpc>
                <a:spcBef>
                  <a:spcPct val="0"/>
                </a:spcBef>
                <a:buFontTx/>
                <a:buNone/>
              </a:pPr>
              <a:r>
                <a:rPr lang="en-US" altLang="zh-CN" sz="1600" b="1">
                  <a:solidFill>
                    <a:schemeClr val="bg1"/>
                  </a:solidFill>
                  <a:latin typeface="Agency FB" panose="020B0503020202020204" pitchFamily="34" charset="0"/>
                  <a:ea typeface="新宋体" panose="02010609030101010101" pitchFamily="49" charset="-122"/>
                </a:rPr>
                <a:t>80%</a:t>
              </a:r>
              <a:endParaRPr lang="zh-CN" altLang="en-US" sz="1600" b="1">
                <a:solidFill>
                  <a:schemeClr val="bg1"/>
                </a:solidFill>
                <a:latin typeface="Agency FB" panose="020B0503020202020204" pitchFamily="34" charset="0"/>
                <a:ea typeface="新宋体" panose="02010609030101010101" pitchFamily="49" charset="-122"/>
              </a:endParaRPr>
            </a:p>
          </p:txBody>
        </p:sp>
      </p:grpSp>
      <p:grpSp>
        <p:nvGrpSpPr>
          <p:cNvPr id="41" name="组合 40">
            <a:extLst>
              <a:ext uri="{FF2B5EF4-FFF2-40B4-BE49-F238E27FC236}">
                <a16:creationId xmlns:a16="http://schemas.microsoft.com/office/drawing/2014/main" id="{BA4FE9EC-E837-40F7-AFF7-F04327EE953D}"/>
              </a:ext>
            </a:extLst>
          </p:cNvPr>
          <p:cNvGrpSpPr>
            <a:grpSpLocks/>
          </p:cNvGrpSpPr>
          <p:nvPr/>
        </p:nvGrpSpPr>
        <p:grpSpPr bwMode="auto">
          <a:xfrm>
            <a:off x="7875588" y="3375025"/>
            <a:ext cx="542925" cy="2079625"/>
            <a:chOff x="7876314" y="3374953"/>
            <a:chExt cx="542543" cy="2080340"/>
          </a:xfrm>
        </p:grpSpPr>
        <p:sp>
          <p:nvSpPr>
            <p:cNvPr id="23" name="矩形 22">
              <a:extLst>
                <a:ext uri="{FF2B5EF4-FFF2-40B4-BE49-F238E27FC236}">
                  <a16:creationId xmlns:a16="http://schemas.microsoft.com/office/drawing/2014/main" id="{277B871A-B6B5-4B4D-BAFC-02DCB0F2476A}"/>
                </a:ext>
              </a:extLst>
            </p:cNvPr>
            <p:cNvSpPr/>
            <p:nvPr/>
          </p:nvSpPr>
          <p:spPr>
            <a:xfrm>
              <a:off x="7876314" y="3389246"/>
              <a:ext cx="542543" cy="2066047"/>
            </a:xfrm>
            <a:prstGeom prst="rect">
              <a:avLst/>
            </a:prstGeom>
            <a:solidFill>
              <a:srgbClr val="29292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sz="2400">
                <a:latin typeface="Agency FB" pitchFamily="34" charset="0"/>
              </a:endParaRPr>
            </a:p>
          </p:txBody>
        </p:sp>
        <p:sp>
          <p:nvSpPr>
            <p:cNvPr id="21544" name="TextBox 26">
              <a:extLst>
                <a:ext uri="{FF2B5EF4-FFF2-40B4-BE49-F238E27FC236}">
                  <a16:creationId xmlns:a16="http://schemas.microsoft.com/office/drawing/2014/main" id="{41C6FBB7-DE1E-4AE7-A481-050331992D6C}"/>
                </a:ext>
              </a:extLst>
            </p:cNvPr>
            <p:cNvSpPr txBox="1">
              <a:spLocks noChangeArrowheads="1"/>
            </p:cNvSpPr>
            <p:nvPr/>
          </p:nvSpPr>
          <p:spPr bwMode="auto">
            <a:xfrm>
              <a:off x="7898158" y="3374953"/>
              <a:ext cx="49885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00000"/>
                </a:lnSpc>
                <a:spcBef>
                  <a:spcPct val="0"/>
                </a:spcBef>
                <a:buFontTx/>
                <a:buNone/>
              </a:pPr>
              <a:r>
                <a:rPr lang="en-US" altLang="zh-CN" sz="1600" b="1">
                  <a:solidFill>
                    <a:schemeClr val="bg1"/>
                  </a:solidFill>
                  <a:latin typeface="Agency FB" panose="020B0503020202020204" pitchFamily="34" charset="0"/>
                  <a:ea typeface="新宋体" panose="02010609030101010101" pitchFamily="49" charset="-122"/>
                </a:rPr>
                <a:t>60%</a:t>
              </a:r>
              <a:endParaRPr lang="zh-CN" altLang="en-US" sz="1600" b="1">
                <a:solidFill>
                  <a:schemeClr val="bg1"/>
                </a:solidFill>
                <a:latin typeface="Agency FB" panose="020B0503020202020204" pitchFamily="34" charset="0"/>
                <a:ea typeface="新宋体" panose="02010609030101010101" pitchFamily="49" charset="-122"/>
              </a:endParaRPr>
            </a:p>
          </p:txBody>
        </p:sp>
      </p:grpSp>
      <p:grpSp>
        <p:nvGrpSpPr>
          <p:cNvPr id="42" name="组合 41">
            <a:extLst>
              <a:ext uri="{FF2B5EF4-FFF2-40B4-BE49-F238E27FC236}">
                <a16:creationId xmlns:a16="http://schemas.microsoft.com/office/drawing/2014/main" id="{AEB5A8CF-10EE-4D0F-9E97-4CBDCA7218AD}"/>
              </a:ext>
            </a:extLst>
          </p:cNvPr>
          <p:cNvGrpSpPr>
            <a:grpSpLocks/>
          </p:cNvGrpSpPr>
          <p:nvPr/>
        </p:nvGrpSpPr>
        <p:grpSpPr bwMode="auto">
          <a:xfrm>
            <a:off x="8415338" y="2328863"/>
            <a:ext cx="542925" cy="3125787"/>
            <a:chOff x="8415958" y="2328678"/>
            <a:chExt cx="542543" cy="3126615"/>
          </a:xfrm>
        </p:grpSpPr>
        <p:sp>
          <p:nvSpPr>
            <p:cNvPr id="24" name="矩形 23">
              <a:extLst>
                <a:ext uri="{FF2B5EF4-FFF2-40B4-BE49-F238E27FC236}">
                  <a16:creationId xmlns:a16="http://schemas.microsoft.com/office/drawing/2014/main" id="{E239DAA9-1609-4C8C-AD7B-A09997EEC662}"/>
                </a:ext>
              </a:extLst>
            </p:cNvPr>
            <p:cNvSpPr/>
            <p:nvPr/>
          </p:nvSpPr>
          <p:spPr>
            <a:xfrm>
              <a:off x="8415958" y="2328678"/>
              <a:ext cx="542543" cy="3126615"/>
            </a:xfrm>
            <a:prstGeom prst="rect">
              <a:avLst/>
            </a:prstGeom>
            <a:solidFill>
              <a:srgbClr val="C20F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sz="2400">
                <a:latin typeface="Agency FB" pitchFamily="34" charset="0"/>
              </a:endParaRPr>
            </a:p>
          </p:txBody>
        </p:sp>
        <p:sp>
          <p:nvSpPr>
            <p:cNvPr id="21542" name="TextBox 27">
              <a:extLst>
                <a:ext uri="{FF2B5EF4-FFF2-40B4-BE49-F238E27FC236}">
                  <a16:creationId xmlns:a16="http://schemas.microsoft.com/office/drawing/2014/main" id="{4056ECEA-D9FA-4925-ABA0-1CBB60A73EAF}"/>
                </a:ext>
              </a:extLst>
            </p:cNvPr>
            <p:cNvSpPr txBox="1">
              <a:spLocks noChangeArrowheads="1"/>
            </p:cNvSpPr>
            <p:nvPr/>
          </p:nvSpPr>
          <p:spPr bwMode="auto">
            <a:xfrm>
              <a:off x="8437802" y="2328678"/>
              <a:ext cx="49885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00000"/>
                </a:lnSpc>
                <a:spcBef>
                  <a:spcPct val="0"/>
                </a:spcBef>
                <a:buFontTx/>
                <a:buNone/>
              </a:pPr>
              <a:r>
                <a:rPr lang="en-US" altLang="zh-CN" sz="1600" b="1">
                  <a:solidFill>
                    <a:schemeClr val="bg1"/>
                  </a:solidFill>
                  <a:latin typeface="Agency FB" panose="020B0503020202020204" pitchFamily="34" charset="0"/>
                  <a:ea typeface="新宋体" panose="02010609030101010101" pitchFamily="49" charset="-122"/>
                </a:rPr>
                <a:t>90%</a:t>
              </a:r>
              <a:endParaRPr lang="zh-CN" altLang="en-US" sz="1600" b="1">
                <a:solidFill>
                  <a:schemeClr val="bg1"/>
                </a:solidFill>
                <a:latin typeface="Agency FB" panose="020B0503020202020204" pitchFamily="34" charset="0"/>
                <a:ea typeface="新宋体" panose="02010609030101010101" pitchFamily="49" charset="-122"/>
              </a:endParaRPr>
            </a:p>
          </p:txBody>
        </p:sp>
      </p:grpSp>
      <p:grpSp>
        <p:nvGrpSpPr>
          <p:cNvPr id="48" name="组合 47">
            <a:extLst>
              <a:ext uri="{FF2B5EF4-FFF2-40B4-BE49-F238E27FC236}">
                <a16:creationId xmlns:a16="http://schemas.microsoft.com/office/drawing/2014/main" id="{5BAF75F5-33B9-46F5-8AAE-98350C4A8313}"/>
              </a:ext>
            </a:extLst>
          </p:cNvPr>
          <p:cNvGrpSpPr>
            <a:grpSpLocks/>
          </p:cNvGrpSpPr>
          <p:nvPr/>
        </p:nvGrpSpPr>
        <p:grpSpPr bwMode="auto">
          <a:xfrm>
            <a:off x="9707563" y="3013075"/>
            <a:ext cx="542925" cy="2441575"/>
            <a:chOff x="9707396" y="3013258"/>
            <a:chExt cx="542543" cy="2442035"/>
          </a:xfrm>
        </p:grpSpPr>
        <p:sp>
          <p:nvSpPr>
            <p:cNvPr id="29" name="矩形 28">
              <a:extLst>
                <a:ext uri="{FF2B5EF4-FFF2-40B4-BE49-F238E27FC236}">
                  <a16:creationId xmlns:a16="http://schemas.microsoft.com/office/drawing/2014/main" id="{97D5D825-96CC-4DB8-9A78-EB70DF2F28E1}"/>
                </a:ext>
              </a:extLst>
            </p:cNvPr>
            <p:cNvSpPr/>
            <p:nvPr/>
          </p:nvSpPr>
          <p:spPr>
            <a:xfrm>
              <a:off x="9707396" y="3013258"/>
              <a:ext cx="542543" cy="2442035"/>
            </a:xfrm>
            <a:prstGeom prst="rect">
              <a:avLst/>
            </a:prstGeom>
            <a:solidFill>
              <a:srgbClr val="29292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sz="2400">
                <a:latin typeface="Agency FB" pitchFamily="34" charset="0"/>
              </a:endParaRPr>
            </a:p>
          </p:txBody>
        </p:sp>
        <p:sp>
          <p:nvSpPr>
            <p:cNvPr id="21540" name="TextBox 32">
              <a:extLst>
                <a:ext uri="{FF2B5EF4-FFF2-40B4-BE49-F238E27FC236}">
                  <a16:creationId xmlns:a16="http://schemas.microsoft.com/office/drawing/2014/main" id="{06213E32-DECB-48C1-9470-CD88313CAB3B}"/>
                </a:ext>
              </a:extLst>
            </p:cNvPr>
            <p:cNvSpPr txBox="1">
              <a:spLocks noChangeArrowheads="1"/>
            </p:cNvSpPr>
            <p:nvPr/>
          </p:nvSpPr>
          <p:spPr bwMode="auto">
            <a:xfrm>
              <a:off x="9735652" y="3013258"/>
              <a:ext cx="48603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00000"/>
                </a:lnSpc>
                <a:spcBef>
                  <a:spcPct val="0"/>
                </a:spcBef>
                <a:buFontTx/>
                <a:buNone/>
              </a:pPr>
              <a:r>
                <a:rPr lang="en-US" altLang="zh-CN" sz="1600" b="1">
                  <a:solidFill>
                    <a:schemeClr val="bg1"/>
                  </a:solidFill>
                  <a:latin typeface="Agency FB" panose="020B0503020202020204" pitchFamily="34" charset="0"/>
                  <a:ea typeface="新宋体" panose="02010609030101010101" pitchFamily="49" charset="-122"/>
                </a:rPr>
                <a:t>70%</a:t>
              </a:r>
              <a:endParaRPr lang="zh-CN" altLang="en-US" sz="1600" b="1">
                <a:solidFill>
                  <a:schemeClr val="bg1"/>
                </a:solidFill>
                <a:latin typeface="Agency FB" panose="020B0503020202020204" pitchFamily="34" charset="0"/>
                <a:ea typeface="新宋体" panose="02010609030101010101" pitchFamily="49" charset="-122"/>
              </a:endParaRPr>
            </a:p>
          </p:txBody>
        </p:sp>
      </p:grpSp>
      <p:grpSp>
        <p:nvGrpSpPr>
          <p:cNvPr id="49" name="组合 48">
            <a:extLst>
              <a:ext uri="{FF2B5EF4-FFF2-40B4-BE49-F238E27FC236}">
                <a16:creationId xmlns:a16="http://schemas.microsoft.com/office/drawing/2014/main" id="{DAC6301D-95DD-4870-ABC1-7C73997010EF}"/>
              </a:ext>
            </a:extLst>
          </p:cNvPr>
          <p:cNvGrpSpPr>
            <a:grpSpLocks/>
          </p:cNvGrpSpPr>
          <p:nvPr/>
        </p:nvGrpSpPr>
        <p:grpSpPr bwMode="auto">
          <a:xfrm>
            <a:off x="10247313" y="2017713"/>
            <a:ext cx="544512" cy="3436937"/>
            <a:chOff x="10228499" y="2018409"/>
            <a:chExt cx="543739" cy="3436883"/>
          </a:xfrm>
        </p:grpSpPr>
        <p:sp>
          <p:nvSpPr>
            <p:cNvPr id="30" name="矩形 29">
              <a:extLst>
                <a:ext uri="{FF2B5EF4-FFF2-40B4-BE49-F238E27FC236}">
                  <a16:creationId xmlns:a16="http://schemas.microsoft.com/office/drawing/2014/main" id="{BEE27813-27DA-43FB-A6D7-AB9E3942E1E0}"/>
                </a:ext>
              </a:extLst>
            </p:cNvPr>
            <p:cNvSpPr/>
            <p:nvPr/>
          </p:nvSpPr>
          <p:spPr>
            <a:xfrm>
              <a:off x="10228499" y="2018409"/>
              <a:ext cx="543739" cy="3436883"/>
            </a:xfrm>
            <a:prstGeom prst="rect">
              <a:avLst/>
            </a:prstGeom>
            <a:solidFill>
              <a:srgbClr val="C20F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sz="2400">
                <a:latin typeface="Agency FB" pitchFamily="34" charset="0"/>
              </a:endParaRPr>
            </a:p>
          </p:txBody>
        </p:sp>
        <p:sp>
          <p:nvSpPr>
            <p:cNvPr id="21538" name="TextBox 33">
              <a:extLst>
                <a:ext uri="{FF2B5EF4-FFF2-40B4-BE49-F238E27FC236}">
                  <a16:creationId xmlns:a16="http://schemas.microsoft.com/office/drawing/2014/main" id="{7F7024A4-E8D0-4FAA-95B2-2CBB014E050F}"/>
                </a:ext>
              </a:extLst>
            </p:cNvPr>
            <p:cNvSpPr txBox="1">
              <a:spLocks noChangeArrowheads="1"/>
            </p:cNvSpPr>
            <p:nvPr/>
          </p:nvSpPr>
          <p:spPr bwMode="auto">
            <a:xfrm>
              <a:off x="10228499" y="2018596"/>
              <a:ext cx="54373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00000"/>
                </a:lnSpc>
                <a:spcBef>
                  <a:spcPct val="0"/>
                </a:spcBef>
                <a:buFontTx/>
                <a:buNone/>
              </a:pPr>
              <a:r>
                <a:rPr lang="en-US" altLang="zh-CN" sz="1600" b="1">
                  <a:solidFill>
                    <a:schemeClr val="bg1"/>
                  </a:solidFill>
                  <a:latin typeface="Agency FB" panose="020B0503020202020204" pitchFamily="34" charset="0"/>
                  <a:ea typeface="新宋体" panose="02010609030101010101" pitchFamily="49" charset="-122"/>
                </a:rPr>
                <a:t>100%</a:t>
              </a:r>
              <a:endParaRPr lang="zh-CN" altLang="en-US" sz="1600" b="1">
                <a:solidFill>
                  <a:schemeClr val="bg1"/>
                </a:solidFill>
                <a:latin typeface="Agency FB" panose="020B0503020202020204" pitchFamily="34" charset="0"/>
                <a:ea typeface="新宋体" panose="02010609030101010101" pitchFamily="49" charset="-122"/>
              </a:endParaRPr>
            </a:p>
          </p:txBody>
        </p:sp>
      </p:grpSp>
      <p:cxnSp>
        <p:nvCxnSpPr>
          <p:cNvPr id="35" name="直接连接符 34">
            <a:extLst>
              <a:ext uri="{FF2B5EF4-FFF2-40B4-BE49-F238E27FC236}">
                <a16:creationId xmlns:a16="http://schemas.microsoft.com/office/drawing/2014/main" id="{024EBDEB-8FE8-4E0A-89D2-EE260FF9C46A}"/>
              </a:ext>
            </a:extLst>
          </p:cNvPr>
          <p:cNvCxnSpPr/>
          <p:nvPr/>
        </p:nvCxnSpPr>
        <p:spPr>
          <a:xfrm>
            <a:off x="1708150" y="2332038"/>
            <a:ext cx="0" cy="2622550"/>
          </a:xfrm>
          <a:prstGeom prst="line">
            <a:avLst/>
          </a:prstGeom>
          <a:ln w="38100">
            <a:solidFill>
              <a:srgbClr val="595959"/>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D4F66760-FC78-455C-96B7-B4832E65FDE5}"/>
              </a:ext>
            </a:extLst>
          </p:cNvPr>
          <p:cNvSpPr txBox="1"/>
          <p:nvPr/>
        </p:nvSpPr>
        <p:spPr>
          <a:xfrm>
            <a:off x="1488157" y="5067606"/>
            <a:ext cx="439544" cy="369332"/>
          </a:xfrm>
          <a:prstGeom prst="rect">
            <a:avLst/>
          </a:prstGeom>
          <a:noFill/>
        </p:spPr>
        <p:txBody>
          <a:bodyPr wrap="none">
            <a:spAutoFit/>
          </a:bodyPr>
          <a:lstStyle/>
          <a:p>
            <a:pPr eaLnBrk="1" fontAlgn="auto" hangingPunct="1">
              <a:spcBef>
                <a:spcPts val="0"/>
              </a:spcBef>
              <a:spcAft>
                <a:spcPts val="0"/>
              </a:spcAft>
              <a:defRPr/>
            </a:pPr>
            <a:r>
              <a:rPr lang="en-US" altLang="zh-CN" dirty="0">
                <a:gradFill>
                  <a:gsLst>
                    <a:gs pos="0">
                      <a:srgbClr val="595959"/>
                    </a:gs>
                    <a:gs pos="100000">
                      <a:srgbClr val="595959"/>
                    </a:gs>
                  </a:gsLst>
                  <a:lin ang="5400000" scaled="0"/>
                </a:gradFill>
                <a:latin typeface="Agency FB" pitchFamily="34" charset="0"/>
                <a:ea typeface="新宋体" pitchFamily="49" charset="-122"/>
              </a:rPr>
              <a:t>0%</a:t>
            </a:r>
            <a:endParaRPr lang="zh-CN" altLang="en-US" dirty="0">
              <a:gradFill>
                <a:gsLst>
                  <a:gs pos="0">
                    <a:srgbClr val="595959"/>
                  </a:gs>
                  <a:gs pos="100000">
                    <a:srgbClr val="595959"/>
                  </a:gs>
                </a:gsLst>
                <a:lin ang="5400000" scaled="0"/>
              </a:gradFill>
              <a:latin typeface="Agency FB" pitchFamily="34" charset="0"/>
              <a:ea typeface="新宋体" pitchFamily="49" charset="-122"/>
            </a:endParaRPr>
          </a:p>
        </p:txBody>
      </p:sp>
      <p:sp>
        <p:nvSpPr>
          <p:cNvPr id="37" name="TextBox 36">
            <a:extLst>
              <a:ext uri="{FF2B5EF4-FFF2-40B4-BE49-F238E27FC236}">
                <a16:creationId xmlns:a16="http://schemas.microsoft.com/office/drawing/2014/main" id="{6D87E30B-3720-4C21-810A-3071AB42F2F2}"/>
              </a:ext>
            </a:extLst>
          </p:cNvPr>
          <p:cNvSpPr txBox="1"/>
          <p:nvPr/>
        </p:nvSpPr>
        <p:spPr>
          <a:xfrm>
            <a:off x="1414419" y="1951254"/>
            <a:ext cx="587020" cy="369332"/>
          </a:xfrm>
          <a:prstGeom prst="rect">
            <a:avLst/>
          </a:prstGeom>
          <a:noFill/>
        </p:spPr>
        <p:txBody>
          <a:bodyPr wrap="none">
            <a:spAutoFit/>
          </a:bodyPr>
          <a:lstStyle/>
          <a:p>
            <a:pPr eaLnBrk="1" fontAlgn="auto" hangingPunct="1">
              <a:spcBef>
                <a:spcPts val="0"/>
              </a:spcBef>
              <a:spcAft>
                <a:spcPts val="0"/>
              </a:spcAft>
              <a:defRPr/>
            </a:pPr>
            <a:r>
              <a:rPr lang="en-US" altLang="zh-CN" dirty="0">
                <a:gradFill>
                  <a:gsLst>
                    <a:gs pos="0">
                      <a:srgbClr val="595959"/>
                    </a:gs>
                    <a:gs pos="100000">
                      <a:srgbClr val="595959"/>
                    </a:gs>
                  </a:gsLst>
                  <a:lin ang="5400000" scaled="0"/>
                </a:gradFill>
                <a:latin typeface="Agency FB" pitchFamily="34" charset="0"/>
                <a:ea typeface="新宋体" pitchFamily="49" charset="-122"/>
              </a:rPr>
              <a:t>100%</a:t>
            </a:r>
            <a:endParaRPr lang="zh-CN" altLang="en-US" dirty="0">
              <a:gradFill>
                <a:gsLst>
                  <a:gs pos="0">
                    <a:srgbClr val="595959"/>
                  </a:gs>
                  <a:gs pos="100000">
                    <a:srgbClr val="595959"/>
                  </a:gs>
                </a:gsLst>
                <a:lin ang="5400000" scaled="0"/>
              </a:gradFill>
              <a:latin typeface="Agency FB" pitchFamily="34" charset="0"/>
              <a:ea typeface="新宋体" pitchFamily="49" charset="-122"/>
            </a:endParaRPr>
          </a:p>
        </p:txBody>
      </p:sp>
      <p:cxnSp>
        <p:nvCxnSpPr>
          <p:cNvPr id="38" name="直接连接符 37">
            <a:extLst>
              <a:ext uri="{FF2B5EF4-FFF2-40B4-BE49-F238E27FC236}">
                <a16:creationId xmlns:a16="http://schemas.microsoft.com/office/drawing/2014/main" id="{FE118E28-3BD2-4FDD-BC77-E2EB34A9253D}"/>
              </a:ext>
            </a:extLst>
          </p:cNvPr>
          <p:cNvCxnSpPr/>
          <p:nvPr/>
        </p:nvCxnSpPr>
        <p:spPr>
          <a:xfrm>
            <a:off x="1258888" y="5475288"/>
            <a:ext cx="9674225" cy="0"/>
          </a:xfrm>
          <a:prstGeom prst="line">
            <a:avLst/>
          </a:prstGeom>
          <a:ln w="38100">
            <a:solidFill>
              <a:srgbClr val="595959"/>
            </a:solidFill>
          </a:ln>
        </p:spPr>
        <p:style>
          <a:lnRef idx="1">
            <a:schemeClr val="accent1"/>
          </a:lnRef>
          <a:fillRef idx="0">
            <a:schemeClr val="accent1"/>
          </a:fillRef>
          <a:effectRef idx="0">
            <a:schemeClr val="accent1"/>
          </a:effectRef>
          <a:fontRef idx="minor">
            <a:schemeClr val="tx1"/>
          </a:fontRef>
        </p:style>
      </p:cxnSp>
      <p:grpSp>
        <p:nvGrpSpPr>
          <p:cNvPr id="50" name="组合 49">
            <a:extLst>
              <a:ext uri="{FF2B5EF4-FFF2-40B4-BE49-F238E27FC236}">
                <a16:creationId xmlns:a16="http://schemas.microsoft.com/office/drawing/2014/main" id="{F720FAFC-40C6-4B11-ACB6-1F6B766F7EEA}"/>
              </a:ext>
            </a:extLst>
          </p:cNvPr>
          <p:cNvGrpSpPr>
            <a:grpSpLocks/>
          </p:cNvGrpSpPr>
          <p:nvPr/>
        </p:nvGrpSpPr>
        <p:grpSpPr bwMode="auto">
          <a:xfrm>
            <a:off x="2382838" y="5635625"/>
            <a:ext cx="1084262" cy="536575"/>
            <a:chOff x="2383069" y="5636140"/>
            <a:chExt cx="1083724" cy="535576"/>
          </a:xfrm>
        </p:grpSpPr>
        <p:sp>
          <p:nvSpPr>
            <p:cNvPr id="13" name="矩形 12">
              <a:extLst>
                <a:ext uri="{FF2B5EF4-FFF2-40B4-BE49-F238E27FC236}">
                  <a16:creationId xmlns:a16="http://schemas.microsoft.com/office/drawing/2014/main" id="{DF21151E-7109-4E3A-BD4B-D7CFB42EFAAF}"/>
                </a:ext>
              </a:extLst>
            </p:cNvPr>
            <p:cNvSpPr/>
            <p:nvPr/>
          </p:nvSpPr>
          <p:spPr>
            <a:xfrm>
              <a:off x="2383069" y="5636140"/>
              <a:ext cx="1083724" cy="53557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sz="2400">
                <a:latin typeface="Agency FB" pitchFamily="34" charset="0"/>
              </a:endParaRPr>
            </a:p>
          </p:txBody>
        </p:sp>
        <p:sp>
          <p:nvSpPr>
            <p:cNvPr id="21536" name="TextBox 42">
              <a:extLst>
                <a:ext uri="{FF2B5EF4-FFF2-40B4-BE49-F238E27FC236}">
                  <a16:creationId xmlns:a16="http://schemas.microsoft.com/office/drawing/2014/main" id="{CE652A4A-3B6E-4E4B-A9BA-D97457CF952D}"/>
                </a:ext>
              </a:extLst>
            </p:cNvPr>
            <p:cNvSpPr txBox="1">
              <a:spLocks noChangeArrowheads="1"/>
            </p:cNvSpPr>
            <p:nvPr/>
          </p:nvSpPr>
          <p:spPr bwMode="auto">
            <a:xfrm>
              <a:off x="2554477" y="5703873"/>
              <a:ext cx="74090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sz="2000" b="1">
                  <a:solidFill>
                    <a:srgbClr val="C20F2A"/>
                  </a:solidFill>
                </a:rPr>
                <a:t>TITLE</a:t>
              </a:r>
              <a:endParaRPr lang="zh-CN" altLang="en-US" sz="2000" b="1">
                <a:solidFill>
                  <a:srgbClr val="C20F2A"/>
                </a:solidFill>
              </a:endParaRPr>
            </a:p>
          </p:txBody>
        </p:sp>
      </p:grpSp>
      <p:grpSp>
        <p:nvGrpSpPr>
          <p:cNvPr id="51" name="组合 50">
            <a:extLst>
              <a:ext uri="{FF2B5EF4-FFF2-40B4-BE49-F238E27FC236}">
                <a16:creationId xmlns:a16="http://schemas.microsoft.com/office/drawing/2014/main" id="{43DE2245-A5EC-4DF0-9B7B-AB8B06FA1683}"/>
              </a:ext>
            </a:extLst>
          </p:cNvPr>
          <p:cNvGrpSpPr>
            <a:grpSpLocks/>
          </p:cNvGrpSpPr>
          <p:nvPr/>
        </p:nvGrpSpPr>
        <p:grpSpPr bwMode="auto">
          <a:xfrm>
            <a:off x="4214813" y="5635625"/>
            <a:ext cx="1082675" cy="536575"/>
            <a:chOff x="4214151" y="5636140"/>
            <a:chExt cx="1083724" cy="535576"/>
          </a:xfrm>
        </p:grpSpPr>
        <p:sp>
          <p:nvSpPr>
            <p:cNvPr id="7" name="矩形 6">
              <a:extLst>
                <a:ext uri="{FF2B5EF4-FFF2-40B4-BE49-F238E27FC236}">
                  <a16:creationId xmlns:a16="http://schemas.microsoft.com/office/drawing/2014/main" id="{B838A030-AAD0-4062-AC84-1F310651F9FD}"/>
                </a:ext>
              </a:extLst>
            </p:cNvPr>
            <p:cNvSpPr/>
            <p:nvPr/>
          </p:nvSpPr>
          <p:spPr>
            <a:xfrm>
              <a:off x="4214151" y="5636140"/>
              <a:ext cx="1083724" cy="53557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sz="2400">
                <a:latin typeface="Agency FB" pitchFamily="34" charset="0"/>
              </a:endParaRPr>
            </a:p>
          </p:txBody>
        </p:sp>
        <p:sp>
          <p:nvSpPr>
            <p:cNvPr id="21534" name="TextBox 43">
              <a:extLst>
                <a:ext uri="{FF2B5EF4-FFF2-40B4-BE49-F238E27FC236}">
                  <a16:creationId xmlns:a16="http://schemas.microsoft.com/office/drawing/2014/main" id="{C1D8237B-955B-4407-AC40-702C22B2618F}"/>
                </a:ext>
              </a:extLst>
            </p:cNvPr>
            <p:cNvSpPr txBox="1">
              <a:spLocks noChangeArrowheads="1"/>
            </p:cNvSpPr>
            <p:nvPr/>
          </p:nvSpPr>
          <p:spPr bwMode="auto">
            <a:xfrm>
              <a:off x="4386240" y="5703873"/>
              <a:ext cx="74090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sz="2000" b="1">
                  <a:solidFill>
                    <a:srgbClr val="C20F2A"/>
                  </a:solidFill>
                </a:rPr>
                <a:t>TITLE</a:t>
              </a:r>
              <a:endParaRPr lang="zh-CN" altLang="en-US" sz="2000" b="1">
                <a:solidFill>
                  <a:srgbClr val="C20F2A"/>
                </a:solidFill>
              </a:endParaRPr>
            </a:p>
          </p:txBody>
        </p:sp>
      </p:grpSp>
      <p:grpSp>
        <p:nvGrpSpPr>
          <p:cNvPr id="52" name="组合 51">
            <a:extLst>
              <a:ext uri="{FF2B5EF4-FFF2-40B4-BE49-F238E27FC236}">
                <a16:creationId xmlns:a16="http://schemas.microsoft.com/office/drawing/2014/main" id="{8006A068-66A4-4264-AAB3-B056BFA22955}"/>
              </a:ext>
            </a:extLst>
          </p:cNvPr>
          <p:cNvGrpSpPr>
            <a:grpSpLocks/>
          </p:cNvGrpSpPr>
          <p:nvPr/>
        </p:nvGrpSpPr>
        <p:grpSpPr bwMode="auto">
          <a:xfrm>
            <a:off x="6045200" y="5635625"/>
            <a:ext cx="1084263" cy="536575"/>
            <a:chOff x="6045233" y="5636140"/>
            <a:chExt cx="1083724" cy="535576"/>
          </a:xfrm>
        </p:grpSpPr>
        <p:sp>
          <p:nvSpPr>
            <p:cNvPr id="19" name="矩形 18">
              <a:extLst>
                <a:ext uri="{FF2B5EF4-FFF2-40B4-BE49-F238E27FC236}">
                  <a16:creationId xmlns:a16="http://schemas.microsoft.com/office/drawing/2014/main" id="{076AB04A-4BCA-4818-92C7-6105DA482657}"/>
                </a:ext>
              </a:extLst>
            </p:cNvPr>
            <p:cNvSpPr/>
            <p:nvPr/>
          </p:nvSpPr>
          <p:spPr>
            <a:xfrm>
              <a:off x="6045233" y="5636140"/>
              <a:ext cx="1083724" cy="53557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sz="2400">
                <a:latin typeface="Agency FB" pitchFamily="34" charset="0"/>
              </a:endParaRPr>
            </a:p>
          </p:txBody>
        </p:sp>
        <p:sp>
          <p:nvSpPr>
            <p:cNvPr id="21532" name="TextBox 44">
              <a:extLst>
                <a:ext uri="{FF2B5EF4-FFF2-40B4-BE49-F238E27FC236}">
                  <a16:creationId xmlns:a16="http://schemas.microsoft.com/office/drawing/2014/main" id="{D7399BD3-A0C2-4781-802B-447AE2AB05A1}"/>
                </a:ext>
              </a:extLst>
            </p:cNvPr>
            <p:cNvSpPr txBox="1">
              <a:spLocks noChangeArrowheads="1"/>
            </p:cNvSpPr>
            <p:nvPr/>
          </p:nvSpPr>
          <p:spPr bwMode="auto">
            <a:xfrm>
              <a:off x="6216641" y="5703873"/>
              <a:ext cx="74090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sz="2000" b="1">
                  <a:solidFill>
                    <a:srgbClr val="C20F2A"/>
                  </a:solidFill>
                </a:rPr>
                <a:t>TITLE</a:t>
              </a:r>
              <a:endParaRPr lang="zh-CN" altLang="en-US" sz="2000" b="1">
                <a:solidFill>
                  <a:srgbClr val="C20F2A"/>
                </a:solidFill>
              </a:endParaRPr>
            </a:p>
          </p:txBody>
        </p:sp>
      </p:grpSp>
      <p:grpSp>
        <p:nvGrpSpPr>
          <p:cNvPr id="53" name="组合 52">
            <a:extLst>
              <a:ext uri="{FF2B5EF4-FFF2-40B4-BE49-F238E27FC236}">
                <a16:creationId xmlns:a16="http://schemas.microsoft.com/office/drawing/2014/main" id="{42FBB0E1-DD86-4DB6-B20F-0D064A0C9E12}"/>
              </a:ext>
            </a:extLst>
          </p:cNvPr>
          <p:cNvGrpSpPr>
            <a:grpSpLocks/>
          </p:cNvGrpSpPr>
          <p:nvPr/>
        </p:nvGrpSpPr>
        <p:grpSpPr bwMode="auto">
          <a:xfrm>
            <a:off x="7875588" y="5635625"/>
            <a:ext cx="1084262" cy="536575"/>
            <a:chOff x="7876314" y="5636140"/>
            <a:chExt cx="1083724" cy="535576"/>
          </a:xfrm>
        </p:grpSpPr>
        <p:sp>
          <p:nvSpPr>
            <p:cNvPr id="25" name="矩形 24">
              <a:extLst>
                <a:ext uri="{FF2B5EF4-FFF2-40B4-BE49-F238E27FC236}">
                  <a16:creationId xmlns:a16="http://schemas.microsoft.com/office/drawing/2014/main" id="{FE45C962-4BFB-4713-A922-174D9C2BD6B8}"/>
                </a:ext>
              </a:extLst>
            </p:cNvPr>
            <p:cNvSpPr/>
            <p:nvPr/>
          </p:nvSpPr>
          <p:spPr>
            <a:xfrm>
              <a:off x="7876314" y="5636140"/>
              <a:ext cx="1083724" cy="53557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sz="2400">
                <a:latin typeface="Agency FB" pitchFamily="34" charset="0"/>
              </a:endParaRPr>
            </a:p>
          </p:txBody>
        </p:sp>
        <p:sp>
          <p:nvSpPr>
            <p:cNvPr id="21530" name="TextBox 45">
              <a:extLst>
                <a:ext uri="{FF2B5EF4-FFF2-40B4-BE49-F238E27FC236}">
                  <a16:creationId xmlns:a16="http://schemas.microsoft.com/office/drawing/2014/main" id="{44722A05-A551-4772-94C3-652B925ED7E1}"/>
                </a:ext>
              </a:extLst>
            </p:cNvPr>
            <p:cNvSpPr txBox="1">
              <a:spLocks noChangeArrowheads="1"/>
            </p:cNvSpPr>
            <p:nvPr/>
          </p:nvSpPr>
          <p:spPr bwMode="auto">
            <a:xfrm>
              <a:off x="8047722" y="5703873"/>
              <a:ext cx="74090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sz="2000" b="1">
                  <a:solidFill>
                    <a:srgbClr val="C20F2A"/>
                  </a:solidFill>
                </a:rPr>
                <a:t>TITLE</a:t>
              </a:r>
              <a:endParaRPr lang="zh-CN" altLang="en-US" sz="2000" b="1">
                <a:solidFill>
                  <a:srgbClr val="C20F2A"/>
                </a:solidFill>
              </a:endParaRPr>
            </a:p>
          </p:txBody>
        </p:sp>
      </p:grpSp>
      <p:grpSp>
        <p:nvGrpSpPr>
          <p:cNvPr id="54" name="组合 53">
            <a:extLst>
              <a:ext uri="{FF2B5EF4-FFF2-40B4-BE49-F238E27FC236}">
                <a16:creationId xmlns:a16="http://schemas.microsoft.com/office/drawing/2014/main" id="{9001EFC3-CA50-4711-8348-839592402E6F}"/>
              </a:ext>
            </a:extLst>
          </p:cNvPr>
          <p:cNvGrpSpPr>
            <a:grpSpLocks/>
          </p:cNvGrpSpPr>
          <p:nvPr/>
        </p:nvGrpSpPr>
        <p:grpSpPr bwMode="auto">
          <a:xfrm>
            <a:off x="9707563" y="5635625"/>
            <a:ext cx="1084262" cy="536575"/>
            <a:chOff x="9707396" y="5636140"/>
            <a:chExt cx="1083724" cy="535576"/>
          </a:xfrm>
        </p:grpSpPr>
        <p:sp>
          <p:nvSpPr>
            <p:cNvPr id="31" name="矩形 30">
              <a:extLst>
                <a:ext uri="{FF2B5EF4-FFF2-40B4-BE49-F238E27FC236}">
                  <a16:creationId xmlns:a16="http://schemas.microsoft.com/office/drawing/2014/main" id="{C601D93B-6141-4981-98BD-B22C27C87BDC}"/>
                </a:ext>
              </a:extLst>
            </p:cNvPr>
            <p:cNvSpPr/>
            <p:nvPr/>
          </p:nvSpPr>
          <p:spPr>
            <a:xfrm>
              <a:off x="9707396" y="5636140"/>
              <a:ext cx="1083724" cy="53557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sz="2400">
                <a:latin typeface="Agency FB" pitchFamily="34" charset="0"/>
              </a:endParaRPr>
            </a:p>
          </p:txBody>
        </p:sp>
        <p:sp>
          <p:nvSpPr>
            <p:cNvPr id="21528" name="TextBox 46">
              <a:extLst>
                <a:ext uri="{FF2B5EF4-FFF2-40B4-BE49-F238E27FC236}">
                  <a16:creationId xmlns:a16="http://schemas.microsoft.com/office/drawing/2014/main" id="{507210CE-F962-4E7C-AA9A-DB5D9ADDC6F6}"/>
                </a:ext>
              </a:extLst>
            </p:cNvPr>
            <p:cNvSpPr txBox="1">
              <a:spLocks noChangeArrowheads="1"/>
            </p:cNvSpPr>
            <p:nvPr/>
          </p:nvSpPr>
          <p:spPr bwMode="auto">
            <a:xfrm>
              <a:off x="9878123" y="5703873"/>
              <a:ext cx="74090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sz="2000" b="1">
                  <a:solidFill>
                    <a:srgbClr val="C20F2A"/>
                  </a:solidFill>
                </a:rPr>
                <a:t>TITLE</a:t>
              </a:r>
              <a:endParaRPr lang="zh-CN" altLang="en-US" sz="2000" b="1">
                <a:solidFill>
                  <a:srgbClr val="C20F2A"/>
                </a:solidFill>
              </a:endParaRPr>
            </a:p>
          </p:txBody>
        </p:sp>
      </p:grpSp>
      <p:sp>
        <p:nvSpPr>
          <p:cNvPr id="21526" name="文本框 56">
            <a:extLst>
              <a:ext uri="{FF2B5EF4-FFF2-40B4-BE49-F238E27FC236}">
                <a16:creationId xmlns:a16="http://schemas.microsoft.com/office/drawing/2014/main" id="{3EAD0335-748F-4879-8FB7-CD2F2EA87F33}"/>
              </a:ext>
            </a:extLst>
          </p:cNvPr>
          <p:cNvSpPr txBox="1">
            <a:spLocks noChangeArrowheads="1"/>
          </p:cNvSpPr>
          <p:nvPr/>
        </p:nvSpPr>
        <p:spPr bwMode="auto">
          <a:xfrm>
            <a:off x="1154113" y="566738"/>
            <a:ext cx="509587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00000"/>
              </a:lnSpc>
              <a:spcBef>
                <a:spcPct val="0"/>
              </a:spcBef>
              <a:buFontTx/>
              <a:buNone/>
            </a:pPr>
            <a:r>
              <a:rPr lang="en-US" altLang="zh-CN" sz="3200" b="1">
                <a:solidFill>
                  <a:srgbClr val="C20F2A"/>
                </a:solidFill>
                <a:latin typeface="Agency FB" panose="020B0503020202020204" pitchFamily="34" charset="0"/>
              </a:rPr>
              <a:t>CLICK TO ADD YOUR TITLE IN HERE</a:t>
            </a: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nodeType="afterGroup">
                            <p:stCondLst>
                              <p:cond delay="500"/>
                            </p:stCondLst>
                            <p:childTnLst>
                              <p:par>
                                <p:cTn id="9" presetID="10" presetClass="entr" presetSubtype="0" fill="hold" nodeType="afterEffect">
                                  <p:stCondLst>
                                    <p:cond delay="0"/>
                                  </p:stCondLst>
                                  <p:childTnLst>
                                    <p:set>
                                      <p:cBhvr>
                                        <p:cTn id="10" dur="1" fill="hold">
                                          <p:stCondLst>
                                            <p:cond delay="0"/>
                                          </p:stCondLst>
                                        </p:cTn>
                                        <p:tgtEl>
                                          <p:spTgt spid="35"/>
                                        </p:tgtEl>
                                        <p:attrNameLst>
                                          <p:attrName>style.visibility</p:attrName>
                                        </p:attrNameLst>
                                      </p:cBhvr>
                                      <p:to>
                                        <p:strVal val="visible"/>
                                      </p:to>
                                    </p:set>
                                    <p:animEffect transition="in" filter="fade">
                                      <p:cBhvr>
                                        <p:cTn id="11" dur="500"/>
                                        <p:tgtEl>
                                          <p:spTgt spid="35"/>
                                        </p:tgtEl>
                                      </p:cBhvr>
                                    </p:animEffect>
                                  </p:childTnLst>
                                </p:cTn>
                              </p:par>
                              <p:par>
                                <p:cTn id="12" presetID="10" presetClass="entr" presetSubtype="0" fill="hold" nodeType="withEffect">
                                  <p:stCondLst>
                                    <p:cond delay="0"/>
                                  </p:stCondLst>
                                  <p:childTnLst>
                                    <p:set>
                                      <p:cBhvr>
                                        <p:cTn id="13" dur="1" fill="hold">
                                          <p:stCondLst>
                                            <p:cond delay="0"/>
                                          </p:stCondLst>
                                        </p:cTn>
                                        <p:tgtEl>
                                          <p:spTgt spid="36"/>
                                        </p:tgtEl>
                                        <p:attrNameLst>
                                          <p:attrName>style.visibility</p:attrName>
                                        </p:attrNameLst>
                                      </p:cBhvr>
                                      <p:to>
                                        <p:strVal val="visible"/>
                                      </p:to>
                                    </p:set>
                                    <p:animEffect transition="in" filter="fade">
                                      <p:cBhvr>
                                        <p:cTn id="14" dur="500"/>
                                        <p:tgtEl>
                                          <p:spTgt spid="36"/>
                                        </p:tgtEl>
                                      </p:cBhvr>
                                    </p:animEffect>
                                  </p:childTnLst>
                                </p:cTn>
                              </p:par>
                              <p:par>
                                <p:cTn id="15" presetID="10" presetClass="entr" presetSubtype="0" fill="hold" nodeType="withEffect">
                                  <p:stCondLst>
                                    <p:cond delay="0"/>
                                  </p:stCondLst>
                                  <p:childTnLst>
                                    <p:set>
                                      <p:cBhvr>
                                        <p:cTn id="16" dur="1" fill="hold">
                                          <p:stCondLst>
                                            <p:cond delay="0"/>
                                          </p:stCondLst>
                                        </p:cTn>
                                        <p:tgtEl>
                                          <p:spTgt spid="37"/>
                                        </p:tgtEl>
                                        <p:attrNameLst>
                                          <p:attrName>style.visibility</p:attrName>
                                        </p:attrNameLst>
                                      </p:cBhvr>
                                      <p:to>
                                        <p:strVal val="visible"/>
                                      </p:to>
                                    </p:set>
                                    <p:animEffect transition="in" filter="fade">
                                      <p:cBhvr>
                                        <p:cTn id="17" dur="500"/>
                                        <p:tgtEl>
                                          <p:spTgt spid="37"/>
                                        </p:tgtEl>
                                      </p:cBhvr>
                                    </p:animEffect>
                                  </p:childTnLst>
                                </p:cTn>
                              </p:par>
                              <p:par>
                                <p:cTn id="18" presetID="10" presetClass="entr" presetSubtype="0" fill="hold" nodeType="withEffect">
                                  <p:stCondLst>
                                    <p:cond delay="0"/>
                                  </p:stCondLst>
                                  <p:childTnLst>
                                    <p:set>
                                      <p:cBhvr>
                                        <p:cTn id="19" dur="1" fill="hold">
                                          <p:stCondLst>
                                            <p:cond delay="0"/>
                                          </p:stCondLst>
                                        </p:cTn>
                                        <p:tgtEl>
                                          <p:spTgt spid="38"/>
                                        </p:tgtEl>
                                        <p:attrNameLst>
                                          <p:attrName>style.visibility</p:attrName>
                                        </p:attrNameLst>
                                      </p:cBhvr>
                                      <p:to>
                                        <p:strVal val="visible"/>
                                      </p:to>
                                    </p:set>
                                    <p:animEffect transition="in" filter="fade">
                                      <p:cBhvr>
                                        <p:cTn id="20" dur="500"/>
                                        <p:tgtEl>
                                          <p:spTgt spid="38"/>
                                        </p:tgtEl>
                                      </p:cBhvr>
                                    </p:animEffect>
                                  </p:childTnLst>
                                </p:cTn>
                              </p:par>
                            </p:childTnLst>
                          </p:cTn>
                        </p:par>
                        <p:par>
                          <p:cTn id="21" fill="hold" nodeType="afterGroup">
                            <p:stCondLst>
                              <p:cond delay="1000"/>
                            </p:stCondLst>
                            <p:childTnLst>
                              <p:par>
                                <p:cTn id="22" presetID="42" presetClass="entr" presetSubtype="0" fill="hold" nodeType="afterEffect">
                                  <p:stCondLst>
                                    <p:cond delay="0"/>
                                  </p:stCondLst>
                                  <p:childTnLst>
                                    <p:set>
                                      <p:cBhvr>
                                        <p:cTn id="23" dur="1" fill="hold">
                                          <p:stCondLst>
                                            <p:cond delay="0"/>
                                          </p:stCondLst>
                                        </p:cTn>
                                        <p:tgtEl>
                                          <p:spTgt spid="50"/>
                                        </p:tgtEl>
                                        <p:attrNameLst>
                                          <p:attrName>style.visibility</p:attrName>
                                        </p:attrNameLst>
                                      </p:cBhvr>
                                      <p:to>
                                        <p:strVal val="visible"/>
                                      </p:to>
                                    </p:set>
                                    <p:animEffect transition="in" filter="fade">
                                      <p:cBhvr>
                                        <p:cTn id="24" dur="500"/>
                                        <p:tgtEl>
                                          <p:spTgt spid="50"/>
                                        </p:tgtEl>
                                      </p:cBhvr>
                                    </p:animEffect>
                                    <p:anim calcmode="lin" valueType="num">
                                      <p:cBhvr>
                                        <p:cTn id="25" dur="500" fill="hold"/>
                                        <p:tgtEl>
                                          <p:spTgt spid="50"/>
                                        </p:tgtEl>
                                        <p:attrNameLst>
                                          <p:attrName>ppt_x</p:attrName>
                                        </p:attrNameLst>
                                      </p:cBhvr>
                                      <p:tavLst>
                                        <p:tav tm="0">
                                          <p:val>
                                            <p:strVal val="#ppt_x"/>
                                          </p:val>
                                        </p:tav>
                                        <p:tav tm="100000">
                                          <p:val>
                                            <p:strVal val="#ppt_x"/>
                                          </p:val>
                                        </p:tav>
                                      </p:tavLst>
                                    </p:anim>
                                    <p:anim calcmode="lin" valueType="num">
                                      <p:cBhvr>
                                        <p:cTn id="26" dur="500" fill="hold"/>
                                        <p:tgtEl>
                                          <p:spTgt spid="50"/>
                                        </p:tgtEl>
                                        <p:attrNameLst>
                                          <p:attrName>ppt_y</p:attrName>
                                        </p:attrNameLst>
                                      </p:cBhvr>
                                      <p:tavLst>
                                        <p:tav tm="0">
                                          <p:val>
                                            <p:strVal val="#ppt_y+.1"/>
                                          </p:val>
                                        </p:tav>
                                        <p:tav tm="100000">
                                          <p:val>
                                            <p:strVal val="#ppt_y"/>
                                          </p:val>
                                        </p:tav>
                                      </p:tavLst>
                                    </p:anim>
                                  </p:childTnLst>
                                </p:cTn>
                              </p:par>
                            </p:childTnLst>
                          </p:cTn>
                        </p:par>
                        <p:par>
                          <p:cTn id="27" fill="hold" nodeType="afterGroup">
                            <p:stCondLst>
                              <p:cond delay="1500"/>
                            </p:stCondLst>
                            <p:childTnLst>
                              <p:par>
                                <p:cTn id="28" presetID="22" presetClass="entr" presetSubtype="4" fill="hold" nodeType="after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wipe(down)">
                                      <p:cBhvr>
                                        <p:cTn id="30" dur="500"/>
                                        <p:tgtEl>
                                          <p:spTgt spid="14"/>
                                        </p:tgtEl>
                                      </p:cBhvr>
                                    </p:animEffect>
                                  </p:childTnLst>
                                </p:cTn>
                              </p:par>
                            </p:childTnLst>
                          </p:cTn>
                        </p:par>
                        <p:par>
                          <p:cTn id="31" fill="hold" nodeType="afterGroup">
                            <p:stCondLst>
                              <p:cond delay="2000"/>
                            </p:stCondLst>
                            <p:childTnLst>
                              <p:par>
                                <p:cTn id="32" presetID="22" presetClass="entr" presetSubtype="4" fill="hold" nodeType="afterEffect">
                                  <p:stCondLst>
                                    <p:cond delay="0"/>
                                  </p:stCondLst>
                                  <p:childTnLst>
                                    <p:set>
                                      <p:cBhvr>
                                        <p:cTn id="33" dur="1" fill="hold">
                                          <p:stCondLst>
                                            <p:cond delay="0"/>
                                          </p:stCondLst>
                                        </p:cTn>
                                        <p:tgtEl>
                                          <p:spTgt spid="8"/>
                                        </p:tgtEl>
                                        <p:attrNameLst>
                                          <p:attrName>style.visibility</p:attrName>
                                        </p:attrNameLst>
                                      </p:cBhvr>
                                      <p:to>
                                        <p:strVal val="visible"/>
                                      </p:to>
                                    </p:set>
                                    <p:animEffect transition="in" filter="wipe(down)">
                                      <p:cBhvr>
                                        <p:cTn id="34" dur="500"/>
                                        <p:tgtEl>
                                          <p:spTgt spid="8"/>
                                        </p:tgtEl>
                                      </p:cBhvr>
                                    </p:animEffect>
                                  </p:childTnLst>
                                </p:cTn>
                              </p:par>
                            </p:childTnLst>
                          </p:cTn>
                        </p:par>
                        <p:par>
                          <p:cTn id="35" fill="hold" nodeType="afterGroup">
                            <p:stCondLst>
                              <p:cond delay="2500"/>
                            </p:stCondLst>
                            <p:childTnLst>
                              <p:par>
                                <p:cTn id="36" presetID="42" presetClass="entr" presetSubtype="0" fill="hold" nodeType="afterEffect">
                                  <p:stCondLst>
                                    <p:cond delay="0"/>
                                  </p:stCondLst>
                                  <p:childTnLst>
                                    <p:set>
                                      <p:cBhvr>
                                        <p:cTn id="37" dur="1" fill="hold">
                                          <p:stCondLst>
                                            <p:cond delay="0"/>
                                          </p:stCondLst>
                                        </p:cTn>
                                        <p:tgtEl>
                                          <p:spTgt spid="51"/>
                                        </p:tgtEl>
                                        <p:attrNameLst>
                                          <p:attrName>style.visibility</p:attrName>
                                        </p:attrNameLst>
                                      </p:cBhvr>
                                      <p:to>
                                        <p:strVal val="visible"/>
                                      </p:to>
                                    </p:set>
                                    <p:animEffect transition="in" filter="fade">
                                      <p:cBhvr>
                                        <p:cTn id="38" dur="500"/>
                                        <p:tgtEl>
                                          <p:spTgt spid="51"/>
                                        </p:tgtEl>
                                      </p:cBhvr>
                                    </p:animEffect>
                                    <p:anim calcmode="lin" valueType="num">
                                      <p:cBhvr>
                                        <p:cTn id="39" dur="500" fill="hold"/>
                                        <p:tgtEl>
                                          <p:spTgt spid="51"/>
                                        </p:tgtEl>
                                        <p:attrNameLst>
                                          <p:attrName>ppt_x</p:attrName>
                                        </p:attrNameLst>
                                      </p:cBhvr>
                                      <p:tavLst>
                                        <p:tav tm="0">
                                          <p:val>
                                            <p:strVal val="#ppt_x"/>
                                          </p:val>
                                        </p:tav>
                                        <p:tav tm="100000">
                                          <p:val>
                                            <p:strVal val="#ppt_x"/>
                                          </p:val>
                                        </p:tav>
                                      </p:tavLst>
                                    </p:anim>
                                    <p:anim calcmode="lin" valueType="num">
                                      <p:cBhvr>
                                        <p:cTn id="40" dur="500" fill="hold"/>
                                        <p:tgtEl>
                                          <p:spTgt spid="51"/>
                                        </p:tgtEl>
                                        <p:attrNameLst>
                                          <p:attrName>ppt_y</p:attrName>
                                        </p:attrNameLst>
                                      </p:cBhvr>
                                      <p:tavLst>
                                        <p:tav tm="0">
                                          <p:val>
                                            <p:strVal val="#ppt_y+.1"/>
                                          </p:val>
                                        </p:tav>
                                        <p:tav tm="100000">
                                          <p:val>
                                            <p:strVal val="#ppt_y"/>
                                          </p:val>
                                        </p:tav>
                                      </p:tavLst>
                                    </p:anim>
                                  </p:childTnLst>
                                </p:cTn>
                              </p:par>
                            </p:childTnLst>
                          </p:cTn>
                        </p:par>
                        <p:par>
                          <p:cTn id="41" fill="hold" nodeType="afterGroup">
                            <p:stCondLst>
                              <p:cond delay="3000"/>
                            </p:stCondLst>
                            <p:childTnLst>
                              <p:par>
                                <p:cTn id="42" presetID="22" presetClass="entr" presetSubtype="4" fill="hold" nodeType="afterEffect">
                                  <p:stCondLst>
                                    <p:cond delay="0"/>
                                  </p:stCondLst>
                                  <p:childTnLst>
                                    <p:set>
                                      <p:cBhvr>
                                        <p:cTn id="43" dur="1" fill="hold">
                                          <p:stCondLst>
                                            <p:cond delay="0"/>
                                          </p:stCondLst>
                                        </p:cTn>
                                        <p:tgtEl>
                                          <p:spTgt spid="20"/>
                                        </p:tgtEl>
                                        <p:attrNameLst>
                                          <p:attrName>style.visibility</p:attrName>
                                        </p:attrNameLst>
                                      </p:cBhvr>
                                      <p:to>
                                        <p:strVal val="visible"/>
                                      </p:to>
                                    </p:set>
                                    <p:animEffect transition="in" filter="wipe(down)">
                                      <p:cBhvr>
                                        <p:cTn id="44" dur="500"/>
                                        <p:tgtEl>
                                          <p:spTgt spid="20"/>
                                        </p:tgtEl>
                                      </p:cBhvr>
                                    </p:animEffect>
                                  </p:childTnLst>
                                </p:cTn>
                              </p:par>
                            </p:childTnLst>
                          </p:cTn>
                        </p:par>
                        <p:par>
                          <p:cTn id="45" fill="hold" nodeType="afterGroup">
                            <p:stCondLst>
                              <p:cond delay="3500"/>
                            </p:stCondLst>
                            <p:childTnLst>
                              <p:par>
                                <p:cTn id="46" presetID="22" presetClass="entr" presetSubtype="4" fill="hold" nodeType="afterEffect">
                                  <p:stCondLst>
                                    <p:cond delay="0"/>
                                  </p:stCondLst>
                                  <p:childTnLst>
                                    <p:set>
                                      <p:cBhvr>
                                        <p:cTn id="47" dur="1" fill="hold">
                                          <p:stCondLst>
                                            <p:cond delay="0"/>
                                          </p:stCondLst>
                                        </p:cTn>
                                        <p:tgtEl>
                                          <p:spTgt spid="26"/>
                                        </p:tgtEl>
                                        <p:attrNameLst>
                                          <p:attrName>style.visibility</p:attrName>
                                        </p:attrNameLst>
                                      </p:cBhvr>
                                      <p:to>
                                        <p:strVal val="visible"/>
                                      </p:to>
                                    </p:set>
                                    <p:animEffect transition="in" filter="wipe(down)">
                                      <p:cBhvr>
                                        <p:cTn id="48" dur="500"/>
                                        <p:tgtEl>
                                          <p:spTgt spid="26"/>
                                        </p:tgtEl>
                                      </p:cBhvr>
                                    </p:animEffect>
                                  </p:childTnLst>
                                </p:cTn>
                              </p:par>
                            </p:childTnLst>
                          </p:cTn>
                        </p:par>
                        <p:par>
                          <p:cTn id="49" fill="hold" nodeType="afterGroup">
                            <p:stCondLst>
                              <p:cond delay="4000"/>
                            </p:stCondLst>
                            <p:childTnLst>
                              <p:par>
                                <p:cTn id="50" presetID="42" presetClass="entr" presetSubtype="0" fill="hold" nodeType="afterEffect">
                                  <p:stCondLst>
                                    <p:cond delay="0"/>
                                  </p:stCondLst>
                                  <p:childTnLst>
                                    <p:set>
                                      <p:cBhvr>
                                        <p:cTn id="51" dur="1" fill="hold">
                                          <p:stCondLst>
                                            <p:cond delay="0"/>
                                          </p:stCondLst>
                                        </p:cTn>
                                        <p:tgtEl>
                                          <p:spTgt spid="52"/>
                                        </p:tgtEl>
                                        <p:attrNameLst>
                                          <p:attrName>style.visibility</p:attrName>
                                        </p:attrNameLst>
                                      </p:cBhvr>
                                      <p:to>
                                        <p:strVal val="visible"/>
                                      </p:to>
                                    </p:set>
                                    <p:animEffect transition="in" filter="fade">
                                      <p:cBhvr>
                                        <p:cTn id="52" dur="500"/>
                                        <p:tgtEl>
                                          <p:spTgt spid="52"/>
                                        </p:tgtEl>
                                      </p:cBhvr>
                                    </p:animEffect>
                                    <p:anim calcmode="lin" valueType="num">
                                      <p:cBhvr>
                                        <p:cTn id="53" dur="500" fill="hold"/>
                                        <p:tgtEl>
                                          <p:spTgt spid="52"/>
                                        </p:tgtEl>
                                        <p:attrNameLst>
                                          <p:attrName>ppt_x</p:attrName>
                                        </p:attrNameLst>
                                      </p:cBhvr>
                                      <p:tavLst>
                                        <p:tav tm="0">
                                          <p:val>
                                            <p:strVal val="#ppt_x"/>
                                          </p:val>
                                        </p:tav>
                                        <p:tav tm="100000">
                                          <p:val>
                                            <p:strVal val="#ppt_x"/>
                                          </p:val>
                                        </p:tav>
                                      </p:tavLst>
                                    </p:anim>
                                    <p:anim calcmode="lin" valueType="num">
                                      <p:cBhvr>
                                        <p:cTn id="54" dur="500" fill="hold"/>
                                        <p:tgtEl>
                                          <p:spTgt spid="52"/>
                                        </p:tgtEl>
                                        <p:attrNameLst>
                                          <p:attrName>ppt_y</p:attrName>
                                        </p:attrNameLst>
                                      </p:cBhvr>
                                      <p:tavLst>
                                        <p:tav tm="0">
                                          <p:val>
                                            <p:strVal val="#ppt_y+.1"/>
                                          </p:val>
                                        </p:tav>
                                        <p:tav tm="100000">
                                          <p:val>
                                            <p:strVal val="#ppt_y"/>
                                          </p:val>
                                        </p:tav>
                                      </p:tavLst>
                                    </p:anim>
                                  </p:childTnLst>
                                </p:cTn>
                              </p:par>
                            </p:childTnLst>
                          </p:cTn>
                        </p:par>
                        <p:par>
                          <p:cTn id="55" fill="hold" nodeType="afterGroup">
                            <p:stCondLst>
                              <p:cond delay="4500"/>
                            </p:stCondLst>
                            <p:childTnLst>
                              <p:par>
                                <p:cTn id="56" presetID="22" presetClass="entr" presetSubtype="4" fill="hold" nodeType="afterEffect">
                                  <p:stCondLst>
                                    <p:cond delay="0"/>
                                  </p:stCondLst>
                                  <p:childTnLst>
                                    <p:set>
                                      <p:cBhvr>
                                        <p:cTn id="57" dur="1" fill="hold">
                                          <p:stCondLst>
                                            <p:cond delay="0"/>
                                          </p:stCondLst>
                                        </p:cTn>
                                        <p:tgtEl>
                                          <p:spTgt spid="32"/>
                                        </p:tgtEl>
                                        <p:attrNameLst>
                                          <p:attrName>style.visibility</p:attrName>
                                        </p:attrNameLst>
                                      </p:cBhvr>
                                      <p:to>
                                        <p:strVal val="visible"/>
                                      </p:to>
                                    </p:set>
                                    <p:animEffect transition="in" filter="wipe(down)">
                                      <p:cBhvr>
                                        <p:cTn id="58" dur="500"/>
                                        <p:tgtEl>
                                          <p:spTgt spid="32"/>
                                        </p:tgtEl>
                                      </p:cBhvr>
                                    </p:animEffect>
                                  </p:childTnLst>
                                </p:cTn>
                              </p:par>
                            </p:childTnLst>
                          </p:cTn>
                        </p:par>
                        <p:par>
                          <p:cTn id="59" fill="hold" nodeType="afterGroup">
                            <p:stCondLst>
                              <p:cond delay="5000"/>
                            </p:stCondLst>
                            <p:childTnLst>
                              <p:par>
                                <p:cTn id="60" presetID="22" presetClass="entr" presetSubtype="4" fill="hold" nodeType="afterEffect">
                                  <p:stCondLst>
                                    <p:cond delay="0"/>
                                  </p:stCondLst>
                                  <p:childTnLst>
                                    <p:set>
                                      <p:cBhvr>
                                        <p:cTn id="61" dur="1" fill="hold">
                                          <p:stCondLst>
                                            <p:cond delay="0"/>
                                          </p:stCondLst>
                                        </p:cTn>
                                        <p:tgtEl>
                                          <p:spTgt spid="40"/>
                                        </p:tgtEl>
                                        <p:attrNameLst>
                                          <p:attrName>style.visibility</p:attrName>
                                        </p:attrNameLst>
                                      </p:cBhvr>
                                      <p:to>
                                        <p:strVal val="visible"/>
                                      </p:to>
                                    </p:set>
                                    <p:animEffect transition="in" filter="wipe(down)">
                                      <p:cBhvr>
                                        <p:cTn id="62" dur="500"/>
                                        <p:tgtEl>
                                          <p:spTgt spid="40"/>
                                        </p:tgtEl>
                                      </p:cBhvr>
                                    </p:animEffect>
                                  </p:childTnLst>
                                </p:cTn>
                              </p:par>
                            </p:childTnLst>
                          </p:cTn>
                        </p:par>
                        <p:par>
                          <p:cTn id="63" fill="hold" nodeType="afterGroup">
                            <p:stCondLst>
                              <p:cond delay="5500"/>
                            </p:stCondLst>
                            <p:childTnLst>
                              <p:par>
                                <p:cTn id="64" presetID="42" presetClass="entr" presetSubtype="0" fill="hold" nodeType="afterEffect">
                                  <p:stCondLst>
                                    <p:cond delay="0"/>
                                  </p:stCondLst>
                                  <p:childTnLst>
                                    <p:set>
                                      <p:cBhvr>
                                        <p:cTn id="65" dur="1" fill="hold">
                                          <p:stCondLst>
                                            <p:cond delay="0"/>
                                          </p:stCondLst>
                                        </p:cTn>
                                        <p:tgtEl>
                                          <p:spTgt spid="53"/>
                                        </p:tgtEl>
                                        <p:attrNameLst>
                                          <p:attrName>style.visibility</p:attrName>
                                        </p:attrNameLst>
                                      </p:cBhvr>
                                      <p:to>
                                        <p:strVal val="visible"/>
                                      </p:to>
                                    </p:set>
                                    <p:animEffect transition="in" filter="fade">
                                      <p:cBhvr>
                                        <p:cTn id="66" dur="500"/>
                                        <p:tgtEl>
                                          <p:spTgt spid="53"/>
                                        </p:tgtEl>
                                      </p:cBhvr>
                                    </p:animEffect>
                                    <p:anim calcmode="lin" valueType="num">
                                      <p:cBhvr>
                                        <p:cTn id="67" dur="500" fill="hold"/>
                                        <p:tgtEl>
                                          <p:spTgt spid="53"/>
                                        </p:tgtEl>
                                        <p:attrNameLst>
                                          <p:attrName>ppt_x</p:attrName>
                                        </p:attrNameLst>
                                      </p:cBhvr>
                                      <p:tavLst>
                                        <p:tav tm="0">
                                          <p:val>
                                            <p:strVal val="#ppt_x"/>
                                          </p:val>
                                        </p:tav>
                                        <p:tav tm="100000">
                                          <p:val>
                                            <p:strVal val="#ppt_x"/>
                                          </p:val>
                                        </p:tav>
                                      </p:tavLst>
                                    </p:anim>
                                    <p:anim calcmode="lin" valueType="num">
                                      <p:cBhvr>
                                        <p:cTn id="68" dur="500" fill="hold"/>
                                        <p:tgtEl>
                                          <p:spTgt spid="53"/>
                                        </p:tgtEl>
                                        <p:attrNameLst>
                                          <p:attrName>ppt_y</p:attrName>
                                        </p:attrNameLst>
                                      </p:cBhvr>
                                      <p:tavLst>
                                        <p:tav tm="0">
                                          <p:val>
                                            <p:strVal val="#ppt_y+.1"/>
                                          </p:val>
                                        </p:tav>
                                        <p:tav tm="100000">
                                          <p:val>
                                            <p:strVal val="#ppt_y"/>
                                          </p:val>
                                        </p:tav>
                                      </p:tavLst>
                                    </p:anim>
                                  </p:childTnLst>
                                </p:cTn>
                              </p:par>
                            </p:childTnLst>
                          </p:cTn>
                        </p:par>
                        <p:par>
                          <p:cTn id="69" fill="hold" nodeType="afterGroup">
                            <p:stCondLst>
                              <p:cond delay="6000"/>
                            </p:stCondLst>
                            <p:childTnLst>
                              <p:par>
                                <p:cTn id="70" presetID="22" presetClass="entr" presetSubtype="4" fill="hold" nodeType="afterEffect">
                                  <p:stCondLst>
                                    <p:cond delay="0"/>
                                  </p:stCondLst>
                                  <p:childTnLst>
                                    <p:set>
                                      <p:cBhvr>
                                        <p:cTn id="71" dur="1" fill="hold">
                                          <p:stCondLst>
                                            <p:cond delay="0"/>
                                          </p:stCondLst>
                                        </p:cTn>
                                        <p:tgtEl>
                                          <p:spTgt spid="41"/>
                                        </p:tgtEl>
                                        <p:attrNameLst>
                                          <p:attrName>style.visibility</p:attrName>
                                        </p:attrNameLst>
                                      </p:cBhvr>
                                      <p:to>
                                        <p:strVal val="visible"/>
                                      </p:to>
                                    </p:set>
                                    <p:animEffect transition="in" filter="wipe(down)">
                                      <p:cBhvr>
                                        <p:cTn id="72" dur="500"/>
                                        <p:tgtEl>
                                          <p:spTgt spid="41"/>
                                        </p:tgtEl>
                                      </p:cBhvr>
                                    </p:animEffect>
                                  </p:childTnLst>
                                </p:cTn>
                              </p:par>
                            </p:childTnLst>
                          </p:cTn>
                        </p:par>
                        <p:par>
                          <p:cTn id="73" fill="hold" nodeType="afterGroup">
                            <p:stCondLst>
                              <p:cond delay="6500"/>
                            </p:stCondLst>
                            <p:childTnLst>
                              <p:par>
                                <p:cTn id="74" presetID="22" presetClass="entr" presetSubtype="4" fill="hold" nodeType="afterEffect">
                                  <p:stCondLst>
                                    <p:cond delay="0"/>
                                  </p:stCondLst>
                                  <p:childTnLst>
                                    <p:set>
                                      <p:cBhvr>
                                        <p:cTn id="75" dur="1" fill="hold">
                                          <p:stCondLst>
                                            <p:cond delay="0"/>
                                          </p:stCondLst>
                                        </p:cTn>
                                        <p:tgtEl>
                                          <p:spTgt spid="42"/>
                                        </p:tgtEl>
                                        <p:attrNameLst>
                                          <p:attrName>style.visibility</p:attrName>
                                        </p:attrNameLst>
                                      </p:cBhvr>
                                      <p:to>
                                        <p:strVal val="visible"/>
                                      </p:to>
                                    </p:set>
                                    <p:animEffect transition="in" filter="wipe(down)">
                                      <p:cBhvr>
                                        <p:cTn id="76" dur="500"/>
                                        <p:tgtEl>
                                          <p:spTgt spid="42"/>
                                        </p:tgtEl>
                                      </p:cBhvr>
                                    </p:animEffect>
                                  </p:childTnLst>
                                </p:cTn>
                              </p:par>
                            </p:childTnLst>
                          </p:cTn>
                        </p:par>
                        <p:par>
                          <p:cTn id="77" fill="hold" nodeType="afterGroup">
                            <p:stCondLst>
                              <p:cond delay="7000"/>
                            </p:stCondLst>
                            <p:childTnLst>
                              <p:par>
                                <p:cTn id="78" presetID="42" presetClass="entr" presetSubtype="0" fill="hold" nodeType="afterEffect">
                                  <p:stCondLst>
                                    <p:cond delay="0"/>
                                  </p:stCondLst>
                                  <p:childTnLst>
                                    <p:set>
                                      <p:cBhvr>
                                        <p:cTn id="79" dur="1" fill="hold">
                                          <p:stCondLst>
                                            <p:cond delay="0"/>
                                          </p:stCondLst>
                                        </p:cTn>
                                        <p:tgtEl>
                                          <p:spTgt spid="54"/>
                                        </p:tgtEl>
                                        <p:attrNameLst>
                                          <p:attrName>style.visibility</p:attrName>
                                        </p:attrNameLst>
                                      </p:cBhvr>
                                      <p:to>
                                        <p:strVal val="visible"/>
                                      </p:to>
                                    </p:set>
                                    <p:animEffect transition="in" filter="fade">
                                      <p:cBhvr>
                                        <p:cTn id="80" dur="500"/>
                                        <p:tgtEl>
                                          <p:spTgt spid="54"/>
                                        </p:tgtEl>
                                      </p:cBhvr>
                                    </p:animEffect>
                                    <p:anim calcmode="lin" valueType="num">
                                      <p:cBhvr>
                                        <p:cTn id="81" dur="500" fill="hold"/>
                                        <p:tgtEl>
                                          <p:spTgt spid="54"/>
                                        </p:tgtEl>
                                        <p:attrNameLst>
                                          <p:attrName>ppt_x</p:attrName>
                                        </p:attrNameLst>
                                      </p:cBhvr>
                                      <p:tavLst>
                                        <p:tav tm="0">
                                          <p:val>
                                            <p:strVal val="#ppt_x"/>
                                          </p:val>
                                        </p:tav>
                                        <p:tav tm="100000">
                                          <p:val>
                                            <p:strVal val="#ppt_x"/>
                                          </p:val>
                                        </p:tav>
                                      </p:tavLst>
                                    </p:anim>
                                    <p:anim calcmode="lin" valueType="num">
                                      <p:cBhvr>
                                        <p:cTn id="82" dur="500" fill="hold"/>
                                        <p:tgtEl>
                                          <p:spTgt spid="54"/>
                                        </p:tgtEl>
                                        <p:attrNameLst>
                                          <p:attrName>ppt_y</p:attrName>
                                        </p:attrNameLst>
                                      </p:cBhvr>
                                      <p:tavLst>
                                        <p:tav tm="0">
                                          <p:val>
                                            <p:strVal val="#ppt_y+.1"/>
                                          </p:val>
                                        </p:tav>
                                        <p:tav tm="100000">
                                          <p:val>
                                            <p:strVal val="#ppt_y"/>
                                          </p:val>
                                        </p:tav>
                                      </p:tavLst>
                                    </p:anim>
                                  </p:childTnLst>
                                </p:cTn>
                              </p:par>
                            </p:childTnLst>
                          </p:cTn>
                        </p:par>
                        <p:par>
                          <p:cTn id="83" fill="hold" nodeType="afterGroup">
                            <p:stCondLst>
                              <p:cond delay="7500"/>
                            </p:stCondLst>
                            <p:childTnLst>
                              <p:par>
                                <p:cTn id="84" presetID="22" presetClass="entr" presetSubtype="4" fill="hold" nodeType="afterEffect">
                                  <p:stCondLst>
                                    <p:cond delay="0"/>
                                  </p:stCondLst>
                                  <p:childTnLst>
                                    <p:set>
                                      <p:cBhvr>
                                        <p:cTn id="85" dur="1" fill="hold">
                                          <p:stCondLst>
                                            <p:cond delay="0"/>
                                          </p:stCondLst>
                                        </p:cTn>
                                        <p:tgtEl>
                                          <p:spTgt spid="48"/>
                                        </p:tgtEl>
                                        <p:attrNameLst>
                                          <p:attrName>style.visibility</p:attrName>
                                        </p:attrNameLst>
                                      </p:cBhvr>
                                      <p:to>
                                        <p:strVal val="visible"/>
                                      </p:to>
                                    </p:set>
                                    <p:animEffect transition="in" filter="wipe(down)">
                                      <p:cBhvr>
                                        <p:cTn id="86" dur="500"/>
                                        <p:tgtEl>
                                          <p:spTgt spid="48"/>
                                        </p:tgtEl>
                                      </p:cBhvr>
                                    </p:animEffect>
                                  </p:childTnLst>
                                </p:cTn>
                              </p:par>
                            </p:childTnLst>
                          </p:cTn>
                        </p:par>
                        <p:par>
                          <p:cTn id="87" fill="hold" nodeType="afterGroup">
                            <p:stCondLst>
                              <p:cond delay="8000"/>
                            </p:stCondLst>
                            <p:childTnLst>
                              <p:par>
                                <p:cTn id="88" presetID="22" presetClass="entr" presetSubtype="4" fill="hold" nodeType="afterEffect">
                                  <p:stCondLst>
                                    <p:cond delay="0"/>
                                  </p:stCondLst>
                                  <p:childTnLst>
                                    <p:set>
                                      <p:cBhvr>
                                        <p:cTn id="89" dur="1" fill="hold">
                                          <p:stCondLst>
                                            <p:cond delay="0"/>
                                          </p:stCondLst>
                                        </p:cTn>
                                        <p:tgtEl>
                                          <p:spTgt spid="49"/>
                                        </p:tgtEl>
                                        <p:attrNameLst>
                                          <p:attrName>style.visibility</p:attrName>
                                        </p:attrNameLst>
                                      </p:cBhvr>
                                      <p:to>
                                        <p:strVal val="visible"/>
                                      </p:to>
                                    </p:set>
                                    <p:animEffect transition="in" filter="wipe(down)">
                                      <p:cBhvr>
                                        <p:cTn id="90"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a:extLst>
              <a:ext uri="{FF2B5EF4-FFF2-40B4-BE49-F238E27FC236}">
                <a16:creationId xmlns:a16="http://schemas.microsoft.com/office/drawing/2014/main" id="{FA3334F4-9F34-46F8-9419-E199AD840994}"/>
              </a:ext>
            </a:extLst>
          </p:cNvPr>
          <p:cNvSpPr/>
          <p:nvPr/>
        </p:nvSpPr>
        <p:spPr>
          <a:xfrm>
            <a:off x="1398588" y="1844675"/>
            <a:ext cx="1831975" cy="4365625"/>
          </a:xfrm>
          <a:prstGeom prst="rect">
            <a:avLst/>
          </a:prstGeom>
          <a:solidFill>
            <a:srgbClr val="29292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grpSp>
        <p:nvGrpSpPr>
          <p:cNvPr id="2" name="组合 1">
            <a:extLst>
              <a:ext uri="{FF2B5EF4-FFF2-40B4-BE49-F238E27FC236}">
                <a16:creationId xmlns:a16="http://schemas.microsoft.com/office/drawing/2014/main" id="{DAFFBD2E-8114-4BE2-834C-0BFADBCA001F}"/>
              </a:ext>
            </a:extLst>
          </p:cNvPr>
          <p:cNvGrpSpPr>
            <a:grpSpLocks/>
          </p:cNvGrpSpPr>
          <p:nvPr/>
        </p:nvGrpSpPr>
        <p:grpSpPr bwMode="auto">
          <a:xfrm>
            <a:off x="1398588" y="2682875"/>
            <a:ext cx="1831975" cy="1393825"/>
            <a:chOff x="1398614" y="2683635"/>
            <a:chExt cx="1831897" cy="1392423"/>
          </a:xfrm>
        </p:grpSpPr>
        <p:sp>
          <p:nvSpPr>
            <p:cNvPr id="9" name="矩形 8">
              <a:extLst>
                <a:ext uri="{FF2B5EF4-FFF2-40B4-BE49-F238E27FC236}">
                  <a16:creationId xmlns:a16="http://schemas.microsoft.com/office/drawing/2014/main" id="{480E629F-0486-44EA-B5CF-E828648ED8AE}"/>
                </a:ext>
              </a:extLst>
            </p:cNvPr>
            <p:cNvSpPr/>
            <p:nvPr/>
          </p:nvSpPr>
          <p:spPr>
            <a:xfrm>
              <a:off x="1398614" y="3314824"/>
              <a:ext cx="1831897" cy="130044"/>
            </a:xfrm>
            <a:prstGeom prst="rect">
              <a:avLst/>
            </a:prstGeom>
            <a:solidFill>
              <a:srgbClr val="C20F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pic>
          <p:nvPicPr>
            <p:cNvPr id="11" name="Picture 2" descr="商务人士大图 点击还原">
              <a:extLst>
                <a:ext uri="{FF2B5EF4-FFF2-40B4-BE49-F238E27FC236}">
                  <a16:creationId xmlns:a16="http://schemas.microsoft.com/office/drawing/2014/main" id="{39A4108C-F269-415A-A5DF-AD509BF04BB1}"/>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a:off x="1618351" y="2683635"/>
              <a:ext cx="1392424" cy="1392423"/>
            </a:xfrm>
            <a:prstGeom prst="ellipse">
              <a:avLst/>
            </a:prstGeom>
            <a:noFill/>
            <a:ln w="76200">
              <a:solidFill>
                <a:srgbClr val="C20F2A"/>
              </a:solidFill>
            </a:ln>
            <a:extLst>
              <a:ext uri="{909E8E84-426E-40DD-AFC4-6F175D3DCCD1}">
                <a14:hiddenFill xmlns:a14="http://schemas.microsoft.com/office/drawing/2010/main">
                  <a:solidFill>
                    <a:srgbClr val="FFFFFF"/>
                  </a:solidFill>
                </a14:hiddenFill>
              </a:ext>
            </a:extLst>
          </p:spPr>
        </p:pic>
      </p:grpSp>
      <p:sp>
        <p:nvSpPr>
          <p:cNvPr id="16" name="矩形 15">
            <a:extLst>
              <a:ext uri="{FF2B5EF4-FFF2-40B4-BE49-F238E27FC236}">
                <a16:creationId xmlns:a16="http://schemas.microsoft.com/office/drawing/2014/main" id="{E551A20A-B6EF-46AB-9D6E-83465784E513}"/>
              </a:ext>
            </a:extLst>
          </p:cNvPr>
          <p:cNvSpPr/>
          <p:nvPr/>
        </p:nvSpPr>
        <p:spPr>
          <a:xfrm>
            <a:off x="3919538" y="1824038"/>
            <a:ext cx="1831975" cy="4365625"/>
          </a:xfrm>
          <a:prstGeom prst="rect">
            <a:avLst/>
          </a:prstGeom>
          <a:solidFill>
            <a:srgbClr val="29292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grpSp>
        <p:nvGrpSpPr>
          <p:cNvPr id="3" name="组合 2">
            <a:extLst>
              <a:ext uri="{FF2B5EF4-FFF2-40B4-BE49-F238E27FC236}">
                <a16:creationId xmlns:a16="http://schemas.microsoft.com/office/drawing/2014/main" id="{07D93B2E-41F6-4618-A08B-1ACF79120E8C}"/>
              </a:ext>
            </a:extLst>
          </p:cNvPr>
          <p:cNvGrpSpPr>
            <a:grpSpLocks/>
          </p:cNvGrpSpPr>
          <p:nvPr/>
        </p:nvGrpSpPr>
        <p:grpSpPr bwMode="auto">
          <a:xfrm>
            <a:off x="3919538" y="2663825"/>
            <a:ext cx="1831975" cy="1392238"/>
            <a:chOff x="3919572" y="2663541"/>
            <a:chExt cx="1831897" cy="1392421"/>
          </a:xfrm>
        </p:grpSpPr>
        <p:sp>
          <p:nvSpPr>
            <p:cNvPr id="17" name="矩形 16">
              <a:extLst>
                <a:ext uri="{FF2B5EF4-FFF2-40B4-BE49-F238E27FC236}">
                  <a16:creationId xmlns:a16="http://schemas.microsoft.com/office/drawing/2014/main" id="{9821650D-70F5-46A6-A9F4-75AB329BE102}"/>
                </a:ext>
              </a:extLst>
            </p:cNvPr>
            <p:cNvSpPr/>
            <p:nvPr/>
          </p:nvSpPr>
          <p:spPr>
            <a:xfrm>
              <a:off x="3919572" y="3295449"/>
              <a:ext cx="1831897" cy="128605"/>
            </a:xfrm>
            <a:prstGeom prst="rect">
              <a:avLst/>
            </a:prstGeom>
            <a:solidFill>
              <a:srgbClr val="C20F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pic>
          <p:nvPicPr>
            <p:cNvPr id="19" name="Picture 4" descr="商务人士大图 点击还原">
              <a:extLst>
                <a:ext uri="{FF2B5EF4-FFF2-40B4-BE49-F238E27FC236}">
                  <a16:creationId xmlns:a16="http://schemas.microsoft.com/office/drawing/2014/main" id="{B5A328C6-26C3-4779-9E16-4E75C42A1607}"/>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4139309" y="2663541"/>
              <a:ext cx="1392424" cy="1392421"/>
            </a:xfrm>
            <a:prstGeom prst="ellipse">
              <a:avLst/>
            </a:prstGeom>
            <a:noFill/>
            <a:ln w="76200">
              <a:solidFill>
                <a:srgbClr val="C20F2A"/>
              </a:solidFill>
            </a:ln>
            <a:extLst>
              <a:ext uri="{909E8E84-426E-40DD-AFC4-6F175D3DCCD1}">
                <a14:hiddenFill xmlns:a14="http://schemas.microsoft.com/office/drawing/2010/main">
                  <a:solidFill>
                    <a:srgbClr val="FFFFFF"/>
                  </a:solidFill>
                </a14:hiddenFill>
              </a:ext>
            </a:extLst>
          </p:spPr>
        </p:pic>
      </p:grpSp>
      <p:sp>
        <p:nvSpPr>
          <p:cNvPr id="24" name="矩形 23">
            <a:extLst>
              <a:ext uri="{FF2B5EF4-FFF2-40B4-BE49-F238E27FC236}">
                <a16:creationId xmlns:a16="http://schemas.microsoft.com/office/drawing/2014/main" id="{30E91411-5AE9-4EFE-B130-5F518F70AD0F}"/>
              </a:ext>
            </a:extLst>
          </p:cNvPr>
          <p:cNvSpPr/>
          <p:nvPr/>
        </p:nvSpPr>
        <p:spPr>
          <a:xfrm>
            <a:off x="6440488" y="1844675"/>
            <a:ext cx="1831975" cy="4365625"/>
          </a:xfrm>
          <a:prstGeom prst="rect">
            <a:avLst/>
          </a:prstGeom>
          <a:solidFill>
            <a:srgbClr val="29292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grpSp>
        <p:nvGrpSpPr>
          <p:cNvPr id="4" name="组合 3">
            <a:extLst>
              <a:ext uri="{FF2B5EF4-FFF2-40B4-BE49-F238E27FC236}">
                <a16:creationId xmlns:a16="http://schemas.microsoft.com/office/drawing/2014/main" id="{2F17EC17-6A1F-4AA3-B0CB-D485117DE91C}"/>
              </a:ext>
            </a:extLst>
          </p:cNvPr>
          <p:cNvGrpSpPr>
            <a:grpSpLocks/>
          </p:cNvGrpSpPr>
          <p:nvPr/>
        </p:nvGrpSpPr>
        <p:grpSpPr bwMode="auto">
          <a:xfrm>
            <a:off x="6440488" y="2682875"/>
            <a:ext cx="1831975" cy="1393825"/>
            <a:chOff x="6440531" y="2683637"/>
            <a:chExt cx="1831897" cy="1392423"/>
          </a:xfrm>
        </p:grpSpPr>
        <p:sp>
          <p:nvSpPr>
            <p:cNvPr id="25" name="矩形 24">
              <a:extLst>
                <a:ext uri="{FF2B5EF4-FFF2-40B4-BE49-F238E27FC236}">
                  <a16:creationId xmlns:a16="http://schemas.microsoft.com/office/drawing/2014/main" id="{E0ABADA6-01BE-48EF-BFF0-BA4C779B68A9}"/>
                </a:ext>
              </a:extLst>
            </p:cNvPr>
            <p:cNvSpPr/>
            <p:nvPr/>
          </p:nvSpPr>
          <p:spPr>
            <a:xfrm>
              <a:off x="6440531" y="3314826"/>
              <a:ext cx="1831897" cy="130044"/>
            </a:xfrm>
            <a:prstGeom prst="rect">
              <a:avLst/>
            </a:prstGeom>
            <a:solidFill>
              <a:srgbClr val="C20F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pic>
          <p:nvPicPr>
            <p:cNvPr id="27" name="Picture 6" descr="商务人士大图 点击还原">
              <a:extLst>
                <a:ext uri="{FF2B5EF4-FFF2-40B4-BE49-F238E27FC236}">
                  <a16:creationId xmlns:a16="http://schemas.microsoft.com/office/drawing/2014/main" id="{067B15CC-FF38-499D-9FEC-B43591458B81}"/>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6660267" y="2683637"/>
              <a:ext cx="1392426" cy="1392423"/>
            </a:xfrm>
            <a:prstGeom prst="ellipse">
              <a:avLst/>
            </a:prstGeom>
            <a:noFill/>
            <a:ln w="76200">
              <a:solidFill>
                <a:srgbClr val="C20F2A"/>
              </a:solidFill>
            </a:ln>
            <a:extLst>
              <a:ext uri="{909E8E84-426E-40DD-AFC4-6F175D3DCCD1}">
                <a14:hiddenFill xmlns:a14="http://schemas.microsoft.com/office/drawing/2010/main">
                  <a:solidFill>
                    <a:srgbClr val="FFFFFF"/>
                  </a:solidFill>
                </a14:hiddenFill>
              </a:ext>
            </a:extLst>
          </p:spPr>
        </p:pic>
      </p:grpSp>
      <p:sp>
        <p:nvSpPr>
          <p:cNvPr id="32" name="矩形 31">
            <a:extLst>
              <a:ext uri="{FF2B5EF4-FFF2-40B4-BE49-F238E27FC236}">
                <a16:creationId xmlns:a16="http://schemas.microsoft.com/office/drawing/2014/main" id="{6B3B9C4B-B1C0-4B03-83C8-60CCA216F5A3}"/>
              </a:ext>
            </a:extLst>
          </p:cNvPr>
          <p:cNvSpPr/>
          <p:nvPr/>
        </p:nvSpPr>
        <p:spPr>
          <a:xfrm>
            <a:off x="8961438" y="1844675"/>
            <a:ext cx="1831975" cy="4365625"/>
          </a:xfrm>
          <a:prstGeom prst="rect">
            <a:avLst/>
          </a:prstGeom>
          <a:solidFill>
            <a:srgbClr val="29292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grpSp>
        <p:nvGrpSpPr>
          <p:cNvPr id="6" name="组合 5">
            <a:extLst>
              <a:ext uri="{FF2B5EF4-FFF2-40B4-BE49-F238E27FC236}">
                <a16:creationId xmlns:a16="http://schemas.microsoft.com/office/drawing/2014/main" id="{2836FBF6-D625-416C-A27C-CC6DFF5AFA2F}"/>
              </a:ext>
            </a:extLst>
          </p:cNvPr>
          <p:cNvGrpSpPr>
            <a:grpSpLocks/>
          </p:cNvGrpSpPr>
          <p:nvPr/>
        </p:nvGrpSpPr>
        <p:grpSpPr bwMode="auto">
          <a:xfrm>
            <a:off x="8961438" y="2682875"/>
            <a:ext cx="1831975" cy="1393825"/>
            <a:chOff x="8961489" y="2683637"/>
            <a:chExt cx="1831897" cy="1392423"/>
          </a:xfrm>
        </p:grpSpPr>
        <p:sp>
          <p:nvSpPr>
            <p:cNvPr id="33" name="矩形 32">
              <a:extLst>
                <a:ext uri="{FF2B5EF4-FFF2-40B4-BE49-F238E27FC236}">
                  <a16:creationId xmlns:a16="http://schemas.microsoft.com/office/drawing/2014/main" id="{10ECF905-922D-477B-A616-09C0F60A1C14}"/>
                </a:ext>
              </a:extLst>
            </p:cNvPr>
            <p:cNvSpPr/>
            <p:nvPr/>
          </p:nvSpPr>
          <p:spPr>
            <a:xfrm>
              <a:off x="8961489" y="3314826"/>
              <a:ext cx="1831897" cy="130044"/>
            </a:xfrm>
            <a:prstGeom prst="rect">
              <a:avLst/>
            </a:prstGeom>
            <a:solidFill>
              <a:srgbClr val="C20F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pic>
          <p:nvPicPr>
            <p:cNvPr id="35" name="Picture 8" descr="商务人士大图 点击还原">
              <a:extLst>
                <a:ext uri="{FF2B5EF4-FFF2-40B4-BE49-F238E27FC236}">
                  <a16:creationId xmlns:a16="http://schemas.microsoft.com/office/drawing/2014/main" id="{A8E93A79-F9F6-4D92-A930-0A9A443D1F34}"/>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9181225" y="2683637"/>
              <a:ext cx="1392426" cy="1392423"/>
            </a:xfrm>
            <a:prstGeom prst="ellipse">
              <a:avLst/>
            </a:prstGeom>
            <a:noFill/>
            <a:ln w="76200">
              <a:solidFill>
                <a:srgbClr val="C20F2A"/>
              </a:solidFill>
            </a:ln>
            <a:extLst>
              <a:ext uri="{909E8E84-426E-40DD-AFC4-6F175D3DCCD1}">
                <a14:hiddenFill xmlns:a14="http://schemas.microsoft.com/office/drawing/2010/main">
                  <a:solidFill>
                    <a:srgbClr val="FFFFFF"/>
                  </a:solidFill>
                </a14:hiddenFill>
              </a:ext>
            </a:extLst>
          </p:spPr>
        </p:pic>
      </p:grpSp>
      <p:sp>
        <p:nvSpPr>
          <p:cNvPr id="37" name="文本框 56">
            <a:extLst>
              <a:ext uri="{FF2B5EF4-FFF2-40B4-BE49-F238E27FC236}">
                <a16:creationId xmlns:a16="http://schemas.microsoft.com/office/drawing/2014/main" id="{EB2081C9-BF02-4912-9F71-9C9C489B1D6D}"/>
              </a:ext>
            </a:extLst>
          </p:cNvPr>
          <p:cNvSpPr txBox="1">
            <a:spLocks noChangeArrowheads="1"/>
          </p:cNvSpPr>
          <p:nvPr/>
        </p:nvSpPr>
        <p:spPr bwMode="auto">
          <a:xfrm>
            <a:off x="1477963" y="4495800"/>
            <a:ext cx="1673225" cy="1385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00000"/>
              </a:lnSpc>
              <a:spcBef>
                <a:spcPct val="0"/>
              </a:spcBef>
              <a:buFontTx/>
              <a:buNone/>
            </a:pPr>
            <a:r>
              <a:rPr lang="en-US" altLang="zh-CN" sz="1400">
                <a:solidFill>
                  <a:schemeClr val="bg1"/>
                </a:solidFill>
              </a:rPr>
              <a:t>click to add subtitle click to add subtitle click to add subtitle click to add subtitle</a:t>
            </a:r>
            <a:r>
              <a:rPr lang="zh-CN" altLang="en-US" sz="1400">
                <a:solidFill>
                  <a:schemeClr val="bg1"/>
                </a:solidFill>
              </a:rPr>
              <a:t> </a:t>
            </a:r>
            <a:r>
              <a:rPr lang="en-US" altLang="zh-CN" sz="1400">
                <a:solidFill>
                  <a:schemeClr val="bg1"/>
                </a:solidFill>
              </a:rPr>
              <a:t>click to add subtitle click to add subtitle</a:t>
            </a:r>
            <a:endParaRPr lang="zh-CN" altLang="en-US" sz="1400">
              <a:solidFill>
                <a:schemeClr val="bg1"/>
              </a:solidFill>
            </a:endParaRPr>
          </a:p>
        </p:txBody>
      </p:sp>
      <p:sp>
        <p:nvSpPr>
          <p:cNvPr id="38" name="文本框 56">
            <a:extLst>
              <a:ext uri="{FF2B5EF4-FFF2-40B4-BE49-F238E27FC236}">
                <a16:creationId xmlns:a16="http://schemas.microsoft.com/office/drawing/2014/main" id="{F6823A4F-3E52-45BF-B125-58A8E7EEAA3E}"/>
              </a:ext>
            </a:extLst>
          </p:cNvPr>
          <p:cNvSpPr txBox="1">
            <a:spLocks noChangeArrowheads="1"/>
          </p:cNvSpPr>
          <p:nvPr/>
        </p:nvSpPr>
        <p:spPr bwMode="auto">
          <a:xfrm>
            <a:off x="1646238" y="1974850"/>
            <a:ext cx="133667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00000"/>
              </a:lnSpc>
              <a:spcBef>
                <a:spcPct val="0"/>
              </a:spcBef>
              <a:buFontTx/>
              <a:buNone/>
            </a:pPr>
            <a:r>
              <a:rPr lang="en-US" altLang="zh-CN" sz="1800">
                <a:solidFill>
                  <a:schemeClr val="bg1"/>
                </a:solidFill>
                <a:latin typeface="Impact" panose="020B0806030902050204" pitchFamily="34" charset="0"/>
              </a:rPr>
              <a:t>Your Title</a:t>
            </a:r>
            <a:endParaRPr lang="zh-CN" altLang="en-US" sz="1400">
              <a:solidFill>
                <a:schemeClr val="bg1"/>
              </a:solidFill>
            </a:endParaRPr>
          </a:p>
        </p:txBody>
      </p:sp>
      <p:sp>
        <p:nvSpPr>
          <p:cNvPr id="39" name="文本框 56">
            <a:extLst>
              <a:ext uri="{FF2B5EF4-FFF2-40B4-BE49-F238E27FC236}">
                <a16:creationId xmlns:a16="http://schemas.microsoft.com/office/drawing/2014/main" id="{757C54A1-EDDB-420B-8A77-3813E1EA9CFC}"/>
              </a:ext>
            </a:extLst>
          </p:cNvPr>
          <p:cNvSpPr txBox="1">
            <a:spLocks noChangeArrowheads="1"/>
          </p:cNvSpPr>
          <p:nvPr/>
        </p:nvSpPr>
        <p:spPr bwMode="auto">
          <a:xfrm>
            <a:off x="4167188" y="1974850"/>
            <a:ext cx="133667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00000"/>
              </a:lnSpc>
              <a:spcBef>
                <a:spcPct val="0"/>
              </a:spcBef>
              <a:buFontTx/>
              <a:buNone/>
            </a:pPr>
            <a:r>
              <a:rPr lang="en-US" altLang="zh-CN" sz="1800">
                <a:solidFill>
                  <a:schemeClr val="bg1"/>
                </a:solidFill>
                <a:latin typeface="Impact" panose="020B0806030902050204" pitchFamily="34" charset="0"/>
              </a:rPr>
              <a:t>Your Title</a:t>
            </a:r>
            <a:endParaRPr lang="zh-CN" altLang="en-US" sz="1400">
              <a:solidFill>
                <a:schemeClr val="bg1"/>
              </a:solidFill>
            </a:endParaRPr>
          </a:p>
        </p:txBody>
      </p:sp>
      <p:sp>
        <p:nvSpPr>
          <p:cNvPr id="40" name="文本框 56">
            <a:extLst>
              <a:ext uri="{FF2B5EF4-FFF2-40B4-BE49-F238E27FC236}">
                <a16:creationId xmlns:a16="http://schemas.microsoft.com/office/drawing/2014/main" id="{133CA4F0-5516-4B4F-81FF-4DB12A244587}"/>
              </a:ext>
            </a:extLst>
          </p:cNvPr>
          <p:cNvSpPr txBox="1">
            <a:spLocks noChangeArrowheads="1"/>
          </p:cNvSpPr>
          <p:nvPr/>
        </p:nvSpPr>
        <p:spPr bwMode="auto">
          <a:xfrm>
            <a:off x="6688138" y="1974850"/>
            <a:ext cx="133667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00000"/>
              </a:lnSpc>
              <a:spcBef>
                <a:spcPct val="0"/>
              </a:spcBef>
              <a:buFontTx/>
              <a:buNone/>
            </a:pPr>
            <a:r>
              <a:rPr lang="en-US" altLang="zh-CN" sz="1800">
                <a:solidFill>
                  <a:schemeClr val="bg1"/>
                </a:solidFill>
                <a:latin typeface="Impact" panose="020B0806030902050204" pitchFamily="34" charset="0"/>
              </a:rPr>
              <a:t>Your Title</a:t>
            </a:r>
            <a:endParaRPr lang="zh-CN" altLang="en-US" sz="1400">
              <a:solidFill>
                <a:schemeClr val="bg1"/>
              </a:solidFill>
            </a:endParaRPr>
          </a:p>
        </p:txBody>
      </p:sp>
      <p:sp>
        <p:nvSpPr>
          <p:cNvPr id="41" name="文本框 56">
            <a:extLst>
              <a:ext uri="{FF2B5EF4-FFF2-40B4-BE49-F238E27FC236}">
                <a16:creationId xmlns:a16="http://schemas.microsoft.com/office/drawing/2014/main" id="{A321BE4F-48E2-4C2E-85B3-F09234EBCC8B}"/>
              </a:ext>
            </a:extLst>
          </p:cNvPr>
          <p:cNvSpPr txBox="1">
            <a:spLocks noChangeArrowheads="1"/>
          </p:cNvSpPr>
          <p:nvPr/>
        </p:nvSpPr>
        <p:spPr bwMode="auto">
          <a:xfrm>
            <a:off x="9209088" y="1974850"/>
            <a:ext cx="133667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00000"/>
              </a:lnSpc>
              <a:spcBef>
                <a:spcPct val="0"/>
              </a:spcBef>
              <a:buFontTx/>
              <a:buNone/>
            </a:pPr>
            <a:r>
              <a:rPr lang="en-US" altLang="zh-CN" sz="1800">
                <a:solidFill>
                  <a:schemeClr val="bg1"/>
                </a:solidFill>
                <a:latin typeface="Impact" panose="020B0806030902050204" pitchFamily="34" charset="0"/>
              </a:rPr>
              <a:t>Your Title</a:t>
            </a:r>
            <a:endParaRPr lang="zh-CN" altLang="en-US" sz="1400">
              <a:solidFill>
                <a:schemeClr val="bg1"/>
              </a:solidFill>
            </a:endParaRPr>
          </a:p>
        </p:txBody>
      </p:sp>
      <p:sp>
        <p:nvSpPr>
          <p:cNvPr id="42" name="文本框 56">
            <a:extLst>
              <a:ext uri="{FF2B5EF4-FFF2-40B4-BE49-F238E27FC236}">
                <a16:creationId xmlns:a16="http://schemas.microsoft.com/office/drawing/2014/main" id="{467110F2-4F0D-433D-B369-ABDCB39B2208}"/>
              </a:ext>
            </a:extLst>
          </p:cNvPr>
          <p:cNvSpPr txBox="1">
            <a:spLocks noChangeArrowheads="1"/>
          </p:cNvSpPr>
          <p:nvPr/>
        </p:nvSpPr>
        <p:spPr bwMode="auto">
          <a:xfrm>
            <a:off x="3998913" y="4495800"/>
            <a:ext cx="1673225" cy="1385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00000"/>
              </a:lnSpc>
              <a:spcBef>
                <a:spcPct val="0"/>
              </a:spcBef>
              <a:buFontTx/>
              <a:buNone/>
            </a:pPr>
            <a:r>
              <a:rPr lang="en-US" altLang="zh-CN" sz="1400">
                <a:solidFill>
                  <a:schemeClr val="bg1"/>
                </a:solidFill>
              </a:rPr>
              <a:t>click to add subtitle click to add subtitle click to add subtitle click to add subtitle</a:t>
            </a:r>
            <a:r>
              <a:rPr lang="zh-CN" altLang="en-US" sz="1400">
                <a:solidFill>
                  <a:schemeClr val="bg1"/>
                </a:solidFill>
              </a:rPr>
              <a:t> </a:t>
            </a:r>
            <a:r>
              <a:rPr lang="en-US" altLang="zh-CN" sz="1400">
                <a:solidFill>
                  <a:schemeClr val="bg1"/>
                </a:solidFill>
              </a:rPr>
              <a:t>click to add subtitle click to add subtitle</a:t>
            </a:r>
            <a:endParaRPr lang="zh-CN" altLang="en-US" sz="1400">
              <a:solidFill>
                <a:schemeClr val="bg1"/>
              </a:solidFill>
            </a:endParaRPr>
          </a:p>
        </p:txBody>
      </p:sp>
      <p:sp>
        <p:nvSpPr>
          <p:cNvPr id="43" name="文本框 56">
            <a:extLst>
              <a:ext uri="{FF2B5EF4-FFF2-40B4-BE49-F238E27FC236}">
                <a16:creationId xmlns:a16="http://schemas.microsoft.com/office/drawing/2014/main" id="{DD703E98-471A-454E-8C77-4E3BC6A01027}"/>
              </a:ext>
            </a:extLst>
          </p:cNvPr>
          <p:cNvSpPr txBox="1">
            <a:spLocks noChangeArrowheads="1"/>
          </p:cNvSpPr>
          <p:nvPr/>
        </p:nvSpPr>
        <p:spPr bwMode="auto">
          <a:xfrm>
            <a:off x="6519863" y="4495800"/>
            <a:ext cx="1673225" cy="1385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00000"/>
              </a:lnSpc>
              <a:spcBef>
                <a:spcPct val="0"/>
              </a:spcBef>
              <a:buFontTx/>
              <a:buNone/>
            </a:pPr>
            <a:r>
              <a:rPr lang="en-US" altLang="zh-CN" sz="1400">
                <a:solidFill>
                  <a:schemeClr val="bg1"/>
                </a:solidFill>
              </a:rPr>
              <a:t>click to add subtitle click to add subtitle click to add subtitle click to add subtitle</a:t>
            </a:r>
            <a:r>
              <a:rPr lang="zh-CN" altLang="en-US" sz="1400">
                <a:solidFill>
                  <a:schemeClr val="bg1"/>
                </a:solidFill>
              </a:rPr>
              <a:t> </a:t>
            </a:r>
            <a:r>
              <a:rPr lang="en-US" altLang="zh-CN" sz="1400">
                <a:solidFill>
                  <a:schemeClr val="bg1"/>
                </a:solidFill>
              </a:rPr>
              <a:t>click to add subtitle click to add subtitle</a:t>
            </a:r>
            <a:endParaRPr lang="zh-CN" altLang="en-US" sz="1400">
              <a:solidFill>
                <a:schemeClr val="bg1"/>
              </a:solidFill>
            </a:endParaRPr>
          </a:p>
        </p:txBody>
      </p:sp>
      <p:sp>
        <p:nvSpPr>
          <p:cNvPr id="44" name="文本框 56">
            <a:extLst>
              <a:ext uri="{FF2B5EF4-FFF2-40B4-BE49-F238E27FC236}">
                <a16:creationId xmlns:a16="http://schemas.microsoft.com/office/drawing/2014/main" id="{75DFC95B-7B48-476E-B868-CE2DD3508904}"/>
              </a:ext>
            </a:extLst>
          </p:cNvPr>
          <p:cNvSpPr txBox="1">
            <a:spLocks noChangeArrowheads="1"/>
          </p:cNvSpPr>
          <p:nvPr/>
        </p:nvSpPr>
        <p:spPr bwMode="auto">
          <a:xfrm>
            <a:off x="9040813" y="4495800"/>
            <a:ext cx="1673225" cy="1385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00000"/>
              </a:lnSpc>
              <a:spcBef>
                <a:spcPct val="0"/>
              </a:spcBef>
              <a:buFontTx/>
              <a:buNone/>
            </a:pPr>
            <a:r>
              <a:rPr lang="en-US" altLang="zh-CN" sz="1400">
                <a:solidFill>
                  <a:schemeClr val="bg1"/>
                </a:solidFill>
              </a:rPr>
              <a:t>click to add subtitle click to add subtitle click to add subtitle click to add subtitle</a:t>
            </a:r>
            <a:r>
              <a:rPr lang="zh-CN" altLang="en-US" sz="1400">
                <a:solidFill>
                  <a:schemeClr val="bg1"/>
                </a:solidFill>
              </a:rPr>
              <a:t> </a:t>
            </a:r>
            <a:r>
              <a:rPr lang="en-US" altLang="zh-CN" sz="1400">
                <a:solidFill>
                  <a:schemeClr val="bg1"/>
                </a:solidFill>
              </a:rPr>
              <a:t>click to add subtitle click to add subtitle</a:t>
            </a:r>
            <a:endParaRPr lang="zh-CN" altLang="en-US" sz="1400">
              <a:solidFill>
                <a:schemeClr val="bg1"/>
              </a:solidFill>
            </a:endParaRPr>
          </a:p>
        </p:txBody>
      </p:sp>
      <p:sp>
        <p:nvSpPr>
          <p:cNvPr id="22546" name="文本框 56">
            <a:extLst>
              <a:ext uri="{FF2B5EF4-FFF2-40B4-BE49-F238E27FC236}">
                <a16:creationId xmlns:a16="http://schemas.microsoft.com/office/drawing/2014/main" id="{AE6893EE-78EA-4C5C-BC0C-BF2A5C009E6B}"/>
              </a:ext>
            </a:extLst>
          </p:cNvPr>
          <p:cNvSpPr txBox="1">
            <a:spLocks noChangeArrowheads="1"/>
          </p:cNvSpPr>
          <p:nvPr/>
        </p:nvSpPr>
        <p:spPr bwMode="auto">
          <a:xfrm>
            <a:off x="1154113" y="566738"/>
            <a:ext cx="509587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00000"/>
              </a:lnSpc>
              <a:spcBef>
                <a:spcPct val="0"/>
              </a:spcBef>
              <a:buFontTx/>
              <a:buNone/>
            </a:pPr>
            <a:r>
              <a:rPr lang="en-US" altLang="zh-CN" sz="3200" b="1">
                <a:solidFill>
                  <a:srgbClr val="C20F2A"/>
                </a:solidFill>
                <a:latin typeface="Agency FB" panose="020B0503020202020204" pitchFamily="34" charset="0"/>
              </a:rPr>
              <a:t>CLICK TO ADD YOUR TITLE IN HERE</a:t>
            </a: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500"/>
                                        <p:tgtEl>
                                          <p:spTgt spid="2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2"/>
                                        </p:tgtEl>
                                        <p:attrNameLst>
                                          <p:attrName>style.visibility</p:attrName>
                                        </p:attrNameLst>
                                      </p:cBhvr>
                                      <p:to>
                                        <p:strVal val="visible"/>
                                      </p:to>
                                    </p:set>
                                    <p:animEffect transition="in" filter="fade">
                                      <p:cBhvr>
                                        <p:cTn id="16" dur="500"/>
                                        <p:tgtEl>
                                          <p:spTgt spid="32"/>
                                        </p:tgtEl>
                                      </p:cBhvr>
                                    </p:animEffect>
                                  </p:childTnLst>
                                </p:cTn>
                              </p:par>
                            </p:childTnLst>
                          </p:cTn>
                        </p:par>
                        <p:par>
                          <p:cTn id="17" fill="hold" nodeType="afterGroup">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38"/>
                                        </p:tgtEl>
                                        <p:attrNameLst>
                                          <p:attrName>style.visibility</p:attrName>
                                        </p:attrNameLst>
                                      </p:cBhvr>
                                      <p:to>
                                        <p:strVal val="visible"/>
                                      </p:to>
                                    </p:set>
                                    <p:animEffect transition="in" filter="fade">
                                      <p:cBhvr>
                                        <p:cTn id="20" dur="500"/>
                                        <p:tgtEl>
                                          <p:spTgt spid="38"/>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9"/>
                                        </p:tgtEl>
                                        <p:attrNameLst>
                                          <p:attrName>style.visibility</p:attrName>
                                        </p:attrNameLst>
                                      </p:cBhvr>
                                      <p:to>
                                        <p:strVal val="visible"/>
                                      </p:to>
                                    </p:set>
                                    <p:animEffect transition="in" filter="fade">
                                      <p:cBhvr>
                                        <p:cTn id="23" dur="500"/>
                                        <p:tgtEl>
                                          <p:spTgt spid="3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40"/>
                                        </p:tgtEl>
                                        <p:attrNameLst>
                                          <p:attrName>style.visibility</p:attrName>
                                        </p:attrNameLst>
                                      </p:cBhvr>
                                      <p:to>
                                        <p:strVal val="visible"/>
                                      </p:to>
                                    </p:set>
                                    <p:animEffect transition="in" filter="fade">
                                      <p:cBhvr>
                                        <p:cTn id="26" dur="500"/>
                                        <p:tgtEl>
                                          <p:spTgt spid="40"/>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41"/>
                                        </p:tgtEl>
                                        <p:attrNameLst>
                                          <p:attrName>style.visibility</p:attrName>
                                        </p:attrNameLst>
                                      </p:cBhvr>
                                      <p:to>
                                        <p:strVal val="visible"/>
                                      </p:to>
                                    </p:set>
                                    <p:animEffect transition="in" filter="fade">
                                      <p:cBhvr>
                                        <p:cTn id="29" dur="500"/>
                                        <p:tgtEl>
                                          <p:spTgt spid="41"/>
                                        </p:tgtEl>
                                      </p:cBhvr>
                                    </p:animEffect>
                                  </p:childTnLst>
                                </p:cTn>
                              </p:par>
                            </p:childTnLst>
                          </p:cTn>
                        </p:par>
                        <p:par>
                          <p:cTn id="30" fill="hold" nodeType="afterGroup">
                            <p:stCondLst>
                              <p:cond delay="1000"/>
                            </p:stCondLst>
                            <p:childTnLst>
                              <p:par>
                                <p:cTn id="31" presetID="10" presetClass="entr" presetSubtype="0" fill="hold" nodeType="afterEffect">
                                  <p:stCondLst>
                                    <p:cond delay="0"/>
                                  </p:stCondLst>
                                  <p:childTnLst>
                                    <p:set>
                                      <p:cBhvr>
                                        <p:cTn id="32" dur="1" fill="hold">
                                          <p:stCondLst>
                                            <p:cond delay="0"/>
                                          </p:stCondLst>
                                        </p:cTn>
                                        <p:tgtEl>
                                          <p:spTgt spid="2"/>
                                        </p:tgtEl>
                                        <p:attrNameLst>
                                          <p:attrName>style.visibility</p:attrName>
                                        </p:attrNameLst>
                                      </p:cBhvr>
                                      <p:to>
                                        <p:strVal val="visible"/>
                                      </p:to>
                                    </p:set>
                                    <p:animEffect transition="in" filter="fade">
                                      <p:cBhvr>
                                        <p:cTn id="33" dur="250"/>
                                        <p:tgtEl>
                                          <p:spTgt spid="2"/>
                                        </p:tgtEl>
                                      </p:cBhvr>
                                    </p:animEffect>
                                  </p:childTnLst>
                                </p:cTn>
                              </p:par>
                              <p:par>
                                <p:cTn id="34" presetID="10" presetClass="entr" presetSubtype="0" fill="hold" nodeType="withEffect">
                                  <p:stCondLst>
                                    <p:cond delay="0"/>
                                  </p:stCondLst>
                                  <p:childTnLst>
                                    <p:set>
                                      <p:cBhvr>
                                        <p:cTn id="35" dur="1" fill="hold">
                                          <p:stCondLst>
                                            <p:cond delay="0"/>
                                          </p:stCondLst>
                                        </p:cTn>
                                        <p:tgtEl>
                                          <p:spTgt spid="3"/>
                                        </p:tgtEl>
                                        <p:attrNameLst>
                                          <p:attrName>style.visibility</p:attrName>
                                        </p:attrNameLst>
                                      </p:cBhvr>
                                      <p:to>
                                        <p:strVal val="visible"/>
                                      </p:to>
                                    </p:set>
                                    <p:animEffect transition="in" filter="fade">
                                      <p:cBhvr>
                                        <p:cTn id="36" dur="250"/>
                                        <p:tgtEl>
                                          <p:spTgt spid="3"/>
                                        </p:tgtEl>
                                      </p:cBhvr>
                                    </p:animEffect>
                                  </p:childTnLst>
                                </p:cTn>
                              </p:par>
                              <p:par>
                                <p:cTn id="37" presetID="10" presetClass="entr" presetSubtype="0" fill="hold" nodeType="withEffect">
                                  <p:stCondLst>
                                    <p:cond delay="0"/>
                                  </p:stCondLst>
                                  <p:childTnLst>
                                    <p:set>
                                      <p:cBhvr>
                                        <p:cTn id="38" dur="1" fill="hold">
                                          <p:stCondLst>
                                            <p:cond delay="0"/>
                                          </p:stCondLst>
                                        </p:cTn>
                                        <p:tgtEl>
                                          <p:spTgt spid="4"/>
                                        </p:tgtEl>
                                        <p:attrNameLst>
                                          <p:attrName>style.visibility</p:attrName>
                                        </p:attrNameLst>
                                      </p:cBhvr>
                                      <p:to>
                                        <p:strVal val="visible"/>
                                      </p:to>
                                    </p:set>
                                    <p:animEffect transition="in" filter="fade">
                                      <p:cBhvr>
                                        <p:cTn id="39" dur="250"/>
                                        <p:tgtEl>
                                          <p:spTgt spid="4"/>
                                        </p:tgtEl>
                                      </p:cBhvr>
                                    </p:animEffect>
                                  </p:childTnLst>
                                </p:cTn>
                              </p:par>
                              <p:par>
                                <p:cTn id="40" presetID="10" presetClass="entr" presetSubtype="0" fill="hold" nodeType="withEffect">
                                  <p:stCondLst>
                                    <p:cond delay="0"/>
                                  </p:stCondLst>
                                  <p:childTnLst>
                                    <p:set>
                                      <p:cBhvr>
                                        <p:cTn id="41" dur="1" fill="hold">
                                          <p:stCondLst>
                                            <p:cond delay="0"/>
                                          </p:stCondLst>
                                        </p:cTn>
                                        <p:tgtEl>
                                          <p:spTgt spid="6"/>
                                        </p:tgtEl>
                                        <p:attrNameLst>
                                          <p:attrName>style.visibility</p:attrName>
                                        </p:attrNameLst>
                                      </p:cBhvr>
                                      <p:to>
                                        <p:strVal val="visible"/>
                                      </p:to>
                                    </p:set>
                                    <p:animEffect transition="in" filter="fade">
                                      <p:cBhvr>
                                        <p:cTn id="42" dur="250"/>
                                        <p:tgtEl>
                                          <p:spTgt spid="6"/>
                                        </p:tgtEl>
                                      </p:cBhvr>
                                    </p:animEffect>
                                  </p:childTnLst>
                                </p:cTn>
                              </p:par>
                            </p:childTnLst>
                          </p:cTn>
                        </p:par>
                        <p:par>
                          <p:cTn id="43" fill="hold" nodeType="afterGroup">
                            <p:stCondLst>
                              <p:cond delay="1250"/>
                            </p:stCondLst>
                            <p:childTnLst>
                              <p:par>
                                <p:cTn id="44" presetID="10" presetClass="entr" presetSubtype="0" fill="hold" grpId="0" nodeType="afterEffect">
                                  <p:stCondLst>
                                    <p:cond delay="0"/>
                                  </p:stCondLst>
                                  <p:childTnLst>
                                    <p:set>
                                      <p:cBhvr>
                                        <p:cTn id="45" dur="1" fill="hold">
                                          <p:stCondLst>
                                            <p:cond delay="0"/>
                                          </p:stCondLst>
                                        </p:cTn>
                                        <p:tgtEl>
                                          <p:spTgt spid="37"/>
                                        </p:tgtEl>
                                        <p:attrNameLst>
                                          <p:attrName>style.visibility</p:attrName>
                                        </p:attrNameLst>
                                      </p:cBhvr>
                                      <p:to>
                                        <p:strVal val="visible"/>
                                      </p:to>
                                    </p:set>
                                    <p:animEffect transition="in" filter="fade">
                                      <p:cBhvr>
                                        <p:cTn id="46" dur="500"/>
                                        <p:tgtEl>
                                          <p:spTgt spid="37"/>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2"/>
                                        </p:tgtEl>
                                        <p:attrNameLst>
                                          <p:attrName>style.visibility</p:attrName>
                                        </p:attrNameLst>
                                      </p:cBhvr>
                                      <p:to>
                                        <p:strVal val="visible"/>
                                      </p:to>
                                    </p:set>
                                    <p:animEffect transition="in" filter="fade">
                                      <p:cBhvr>
                                        <p:cTn id="49" dur="500"/>
                                        <p:tgtEl>
                                          <p:spTgt spid="42"/>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43"/>
                                        </p:tgtEl>
                                        <p:attrNameLst>
                                          <p:attrName>style.visibility</p:attrName>
                                        </p:attrNameLst>
                                      </p:cBhvr>
                                      <p:to>
                                        <p:strVal val="visible"/>
                                      </p:to>
                                    </p:set>
                                    <p:animEffect transition="in" filter="fade">
                                      <p:cBhvr>
                                        <p:cTn id="52" dur="500"/>
                                        <p:tgtEl>
                                          <p:spTgt spid="43"/>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44"/>
                                        </p:tgtEl>
                                        <p:attrNameLst>
                                          <p:attrName>style.visibility</p:attrName>
                                        </p:attrNameLst>
                                      </p:cBhvr>
                                      <p:to>
                                        <p:strVal val="visible"/>
                                      </p:to>
                                    </p:set>
                                    <p:animEffect transition="in" filter="fade">
                                      <p:cBhvr>
                                        <p:cTn id="55"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6" grpId="0" animBg="1"/>
      <p:bldP spid="24" grpId="0" animBg="1"/>
      <p:bldP spid="32" grpId="0" animBg="1"/>
      <p:bldP spid="37" grpId="0"/>
      <p:bldP spid="38" grpId="0"/>
      <p:bldP spid="39" grpId="0"/>
      <p:bldP spid="40" grpId="0"/>
      <p:bldP spid="41" grpId="0"/>
      <p:bldP spid="42" grpId="0"/>
      <p:bldP spid="43" grpId="0"/>
      <p:bldP spid="44" grpId="0"/>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C20F2A"/>
        </a:solidFill>
        <a:effectLst/>
      </p:bgPr>
    </p:bg>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45B1E433-BAD6-43AF-9C59-49064FFBDE47}"/>
              </a:ext>
            </a:extLst>
          </p:cNvPr>
          <p:cNvSpPr txBox="1">
            <a:spLocks noChangeArrowheads="1"/>
          </p:cNvSpPr>
          <p:nvPr/>
        </p:nvSpPr>
        <p:spPr bwMode="auto">
          <a:xfrm>
            <a:off x="857250" y="2419350"/>
            <a:ext cx="2146300" cy="264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r" eaLnBrk="1" hangingPunct="1">
              <a:lnSpc>
                <a:spcPct val="100000"/>
              </a:lnSpc>
              <a:spcBef>
                <a:spcPct val="0"/>
              </a:spcBef>
              <a:buFontTx/>
              <a:buNone/>
            </a:pPr>
            <a:r>
              <a:rPr lang="en-US" altLang="zh-CN" sz="16600" b="1">
                <a:solidFill>
                  <a:srgbClr val="292929"/>
                </a:solidFill>
                <a:latin typeface="Agency FB" panose="020B0503020202020204" pitchFamily="34" charset="0"/>
              </a:rPr>
              <a:t>04</a:t>
            </a:r>
            <a:endParaRPr lang="zh-CN" altLang="en-US" sz="16600" b="1">
              <a:solidFill>
                <a:srgbClr val="292929"/>
              </a:solidFill>
              <a:latin typeface="Agency FB" panose="020B0503020202020204" pitchFamily="34" charset="0"/>
            </a:endParaRPr>
          </a:p>
        </p:txBody>
      </p:sp>
      <p:cxnSp>
        <p:nvCxnSpPr>
          <p:cNvPr id="4" name="直接连接符 3">
            <a:extLst>
              <a:ext uri="{FF2B5EF4-FFF2-40B4-BE49-F238E27FC236}">
                <a16:creationId xmlns:a16="http://schemas.microsoft.com/office/drawing/2014/main" id="{EF583BCB-6935-4456-B765-72F1077B793E}"/>
              </a:ext>
            </a:extLst>
          </p:cNvPr>
          <p:cNvCxnSpPr/>
          <p:nvPr/>
        </p:nvCxnSpPr>
        <p:spPr>
          <a:xfrm>
            <a:off x="3009900" y="2638425"/>
            <a:ext cx="0" cy="2208213"/>
          </a:xfrm>
          <a:prstGeom prst="line">
            <a:avLst/>
          </a:prstGeom>
          <a:ln w="38100">
            <a:solidFill>
              <a:schemeClr val="bg1">
                <a:alpha val="36000"/>
              </a:schemeClr>
            </a:solidFill>
          </a:ln>
        </p:spPr>
        <p:style>
          <a:lnRef idx="1">
            <a:schemeClr val="accent1"/>
          </a:lnRef>
          <a:fillRef idx="0">
            <a:schemeClr val="accent1"/>
          </a:fillRef>
          <a:effectRef idx="0">
            <a:schemeClr val="accent1"/>
          </a:effectRef>
          <a:fontRef idx="minor">
            <a:schemeClr val="tx1"/>
          </a:fontRef>
        </p:style>
      </p:cxnSp>
      <p:sp>
        <p:nvSpPr>
          <p:cNvPr id="5" name="文本框 56">
            <a:extLst>
              <a:ext uri="{FF2B5EF4-FFF2-40B4-BE49-F238E27FC236}">
                <a16:creationId xmlns:a16="http://schemas.microsoft.com/office/drawing/2014/main" id="{8492C648-1DC0-4B0D-954B-40C271B350B0}"/>
              </a:ext>
            </a:extLst>
          </p:cNvPr>
          <p:cNvSpPr txBox="1">
            <a:spLocks noChangeArrowheads="1"/>
          </p:cNvSpPr>
          <p:nvPr/>
        </p:nvSpPr>
        <p:spPr bwMode="auto">
          <a:xfrm>
            <a:off x="3181350" y="2819400"/>
            <a:ext cx="6362700"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sz="5400" b="1">
                <a:solidFill>
                  <a:srgbClr val="292929"/>
                </a:solidFill>
                <a:latin typeface="Agency FB" panose="020B0503020202020204" pitchFamily="34" charset="0"/>
              </a:rPr>
              <a:t>CLICK TO ADD YOUR TITLE</a:t>
            </a:r>
          </a:p>
        </p:txBody>
      </p:sp>
      <p:sp>
        <p:nvSpPr>
          <p:cNvPr id="6" name="文本框 56">
            <a:extLst>
              <a:ext uri="{FF2B5EF4-FFF2-40B4-BE49-F238E27FC236}">
                <a16:creationId xmlns:a16="http://schemas.microsoft.com/office/drawing/2014/main" id="{D45A9B4D-260E-4CCA-A661-147243D52C72}"/>
              </a:ext>
            </a:extLst>
          </p:cNvPr>
          <p:cNvSpPr txBox="1">
            <a:spLocks noChangeArrowheads="1"/>
          </p:cNvSpPr>
          <p:nvPr/>
        </p:nvSpPr>
        <p:spPr bwMode="auto">
          <a:xfrm>
            <a:off x="3181350" y="3756025"/>
            <a:ext cx="6265863"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sz="1600">
                <a:solidFill>
                  <a:srgbClr val="292929"/>
                </a:solidFill>
              </a:rPr>
              <a:t>click to add subtitle click to add subtitle click to add subtitle click to add subtitle  click to add subtitle click to add subtitle click to add subtitle click to add subtitle  click to add subtitle click to add subtitle</a:t>
            </a:r>
            <a:endParaRPr lang="zh-CN" altLang="en-US" sz="1600">
              <a:solidFill>
                <a:srgbClr val="292929"/>
              </a:solidFill>
            </a:endParaRPr>
          </a:p>
        </p:txBody>
      </p:sp>
    </p:spTree>
  </p:cSld>
  <p:clrMapOvr>
    <a:masterClrMapping/>
  </p:clrMapOvr>
  <p:transition spd="slow">
    <p:blinds dir="vert"/>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nodeType="afterGroup">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nodeType="afterGroup">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nodeType="afterGroup">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bldP spid="6"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33C73C90-723E-482D-A070-00ABD7CC22E3}"/>
              </a:ext>
            </a:extLst>
          </p:cNvPr>
          <p:cNvPicPr>
            <a:picLocks noChangeAspect="1"/>
          </p:cNvPicPr>
          <p:nvPr/>
        </p:nvPicPr>
        <p:blipFill>
          <a:blip r:embed="rId3" cstate="print">
            <a:extLst>
              <a:ext uri="{28A0092B-C50C-407E-A947-70E740481C1C}">
                <a14:useLocalDpi xmlns:a14="http://schemas.microsoft.com/office/drawing/2010/main" val="0"/>
              </a:ext>
            </a:extLst>
          </a:blip>
          <a:srcRect t="574" b="574"/>
          <a:stretch>
            <a:fillRect/>
          </a:stretch>
        </p:blipFill>
        <p:spPr>
          <a:xfrm>
            <a:off x="6535391" y="1829053"/>
            <a:ext cx="1539909" cy="1530220"/>
          </a:xfrm>
          <a:custGeom>
            <a:avLst/>
            <a:gdLst>
              <a:gd name="connsiteX0" fmla="*/ 0 w 1539909"/>
              <a:gd name="connsiteY0" fmla="*/ 0 h 1530220"/>
              <a:gd name="connsiteX1" fmla="*/ 1539909 w 1539909"/>
              <a:gd name="connsiteY1" fmla="*/ 0 h 1530220"/>
              <a:gd name="connsiteX2" fmla="*/ 1539909 w 1539909"/>
              <a:gd name="connsiteY2" fmla="*/ 1530220 h 1530220"/>
              <a:gd name="connsiteX3" fmla="*/ 0 w 1539909"/>
              <a:gd name="connsiteY3" fmla="*/ 1530220 h 1530220"/>
            </a:gdLst>
            <a:ahLst/>
            <a:cxnLst>
              <a:cxn ang="0">
                <a:pos x="connsiteX0" y="connsiteY0"/>
              </a:cxn>
              <a:cxn ang="0">
                <a:pos x="connsiteX1" y="connsiteY1"/>
              </a:cxn>
              <a:cxn ang="0">
                <a:pos x="connsiteX2" y="connsiteY2"/>
              </a:cxn>
              <a:cxn ang="0">
                <a:pos x="connsiteX3" y="connsiteY3"/>
              </a:cxn>
            </a:cxnLst>
            <a:rect l="l" t="t" r="r" b="b"/>
            <a:pathLst>
              <a:path w="1539909" h="1530220">
                <a:moveTo>
                  <a:pt x="0" y="0"/>
                </a:moveTo>
                <a:lnTo>
                  <a:pt x="1539909" y="0"/>
                </a:lnTo>
                <a:lnTo>
                  <a:pt x="1539909" y="1530220"/>
                </a:lnTo>
                <a:lnTo>
                  <a:pt x="0" y="1530220"/>
                </a:lnTo>
                <a:close/>
              </a:path>
            </a:pathLst>
          </a:custGeom>
        </p:spPr>
      </p:pic>
      <p:pic>
        <p:nvPicPr>
          <p:cNvPr id="7" name="图片 6">
            <a:extLst>
              <a:ext uri="{FF2B5EF4-FFF2-40B4-BE49-F238E27FC236}">
                <a16:creationId xmlns:a16="http://schemas.microsoft.com/office/drawing/2014/main" id="{7043C773-7B18-4A45-9B64-09036247A700}"/>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a:xfrm>
            <a:off x="9604177" y="3359273"/>
            <a:ext cx="1548000" cy="1530220"/>
          </a:xfrm>
          <a:custGeom>
            <a:avLst/>
            <a:gdLst>
              <a:gd name="connsiteX0" fmla="*/ 0 w 1548000"/>
              <a:gd name="connsiteY0" fmla="*/ 0 h 1530220"/>
              <a:gd name="connsiteX1" fmla="*/ 1548000 w 1548000"/>
              <a:gd name="connsiteY1" fmla="*/ 0 h 1530220"/>
              <a:gd name="connsiteX2" fmla="*/ 1548000 w 1548000"/>
              <a:gd name="connsiteY2" fmla="*/ 1530220 h 1530220"/>
              <a:gd name="connsiteX3" fmla="*/ 0 w 1548000"/>
              <a:gd name="connsiteY3" fmla="*/ 1530220 h 1530220"/>
            </a:gdLst>
            <a:ahLst/>
            <a:cxnLst>
              <a:cxn ang="0">
                <a:pos x="connsiteX0" y="connsiteY0"/>
              </a:cxn>
              <a:cxn ang="0">
                <a:pos x="connsiteX1" y="connsiteY1"/>
              </a:cxn>
              <a:cxn ang="0">
                <a:pos x="connsiteX2" y="connsiteY2"/>
              </a:cxn>
              <a:cxn ang="0">
                <a:pos x="connsiteX3" y="connsiteY3"/>
              </a:cxn>
            </a:cxnLst>
            <a:rect l="l" t="t" r="r" b="b"/>
            <a:pathLst>
              <a:path w="1548000" h="1530220">
                <a:moveTo>
                  <a:pt x="0" y="0"/>
                </a:moveTo>
                <a:lnTo>
                  <a:pt x="1548000" y="0"/>
                </a:lnTo>
                <a:lnTo>
                  <a:pt x="1548000" y="1530220"/>
                </a:lnTo>
                <a:lnTo>
                  <a:pt x="0" y="1530220"/>
                </a:lnTo>
                <a:close/>
              </a:path>
            </a:pathLst>
          </a:custGeom>
        </p:spPr>
      </p:pic>
      <p:pic>
        <p:nvPicPr>
          <p:cNvPr id="8" name="图片 7">
            <a:extLst>
              <a:ext uri="{FF2B5EF4-FFF2-40B4-BE49-F238E27FC236}">
                <a16:creationId xmlns:a16="http://schemas.microsoft.com/office/drawing/2014/main" id="{198C1553-7A65-4248-ABEC-ED5CAB3FEC52}"/>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6540234" y="4889493"/>
            <a:ext cx="1530220" cy="1530220"/>
          </a:xfrm>
          <a:custGeom>
            <a:avLst/>
            <a:gdLst>
              <a:gd name="connsiteX0" fmla="*/ 0 w 1548879"/>
              <a:gd name="connsiteY0" fmla="*/ 0 h 1530220"/>
              <a:gd name="connsiteX1" fmla="*/ 1548879 w 1548879"/>
              <a:gd name="connsiteY1" fmla="*/ 0 h 1530220"/>
              <a:gd name="connsiteX2" fmla="*/ 1548879 w 1548879"/>
              <a:gd name="connsiteY2" fmla="*/ 1530220 h 1530220"/>
              <a:gd name="connsiteX3" fmla="*/ 0 w 1548879"/>
              <a:gd name="connsiteY3" fmla="*/ 1530220 h 1530220"/>
            </a:gdLst>
            <a:ahLst/>
            <a:cxnLst>
              <a:cxn ang="0">
                <a:pos x="connsiteX0" y="connsiteY0"/>
              </a:cxn>
              <a:cxn ang="0">
                <a:pos x="connsiteX1" y="connsiteY1"/>
              </a:cxn>
              <a:cxn ang="0">
                <a:pos x="connsiteX2" y="connsiteY2"/>
              </a:cxn>
              <a:cxn ang="0">
                <a:pos x="connsiteX3" y="connsiteY3"/>
              </a:cxn>
            </a:cxnLst>
            <a:rect l="l" t="t" r="r" b="b"/>
            <a:pathLst>
              <a:path w="1548879" h="1530220">
                <a:moveTo>
                  <a:pt x="0" y="0"/>
                </a:moveTo>
                <a:lnTo>
                  <a:pt x="1548879" y="0"/>
                </a:lnTo>
                <a:lnTo>
                  <a:pt x="1548879" y="1530220"/>
                </a:lnTo>
                <a:lnTo>
                  <a:pt x="0" y="1530220"/>
                </a:lnTo>
                <a:close/>
              </a:path>
            </a:pathLst>
          </a:custGeom>
        </p:spPr>
      </p:pic>
      <p:pic>
        <p:nvPicPr>
          <p:cNvPr id="9" name="图片 8">
            <a:extLst>
              <a:ext uri="{FF2B5EF4-FFF2-40B4-BE49-F238E27FC236}">
                <a16:creationId xmlns:a16="http://schemas.microsoft.com/office/drawing/2014/main" id="{6B862238-C80E-41AB-B020-45261EC752B4}"/>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a:xfrm>
            <a:off x="4982464" y="4889493"/>
            <a:ext cx="1548000" cy="1530220"/>
          </a:xfrm>
          <a:custGeom>
            <a:avLst/>
            <a:gdLst>
              <a:gd name="connsiteX0" fmla="*/ 0 w 1548000"/>
              <a:gd name="connsiteY0" fmla="*/ 0 h 1530220"/>
              <a:gd name="connsiteX1" fmla="*/ 1548000 w 1548000"/>
              <a:gd name="connsiteY1" fmla="*/ 0 h 1530220"/>
              <a:gd name="connsiteX2" fmla="*/ 1548000 w 1548000"/>
              <a:gd name="connsiteY2" fmla="*/ 1530220 h 1530220"/>
              <a:gd name="connsiteX3" fmla="*/ 0 w 1548000"/>
              <a:gd name="connsiteY3" fmla="*/ 1530220 h 1530220"/>
            </a:gdLst>
            <a:ahLst/>
            <a:cxnLst>
              <a:cxn ang="0">
                <a:pos x="connsiteX0" y="connsiteY0"/>
              </a:cxn>
              <a:cxn ang="0">
                <a:pos x="connsiteX1" y="connsiteY1"/>
              </a:cxn>
              <a:cxn ang="0">
                <a:pos x="connsiteX2" y="connsiteY2"/>
              </a:cxn>
              <a:cxn ang="0">
                <a:pos x="connsiteX3" y="connsiteY3"/>
              </a:cxn>
            </a:cxnLst>
            <a:rect l="l" t="t" r="r" b="b"/>
            <a:pathLst>
              <a:path w="1548000" h="1530220">
                <a:moveTo>
                  <a:pt x="0" y="0"/>
                </a:moveTo>
                <a:lnTo>
                  <a:pt x="1548000" y="0"/>
                </a:lnTo>
                <a:lnTo>
                  <a:pt x="1548000" y="1530220"/>
                </a:lnTo>
                <a:lnTo>
                  <a:pt x="0" y="1530220"/>
                </a:lnTo>
                <a:close/>
              </a:path>
            </a:pathLst>
          </a:custGeom>
        </p:spPr>
      </p:pic>
      <p:grpSp>
        <p:nvGrpSpPr>
          <p:cNvPr id="63" name="组合 62">
            <a:extLst>
              <a:ext uri="{FF2B5EF4-FFF2-40B4-BE49-F238E27FC236}">
                <a16:creationId xmlns:a16="http://schemas.microsoft.com/office/drawing/2014/main" id="{FBFD1F0C-18D4-4101-862D-9600C33F5B68}"/>
              </a:ext>
            </a:extLst>
          </p:cNvPr>
          <p:cNvGrpSpPr>
            <a:grpSpLocks/>
          </p:cNvGrpSpPr>
          <p:nvPr/>
        </p:nvGrpSpPr>
        <p:grpSpPr bwMode="auto">
          <a:xfrm>
            <a:off x="4981575" y="1828800"/>
            <a:ext cx="1549400" cy="1530350"/>
            <a:chOff x="4982024" y="1829053"/>
            <a:chExt cx="1548881" cy="1530220"/>
          </a:xfrm>
        </p:grpSpPr>
        <p:sp>
          <p:nvSpPr>
            <p:cNvPr id="11" name="矩形 10">
              <a:extLst>
                <a:ext uri="{FF2B5EF4-FFF2-40B4-BE49-F238E27FC236}">
                  <a16:creationId xmlns:a16="http://schemas.microsoft.com/office/drawing/2014/main" id="{24987D5E-3B68-416E-A2D9-F4E551805DC6}"/>
                </a:ext>
              </a:extLst>
            </p:cNvPr>
            <p:cNvSpPr/>
            <p:nvPr/>
          </p:nvSpPr>
          <p:spPr>
            <a:xfrm>
              <a:off x="4982024" y="1829053"/>
              <a:ext cx="1548881" cy="1530220"/>
            </a:xfrm>
            <a:prstGeom prst="rect">
              <a:avLst/>
            </a:prstGeom>
            <a:solidFill>
              <a:srgbClr val="C20F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grpSp>
          <p:nvGrpSpPr>
            <p:cNvPr id="12" name="Group 139">
              <a:extLst>
                <a:ext uri="{FF2B5EF4-FFF2-40B4-BE49-F238E27FC236}">
                  <a16:creationId xmlns:a16="http://schemas.microsoft.com/office/drawing/2014/main" id="{BAA6407E-99F7-4E77-AC14-65898124A3FD}"/>
                </a:ext>
              </a:extLst>
            </p:cNvPr>
            <p:cNvGrpSpPr/>
            <p:nvPr/>
          </p:nvGrpSpPr>
          <p:grpSpPr>
            <a:xfrm>
              <a:off x="5488030" y="1985539"/>
              <a:ext cx="536868" cy="742399"/>
              <a:chOff x="7688566" y="3019100"/>
              <a:chExt cx="907340" cy="1254619"/>
            </a:xfrm>
            <a:solidFill>
              <a:schemeClr val="bg1"/>
            </a:solidFill>
          </p:grpSpPr>
          <p:grpSp>
            <p:nvGrpSpPr>
              <p:cNvPr id="14" name="Group 140">
                <a:extLst>
                  <a:ext uri="{FF2B5EF4-FFF2-40B4-BE49-F238E27FC236}">
                    <a16:creationId xmlns:a16="http://schemas.microsoft.com/office/drawing/2014/main" id="{9514D74B-B2A2-4569-BB97-BCFFB8D67E28}"/>
                  </a:ext>
                </a:extLst>
              </p:cNvPr>
              <p:cNvGrpSpPr/>
              <p:nvPr/>
            </p:nvGrpSpPr>
            <p:grpSpPr bwMode="black">
              <a:xfrm>
                <a:off x="7928584" y="3223998"/>
                <a:ext cx="429598" cy="1049721"/>
                <a:chOff x="3233738" y="168276"/>
                <a:chExt cx="2651125" cy="6480174"/>
              </a:xfrm>
              <a:grpFill/>
            </p:grpSpPr>
            <p:sp>
              <p:nvSpPr>
                <p:cNvPr id="24" name="Freeform 150">
                  <a:extLst>
                    <a:ext uri="{FF2B5EF4-FFF2-40B4-BE49-F238E27FC236}">
                      <a16:creationId xmlns:a16="http://schemas.microsoft.com/office/drawing/2014/main" id="{4CFE19E6-5A21-4D83-8A9C-4368F977F357}"/>
                    </a:ext>
                  </a:extLst>
                </p:cNvPr>
                <p:cNvSpPr>
                  <a:spLocks/>
                </p:cNvSpPr>
                <p:nvPr/>
              </p:nvSpPr>
              <p:spPr bwMode="black">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91427" tIns="45713" rIns="91427" bIns="45713"/>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sz="1600">
                    <a:solidFill>
                      <a:srgbClr val="FFFFFF"/>
                    </a:solidFill>
                  </a:endParaRPr>
                </a:p>
              </p:txBody>
            </p:sp>
            <p:sp>
              <p:nvSpPr>
                <p:cNvPr id="25" name="Freeform 151">
                  <a:extLst>
                    <a:ext uri="{FF2B5EF4-FFF2-40B4-BE49-F238E27FC236}">
                      <a16:creationId xmlns:a16="http://schemas.microsoft.com/office/drawing/2014/main" id="{E7A1CE4F-A94D-49E3-ACCD-3796706D3D0F}"/>
                    </a:ext>
                  </a:extLst>
                </p:cNvPr>
                <p:cNvSpPr>
                  <a:spLocks noEditPoints="1"/>
                </p:cNvSpPr>
                <p:nvPr/>
              </p:nvSpPr>
              <p:spPr bwMode="black">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91427" tIns="45713" rIns="91427" bIns="45713"/>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sz="1600">
                    <a:solidFill>
                      <a:srgbClr val="FFFFFF"/>
                    </a:solidFill>
                  </a:endParaRPr>
                </a:p>
              </p:txBody>
            </p:sp>
            <p:sp>
              <p:nvSpPr>
                <p:cNvPr id="26" name="Freeform 152">
                  <a:extLst>
                    <a:ext uri="{FF2B5EF4-FFF2-40B4-BE49-F238E27FC236}">
                      <a16:creationId xmlns:a16="http://schemas.microsoft.com/office/drawing/2014/main" id="{06227929-7804-4E59-A988-B865AAB38D0B}"/>
                    </a:ext>
                  </a:extLst>
                </p:cNvPr>
                <p:cNvSpPr>
                  <a:spLocks/>
                </p:cNvSpPr>
                <p:nvPr/>
              </p:nvSpPr>
              <p:spPr bwMode="black">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91427" tIns="45713" rIns="91427" bIns="45713"/>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US" sz="1600">
                    <a:solidFill>
                      <a:srgbClr val="FFFFFF"/>
                    </a:solidFill>
                  </a:endParaRPr>
                </a:p>
              </p:txBody>
            </p:sp>
          </p:grpSp>
          <p:sp>
            <p:nvSpPr>
              <p:cNvPr id="15" name="Rounded Rectangle 141">
                <a:extLst>
                  <a:ext uri="{FF2B5EF4-FFF2-40B4-BE49-F238E27FC236}">
                    <a16:creationId xmlns:a16="http://schemas.microsoft.com/office/drawing/2014/main" id="{0667D9BA-1396-44CE-96B2-C554A11AA081}"/>
                  </a:ext>
                </a:extLst>
              </p:cNvPr>
              <p:cNvSpPr/>
              <p:nvPr/>
            </p:nvSpPr>
            <p:spPr>
              <a:xfrm>
                <a:off x="8131857" y="3019100"/>
                <a:ext cx="18287" cy="137151"/>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27" tIns="91427" rIns="91427" bIns="91427" anchor="b"/>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fontAlgn="auto">
                  <a:spcBef>
                    <a:spcPts val="0"/>
                  </a:spcBef>
                  <a:spcAft>
                    <a:spcPts val="0"/>
                  </a:spcAft>
                  <a:defRPr/>
                </a:pPr>
                <a:endParaRPr lang="en-US" sz="1200" dirty="0" err="1">
                  <a:solidFill>
                    <a:srgbClr val="FFFFFF"/>
                  </a:solidFill>
                </a:endParaRPr>
              </a:p>
            </p:txBody>
          </p:sp>
          <p:sp>
            <p:nvSpPr>
              <p:cNvPr id="16" name="Rounded Rectangle 142">
                <a:extLst>
                  <a:ext uri="{FF2B5EF4-FFF2-40B4-BE49-F238E27FC236}">
                    <a16:creationId xmlns:a16="http://schemas.microsoft.com/office/drawing/2014/main" id="{5E87C6B7-CA3E-4649-87C4-4DBA20A4E11E}"/>
                  </a:ext>
                </a:extLst>
              </p:cNvPr>
              <p:cNvSpPr/>
              <p:nvPr/>
            </p:nvSpPr>
            <p:spPr>
              <a:xfrm rot="1860000">
                <a:off x="8339894" y="3078622"/>
                <a:ext cx="18287" cy="137151"/>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27" tIns="91427" rIns="91427" bIns="91427" anchor="b"/>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fontAlgn="auto">
                  <a:spcBef>
                    <a:spcPts val="0"/>
                  </a:spcBef>
                  <a:spcAft>
                    <a:spcPts val="0"/>
                  </a:spcAft>
                  <a:defRPr/>
                </a:pPr>
                <a:endParaRPr lang="en-US" sz="1200" dirty="0" err="1">
                  <a:solidFill>
                    <a:srgbClr val="FFFFFF"/>
                  </a:solidFill>
                </a:endParaRPr>
              </a:p>
            </p:txBody>
          </p:sp>
          <p:sp>
            <p:nvSpPr>
              <p:cNvPr id="17" name="Rounded Rectangle 143">
                <a:extLst>
                  <a:ext uri="{FF2B5EF4-FFF2-40B4-BE49-F238E27FC236}">
                    <a16:creationId xmlns:a16="http://schemas.microsoft.com/office/drawing/2014/main" id="{6D2FB946-E746-4D1B-A6DD-8F48280EA12C}"/>
                  </a:ext>
                </a:extLst>
              </p:cNvPr>
              <p:cNvSpPr/>
              <p:nvPr/>
            </p:nvSpPr>
            <p:spPr>
              <a:xfrm rot="19680000">
                <a:off x="7923822" y="3078620"/>
                <a:ext cx="18287" cy="137151"/>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27" tIns="91427" rIns="91427" bIns="91427" anchor="b"/>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fontAlgn="auto">
                  <a:spcBef>
                    <a:spcPts val="0"/>
                  </a:spcBef>
                  <a:spcAft>
                    <a:spcPts val="0"/>
                  </a:spcAft>
                  <a:defRPr/>
                </a:pPr>
                <a:endParaRPr lang="en-US" sz="1200" dirty="0" err="1">
                  <a:solidFill>
                    <a:srgbClr val="FFFFFF"/>
                  </a:solidFill>
                </a:endParaRPr>
              </a:p>
            </p:txBody>
          </p:sp>
          <p:sp>
            <p:nvSpPr>
              <p:cNvPr id="18" name="Rounded Rectangle 144">
                <a:extLst>
                  <a:ext uri="{FF2B5EF4-FFF2-40B4-BE49-F238E27FC236}">
                    <a16:creationId xmlns:a16="http://schemas.microsoft.com/office/drawing/2014/main" id="{23241D2B-4115-4F41-B6AE-C6D6CD427661}"/>
                  </a:ext>
                </a:extLst>
              </p:cNvPr>
              <p:cNvSpPr/>
              <p:nvPr/>
            </p:nvSpPr>
            <p:spPr>
              <a:xfrm rot="3420000">
                <a:off x="8489610" y="3256516"/>
                <a:ext cx="18286" cy="13716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27" tIns="91427" rIns="91427" bIns="91427" anchor="b"/>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fontAlgn="auto">
                  <a:spcBef>
                    <a:spcPts val="0"/>
                  </a:spcBef>
                  <a:spcAft>
                    <a:spcPts val="0"/>
                  </a:spcAft>
                  <a:defRPr/>
                </a:pPr>
                <a:endParaRPr lang="en-US" sz="1200" dirty="0" err="1">
                  <a:solidFill>
                    <a:srgbClr val="FFFFFF"/>
                  </a:solidFill>
                </a:endParaRPr>
              </a:p>
            </p:txBody>
          </p:sp>
          <p:sp>
            <p:nvSpPr>
              <p:cNvPr id="19" name="Rounded Rectangle 145">
                <a:extLst>
                  <a:ext uri="{FF2B5EF4-FFF2-40B4-BE49-F238E27FC236}">
                    <a16:creationId xmlns:a16="http://schemas.microsoft.com/office/drawing/2014/main" id="{8D98DC91-8CDC-4D36-8442-976986487EAA}"/>
                  </a:ext>
                </a:extLst>
              </p:cNvPr>
              <p:cNvSpPr/>
              <p:nvPr/>
            </p:nvSpPr>
            <p:spPr>
              <a:xfrm rot="18180000" flipV="1">
                <a:off x="7776750" y="3256514"/>
                <a:ext cx="18286" cy="13716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27" tIns="91427" rIns="91427" bIns="91427" anchor="b"/>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fontAlgn="auto">
                  <a:spcBef>
                    <a:spcPts val="0"/>
                  </a:spcBef>
                  <a:spcAft>
                    <a:spcPts val="0"/>
                  </a:spcAft>
                  <a:defRPr/>
                </a:pPr>
                <a:endParaRPr lang="en-US" sz="1200" dirty="0" err="1">
                  <a:solidFill>
                    <a:srgbClr val="FFFFFF"/>
                  </a:solidFill>
                </a:endParaRPr>
              </a:p>
            </p:txBody>
          </p:sp>
          <p:sp>
            <p:nvSpPr>
              <p:cNvPr id="20" name="Rounded Rectangle 146">
                <a:extLst>
                  <a:ext uri="{FF2B5EF4-FFF2-40B4-BE49-F238E27FC236}">
                    <a16:creationId xmlns:a16="http://schemas.microsoft.com/office/drawing/2014/main" id="{D35105BF-1B6E-47F1-AB2B-C6BCCD6E7D42}"/>
                  </a:ext>
                </a:extLst>
              </p:cNvPr>
              <p:cNvSpPr/>
              <p:nvPr/>
            </p:nvSpPr>
            <p:spPr>
              <a:xfrm rot="5400000">
                <a:off x="8518183" y="3454412"/>
                <a:ext cx="18286" cy="13716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27" tIns="91427" rIns="91427" bIns="91427" anchor="b"/>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fontAlgn="auto">
                  <a:spcBef>
                    <a:spcPts val="0"/>
                  </a:spcBef>
                  <a:spcAft>
                    <a:spcPts val="0"/>
                  </a:spcAft>
                  <a:defRPr/>
                </a:pPr>
                <a:endParaRPr lang="en-US" sz="1200" dirty="0" err="1">
                  <a:solidFill>
                    <a:srgbClr val="FFFFFF"/>
                  </a:solidFill>
                </a:endParaRPr>
              </a:p>
            </p:txBody>
          </p:sp>
          <p:sp>
            <p:nvSpPr>
              <p:cNvPr id="21" name="Rounded Rectangle 147">
                <a:extLst>
                  <a:ext uri="{FF2B5EF4-FFF2-40B4-BE49-F238E27FC236}">
                    <a16:creationId xmlns:a16="http://schemas.microsoft.com/office/drawing/2014/main" id="{2606A2B0-C33E-4FAA-9405-DEAD4A4AC7C6}"/>
                  </a:ext>
                </a:extLst>
              </p:cNvPr>
              <p:cNvSpPr/>
              <p:nvPr/>
            </p:nvSpPr>
            <p:spPr>
              <a:xfrm rot="5400000">
                <a:off x="7748003" y="3454422"/>
                <a:ext cx="18286" cy="13716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27" tIns="91427" rIns="91427" bIns="91427" anchor="b"/>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fontAlgn="auto">
                  <a:spcBef>
                    <a:spcPts val="0"/>
                  </a:spcBef>
                  <a:spcAft>
                    <a:spcPts val="0"/>
                  </a:spcAft>
                  <a:defRPr/>
                </a:pPr>
                <a:endParaRPr lang="en-US" sz="1200" dirty="0" err="1">
                  <a:solidFill>
                    <a:srgbClr val="FFFFFF"/>
                  </a:solidFill>
                </a:endParaRPr>
              </a:p>
            </p:txBody>
          </p:sp>
          <p:sp>
            <p:nvSpPr>
              <p:cNvPr id="22" name="Rounded Rectangle 148">
                <a:extLst>
                  <a:ext uri="{FF2B5EF4-FFF2-40B4-BE49-F238E27FC236}">
                    <a16:creationId xmlns:a16="http://schemas.microsoft.com/office/drawing/2014/main" id="{ED14478B-98E5-45ED-A1C4-28C5C4F03821}"/>
                  </a:ext>
                </a:extLst>
              </p:cNvPr>
              <p:cNvSpPr/>
              <p:nvPr/>
            </p:nvSpPr>
            <p:spPr>
              <a:xfrm rot="6660000">
                <a:off x="8472942" y="3592047"/>
                <a:ext cx="18287" cy="13716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27" tIns="91427" rIns="91427" bIns="91427" anchor="b"/>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fontAlgn="auto">
                  <a:spcBef>
                    <a:spcPts val="0"/>
                  </a:spcBef>
                  <a:spcAft>
                    <a:spcPts val="0"/>
                  </a:spcAft>
                  <a:defRPr/>
                </a:pPr>
                <a:endParaRPr lang="en-US" sz="1200" dirty="0" err="1">
                  <a:solidFill>
                    <a:srgbClr val="FFFFFF"/>
                  </a:solidFill>
                </a:endParaRPr>
              </a:p>
            </p:txBody>
          </p:sp>
          <p:sp>
            <p:nvSpPr>
              <p:cNvPr id="23" name="Rounded Rectangle 149">
                <a:extLst>
                  <a:ext uri="{FF2B5EF4-FFF2-40B4-BE49-F238E27FC236}">
                    <a16:creationId xmlns:a16="http://schemas.microsoft.com/office/drawing/2014/main" id="{4495E257-8273-4C9F-96F9-FCAFB720DA97}"/>
                  </a:ext>
                </a:extLst>
              </p:cNvPr>
              <p:cNvSpPr/>
              <p:nvPr/>
            </p:nvSpPr>
            <p:spPr>
              <a:xfrm rot="14940000" flipH="1">
                <a:off x="7801157" y="3592107"/>
                <a:ext cx="18287" cy="13716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91427" tIns="91427" rIns="91427" bIns="91427" anchor="b"/>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fontAlgn="auto">
                  <a:spcBef>
                    <a:spcPts val="0"/>
                  </a:spcBef>
                  <a:spcAft>
                    <a:spcPts val="0"/>
                  </a:spcAft>
                  <a:defRPr/>
                </a:pPr>
                <a:endParaRPr lang="en-US" sz="1200" dirty="0" err="1">
                  <a:solidFill>
                    <a:srgbClr val="FFFFFF"/>
                  </a:solidFill>
                </a:endParaRPr>
              </a:p>
            </p:txBody>
          </p:sp>
        </p:grpSp>
        <p:sp>
          <p:nvSpPr>
            <p:cNvPr id="24608" name="TextBox 1">
              <a:extLst>
                <a:ext uri="{FF2B5EF4-FFF2-40B4-BE49-F238E27FC236}">
                  <a16:creationId xmlns:a16="http://schemas.microsoft.com/office/drawing/2014/main" id="{3B4C73E4-18B3-46AB-953F-7DF76CE84FCA}"/>
                </a:ext>
              </a:extLst>
            </p:cNvPr>
            <p:cNvSpPr txBox="1">
              <a:spLocks noChangeArrowheads="1"/>
            </p:cNvSpPr>
            <p:nvPr/>
          </p:nvSpPr>
          <p:spPr bwMode="auto">
            <a:xfrm>
              <a:off x="5334714" y="2897608"/>
              <a:ext cx="84350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sz="2400" b="1">
                  <a:solidFill>
                    <a:schemeClr val="bg1"/>
                  </a:solidFill>
                </a:rPr>
                <a:t>TITLE</a:t>
              </a:r>
              <a:endParaRPr lang="zh-CN" altLang="en-US" sz="2400" b="1">
                <a:solidFill>
                  <a:schemeClr val="bg1"/>
                </a:solidFill>
              </a:endParaRPr>
            </a:p>
          </p:txBody>
        </p:sp>
      </p:grpSp>
      <p:grpSp>
        <p:nvGrpSpPr>
          <p:cNvPr id="62" name="组合 61">
            <a:extLst>
              <a:ext uri="{FF2B5EF4-FFF2-40B4-BE49-F238E27FC236}">
                <a16:creationId xmlns:a16="http://schemas.microsoft.com/office/drawing/2014/main" id="{D50A458B-37EC-4C89-9BE1-5E6825AFAEB1}"/>
              </a:ext>
            </a:extLst>
          </p:cNvPr>
          <p:cNvGrpSpPr>
            <a:grpSpLocks/>
          </p:cNvGrpSpPr>
          <p:nvPr/>
        </p:nvGrpSpPr>
        <p:grpSpPr bwMode="auto">
          <a:xfrm>
            <a:off x="8080375" y="1828800"/>
            <a:ext cx="1547813" cy="1530350"/>
            <a:chOff x="8079786" y="1829053"/>
            <a:chExt cx="1548881" cy="1530220"/>
          </a:xfrm>
        </p:grpSpPr>
        <p:sp>
          <p:nvSpPr>
            <p:cNvPr id="28" name="矩形 27">
              <a:extLst>
                <a:ext uri="{FF2B5EF4-FFF2-40B4-BE49-F238E27FC236}">
                  <a16:creationId xmlns:a16="http://schemas.microsoft.com/office/drawing/2014/main" id="{727DBA39-8CD3-4713-B383-E4683AFF719D}"/>
                </a:ext>
              </a:extLst>
            </p:cNvPr>
            <p:cNvSpPr/>
            <p:nvPr/>
          </p:nvSpPr>
          <p:spPr>
            <a:xfrm>
              <a:off x="8079786" y="1829053"/>
              <a:ext cx="1548881" cy="1530220"/>
            </a:xfrm>
            <a:prstGeom prst="rect">
              <a:avLst/>
            </a:prstGeom>
            <a:solidFill>
              <a:srgbClr val="29292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29" name="Rectangle 107548">
              <a:extLst>
                <a:ext uri="{FF2B5EF4-FFF2-40B4-BE49-F238E27FC236}">
                  <a16:creationId xmlns:a16="http://schemas.microsoft.com/office/drawing/2014/main" id="{F2E88FEF-1BCE-4E1D-B020-9403884F2AC8}"/>
                </a:ext>
              </a:extLst>
            </p:cNvPr>
            <p:cNvSpPr/>
            <p:nvPr/>
          </p:nvSpPr>
          <p:spPr bwMode="auto">
            <a:xfrm rot="755747">
              <a:off x="8578605" y="2076682"/>
              <a:ext cx="551243" cy="598437"/>
            </a:xfrm>
            <a:custGeom>
              <a:avLst/>
              <a:gdLst/>
              <a:ahLst/>
              <a:cxnLst/>
              <a:rect l="l" t="t" r="r" b="b"/>
              <a:pathLst>
                <a:path w="8212826" h="8901817">
                  <a:moveTo>
                    <a:pt x="4497681" y="7201125"/>
                  </a:moveTo>
                  <a:lnTo>
                    <a:pt x="4497681" y="8491711"/>
                  </a:lnTo>
                  <a:lnTo>
                    <a:pt x="5081600" y="7571751"/>
                  </a:lnTo>
                  <a:close/>
                  <a:moveTo>
                    <a:pt x="5836176" y="6890495"/>
                  </a:moveTo>
                  <a:lnTo>
                    <a:pt x="5457014" y="7487862"/>
                  </a:lnTo>
                  <a:lnTo>
                    <a:pt x="6398161" y="8085230"/>
                  </a:lnTo>
                  <a:close/>
                  <a:moveTo>
                    <a:pt x="4895788" y="5994363"/>
                  </a:moveTo>
                  <a:lnTo>
                    <a:pt x="4497681" y="6621578"/>
                  </a:lnTo>
                  <a:lnTo>
                    <a:pt x="4497681" y="6902697"/>
                  </a:lnTo>
                  <a:lnTo>
                    <a:pt x="5198089" y="7347261"/>
                  </a:lnTo>
                  <a:lnTo>
                    <a:pt x="5687980" y="6575442"/>
                  </a:lnTo>
                  <a:lnTo>
                    <a:pt x="5635501" y="6463876"/>
                  </a:lnTo>
                  <a:close/>
                  <a:moveTo>
                    <a:pt x="4497681" y="5715678"/>
                  </a:moveTo>
                  <a:lnTo>
                    <a:pt x="4497681" y="6151406"/>
                  </a:lnTo>
                  <a:lnTo>
                    <a:pt x="4694824" y="5840809"/>
                  </a:lnTo>
                  <a:close/>
                  <a:moveTo>
                    <a:pt x="5203902" y="5546330"/>
                  </a:moveTo>
                  <a:lnTo>
                    <a:pt x="5070235" y="5756921"/>
                  </a:lnTo>
                  <a:lnTo>
                    <a:pt x="5402019" y="5967512"/>
                  </a:lnTo>
                  <a:close/>
                  <a:moveTo>
                    <a:pt x="5193775" y="4574281"/>
                  </a:moveTo>
                  <a:lnTo>
                    <a:pt x="6931089" y="8267670"/>
                  </a:lnTo>
                  <a:lnTo>
                    <a:pt x="6343807" y="8398898"/>
                  </a:lnTo>
                  <a:lnTo>
                    <a:pt x="5282566" y="7725304"/>
                  </a:lnTo>
                  <a:lnTo>
                    <a:pt x="4608974" y="8786545"/>
                  </a:lnTo>
                  <a:lnTo>
                    <a:pt x="4093096" y="8901817"/>
                  </a:lnTo>
                  <a:lnTo>
                    <a:pt x="4093096" y="4820228"/>
                  </a:lnTo>
                  <a:lnTo>
                    <a:pt x="4497681" y="4820228"/>
                  </a:lnTo>
                  <a:lnTo>
                    <a:pt x="4497681" y="5417250"/>
                  </a:lnTo>
                  <a:lnTo>
                    <a:pt x="4811312" y="5616319"/>
                  </a:lnTo>
                  <a:lnTo>
                    <a:pt x="5055706" y="5231277"/>
                  </a:lnTo>
                  <a:lnTo>
                    <a:pt x="4827670" y="4746491"/>
                  </a:lnTo>
                  <a:close/>
                  <a:moveTo>
                    <a:pt x="5064" y="5190605"/>
                  </a:moveTo>
                  <a:lnTo>
                    <a:pt x="696552" y="5276114"/>
                  </a:lnTo>
                  <a:cubicBezTo>
                    <a:pt x="673849" y="5830665"/>
                    <a:pt x="905790" y="6387729"/>
                    <a:pt x="1329298" y="6795803"/>
                  </a:cubicBezTo>
                  <a:cubicBezTo>
                    <a:pt x="1742308" y="7193763"/>
                    <a:pt x="2296214" y="7410173"/>
                    <a:pt x="2847106" y="7388810"/>
                  </a:cubicBezTo>
                  <a:lnTo>
                    <a:pt x="2935322" y="8080183"/>
                  </a:lnTo>
                  <a:cubicBezTo>
                    <a:pt x="2171520" y="8127883"/>
                    <a:pt x="1404010" y="7838139"/>
                    <a:pt x="838426" y="7288578"/>
                  </a:cubicBezTo>
                  <a:cubicBezTo>
                    <a:pt x="262300" y="6728776"/>
                    <a:pt x="-43753" y="5958291"/>
                    <a:pt x="5064" y="5190605"/>
                  </a:cubicBezTo>
                  <a:close/>
                  <a:moveTo>
                    <a:pt x="2315372" y="4553207"/>
                  </a:moveTo>
                  <a:lnTo>
                    <a:pt x="2576079" y="4585445"/>
                  </a:lnTo>
                  <a:cubicBezTo>
                    <a:pt x="2567519" y="4794524"/>
                    <a:pt x="2654967" y="5004551"/>
                    <a:pt x="2814640" y="5158404"/>
                  </a:cubicBezTo>
                  <a:cubicBezTo>
                    <a:pt x="2970355" y="5308445"/>
                    <a:pt x="3179191" y="5390036"/>
                    <a:pt x="3386890" y="5381982"/>
                  </a:cubicBezTo>
                  <a:lnTo>
                    <a:pt x="3420150" y="5642648"/>
                  </a:lnTo>
                  <a:cubicBezTo>
                    <a:pt x="3132179" y="5660631"/>
                    <a:pt x="2842809" y="5551391"/>
                    <a:pt x="2629569" y="5344193"/>
                  </a:cubicBezTo>
                  <a:cubicBezTo>
                    <a:pt x="2412356" y="5133135"/>
                    <a:pt x="2296967" y="4842643"/>
                    <a:pt x="2315372" y="4553207"/>
                  </a:cubicBezTo>
                  <a:close/>
                  <a:moveTo>
                    <a:pt x="1314524" y="4639948"/>
                  </a:moveTo>
                  <a:lnTo>
                    <a:pt x="1800223" y="4700010"/>
                  </a:lnTo>
                  <a:cubicBezTo>
                    <a:pt x="1784276" y="5089524"/>
                    <a:pt x="1947192" y="5480804"/>
                    <a:pt x="2244663" y="5767434"/>
                  </a:cubicBezTo>
                  <a:cubicBezTo>
                    <a:pt x="2534761" y="6046959"/>
                    <a:pt x="2923822" y="6198966"/>
                    <a:pt x="3310767" y="6183961"/>
                  </a:cubicBezTo>
                  <a:lnTo>
                    <a:pt x="3372729" y="6669578"/>
                  </a:lnTo>
                  <a:cubicBezTo>
                    <a:pt x="2836237" y="6703081"/>
                    <a:pt x="2297141" y="6499566"/>
                    <a:pt x="1899876" y="6113557"/>
                  </a:cubicBezTo>
                  <a:cubicBezTo>
                    <a:pt x="1495207" y="5720353"/>
                    <a:pt x="1280237" y="5179167"/>
                    <a:pt x="1314524" y="4639948"/>
                  </a:cubicBezTo>
                  <a:close/>
                  <a:moveTo>
                    <a:pt x="4245423" y="3138341"/>
                  </a:moveTo>
                  <a:cubicBezTo>
                    <a:pt x="4678825" y="3041496"/>
                    <a:pt x="5108673" y="3314331"/>
                    <a:pt x="5205517" y="3747734"/>
                  </a:cubicBezTo>
                  <a:cubicBezTo>
                    <a:pt x="5302360" y="4181136"/>
                    <a:pt x="5029526" y="4610985"/>
                    <a:pt x="4596124" y="4707827"/>
                  </a:cubicBezTo>
                  <a:cubicBezTo>
                    <a:pt x="4162721" y="4804671"/>
                    <a:pt x="3732873" y="4531836"/>
                    <a:pt x="3636029" y="4098434"/>
                  </a:cubicBezTo>
                  <a:cubicBezTo>
                    <a:pt x="3539186" y="3665032"/>
                    <a:pt x="3812021" y="3235183"/>
                    <a:pt x="4245423" y="3138341"/>
                  </a:cubicBezTo>
                  <a:close/>
                  <a:moveTo>
                    <a:pt x="4646799" y="2381722"/>
                  </a:moveTo>
                  <a:cubicBezTo>
                    <a:pt x="4933740" y="2339564"/>
                    <a:pt x="5232740" y="2430660"/>
                    <a:pt x="5460957" y="2629771"/>
                  </a:cubicBezTo>
                  <a:cubicBezTo>
                    <a:pt x="5684997" y="2825239"/>
                    <a:pt x="5817677" y="3104639"/>
                    <a:pt x="5823449" y="3393113"/>
                  </a:cubicBezTo>
                  <a:lnTo>
                    <a:pt x="5560931" y="3381413"/>
                  </a:lnTo>
                  <a:cubicBezTo>
                    <a:pt x="5551868" y="3173757"/>
                    <a:pt x="5453371" y="2972341"/>
                    <a:pt x="5291025" y="2829500"/>
                  </a:cubicBezTo>
                  <a:cubicBezTo>
                    <a:pt x="5124555" y="2683029"/>
                    <a:pt x="4908046" y="2613158"/>
                    <a:pt x="4700380" y="2638892"/>
                  </a:cubicBezTo>
                  <a:close/>
                  <a:moveTo>
                    <a:pt x="4650897" y="1377131"/>
                  </a:moveTo>
                  <a:cubicBezTo>
                    <a:pt x="5185468" y="1298593"/>
                    <a:pt x="5742506" y="1468305"/>
                    <a:pt x="6167673" y="1839250"/>
                  </a:cubicBezTo>
                  <a:cubicBezTo>
                    <a:pt x="6585061" y="2203406"/>
                    <a:pt x="6832243" y="2723929"/>
                    <a:pt x="6842996" y="3261358"/>
                  </a:cubicBezTo>
                  <a:lnTo>
                    <a:pt x="6353927" y="3239563"/>
                  </a:lnTo>
                  <a:cubicBezTo>
                    <a:pt x="6337043" y="2852696"/>
                    <a:pt x="6153539" y="2477460"/>
                    <a:pt x="5851092" y="2211346"/>
                  </a:cubicBezTo>
                  <a:cubicBezTo>
                    <a:pt x="5540958" y="1938467"/>
                    <a:pt x="5137601" y="1808299"/>
                    <a:pt x="4750719" y="1856241"/>
                  </a:cubicBezTo>
                  <a:close/>
                  <a:moveTo>
                    <a:pt x="5091943" y="26803"/>
                  </a:moveTo>
                  <a:cubicBezTo>
                    <a:pt x="5853010" y="-85015"/>
                    <a:pt x="6646064" y="156605"/>
                    <a:pt x="7251373" y="684716"/>
                  </a:cubicBezTo>
                  <a:cubicBezTo>
                    <a:pt x="7845607" y="1203164"/>
                    <a:pt x="8197519" y="1944231"/>
                    <a:pt x="8212826" y="2709368"/>
                  </a:cubicBezTo>
                  <a:lnTo>
                    <a:pt x="7516540" y="2678338"/>
                  </a:lnTo>
                  <a:cubicBezTo>
                    <a:pt x="7492502" y="2127556"/>
                    <a:pt x="7231249" y="1593336"/>
                    <a:pt x="6800657" y="1214470"/>
                  </a:cubicBezTo>
                  <a:cubicBezTo>
                    <a:pt x="6359121" y="825975"/>
                    <a:pt x="5784862" y="640655"/>
                    <a:pt x="5234059" y="708911"/>
                  </a:cubicBezTo>
                  <a:close/>
                </a:path>
              </a:pathLst>
            </a:custGeom>
            <a:solidFill>
              <a:schemeClr val="bg1"/>
            </a:solidFill>
            <a:ln w="10795" cap="flat" cmpd="sng" algn="ctr">
              <a:noFill/>
              <a:prstDash val="solid"/>
            </a:ln>
            <a:effectLst/>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3880" fontAlgn="auto">
                <a:spcBef>
                  <a:spcPts val="0"/>
                </a:spcBef>
                <a:spcAft>
                  <a:spcPts val="0"/>
                </a:spcAft>
                <a:defRPr/>
              </a:pPr>
              <a:endParaRPr lang="en-US" kern="0" dirty="0" err="1">
                <a:solidFill>
                  <a:srgbClr val="FFFFFF"/>
                </a:solidFill>
              </a:endParaRPr>
            </a:p>
          </p:txBody>
        </p:sp>
        <p:sp>
          <p:nvSpPr>
            <p:cNvPr id="24605" name="TextBox 55">
              <a:extLst>
                <a:ext uri="{FF2B5EF4-FFF2-40B4-BE49-F238E27FC236}">
                  <a16:creationId xmlns:a16="http://schemas.microsoft.com/office/drawing/2014/main" id="{5547F80F-496A-4247-9DE3-91131F146AF0}"/>
                </a:ext>
              </a:extLst>
            </p:cNvPr>
            <p:cNvSpPr txBox="1">
              <a:spLocks noChangeArrowheads="1"/>
            </p:cNvSpPr>
            <p:nvPr/>
          </p:nvSpPr>
          <p:spPr bwMode="auto">
            <a:xfrm>
              <a:off x="8432475" y="2897608"/>
              <a:ext cx="84350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sz="2400" b="1">
                  <a:solidFill>
                    <a:schemeClr val="bg1"/>
                  </a:solidFill>
                </a:rPr>
                <a:t>TITLE</a:t>
              </a:r>
              <a:endParaRPr lang="zh-CN" altLang="en-US" sz="2400" b="1">
                <a:solidFill>
                  <a:schemeClr val="bg1"/>
                </a:solidFill>
              </a:endParaRPr>
            </a:p>
          </p:txBody>
        </p:sp>
      </p:grpSp>
      <p:grpSp>
        <p:nvGrpSpPr>
          <p:cNvPr id="64" name="组合 63">
            <a:extLst>
              <a:ext uri="{FF2B5EF4-FFF2-40B4-BE49-F238E27FC236}">
                <a16:creationId xmlns:a16="http://schemas.microsoft.com/office/drawing/2014/main" id="{3C4995B3-B1A0-4510-BD52-83704DA8C52A}"/>
              </a:ext>
            </a:extLst>
          </p:cNvPr>
          <p:cNvGrpSpPr>
            <a:grpSpLocks/>
          </p:cNvGrpSpPr>
          <p:nvPr/>
        </p:nvGrpSpPr>
        <p:grpSpPr bwMode="auto">
          <a:xfrm>
            <a:off x="6530975" y="3359150"/>
            <a:ext cx="1549400" cy="1530350"/>
            <a:chOff x="6530904" y="3359273"/>
            <a:chExt cx="1548881" cy="1530220"/>
          </a:xfrm>
        </p:grpSpPr>
        <p:sp>
          <p:nvSpPr>
            <p:cNvPr id="53" name="矩形 52">
              <a:extLst>
                <a:ext uri="{FF2B5EF4-FFF2-40B4-BE49-F238E27FC236}">
                  <a16:creationId xmlns:a16="http://schemas.microsoft.com/office/drawing/2014/main" id="{844B8B01-CEFD-4778-A43B-CEB049C33393}"/>
                </a:ext>
              </a:extLst>
            </p:cNvPr>
            <p:cNvSpPr/>
            <p:nvPr/>
          </p:nvSpPr>
          <p:spPr>
            <a:xfrm>
              <a:off x="6530904" y="3359273"/>
              <a:ext cx="1548881" cy="1530220"/>
            </a:xfrm>
            <a:prstGeom prst="rect">
              <a:avLst/>
            </a:prstGeom>
            <a:solidFill>
              <a:srgbClr val="C20F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54" name="Donut 34">
              <a:extLst>
                <a:ext uri="{FF2B5EF4-FFF2-40B4-BE49-F238E27FC236}">
                  <a16:creationId xmlns:a16="http://schemas.microsoft.com/office/drawing/2014/main" id="{D36CB62D-BCF3-448F-B2F9-6489CAC7E002}"/>
                </a:ext>
              </a:extLst>
            </p:cNvPr>
            <p:cNvSpPr/>
            <p:nvPr/>
          </p:nvSpPr>
          <p:spPr bwMode="auto">
            <a:xfrm>
              <a:off x="7026038" y="3579917"/>
              <a:ext cx="558613" cy="558753"/>
            </a:xfrm>
            <a:custGeom>
              <a:avLst/>
              <a:gdLst/>
              <a:ahLst/>
              <a:cxnLst/>
              <a:rect l="l" t="t" r="r" b="b"/>
              <a:pathLst>
                <a:path w="1132060" h="1132060">
                  <a:moveTo>
                    <a:pt x="557268" y="884861"/>
                  </a:moveTo>
                  <a:lnTo>
                    <a:pt x="557268" y="1011716"/>
                  </a:lnTo>
                  <a:lnTo>
                    <a:pt x="574792" y="1011716"/>
                  </a:lnTo>
                  <a:lnTo>
                    <a:pt x="574792" y="884861"/>
                  </a:lnTo>
                  <a:close/>
                  <a:moveTo>
                    <a:pt x="868935" y="557269"/>
                  </a:moveTo>
                  <a:lnTo>
                    <a:pt x="868935" y="574794"/>
                  </a:lnTo>
                  <a:lnTo>
                    <a:pt x="995790" y="574794"/>
                  </a:lnTo>
                  <a:lnTo>
                    <a:pt x="995790" y="557269"/>
                  </a:lnTo>
                  <a:close/>
                  <a:moveTo>
                    <a:pt x="135481" y="557269"/>
                  </a:moveTo>
                  <a:lnTo>
                    <a:pt x="135481" y="574794"/>
                  </a:lnTo>
                  <a:lnTo>
                    <a:pt x="262337" y="574794"/>
                  </a:lnTo>
                  <a:lnTo>
                    <a:pt x="262337" y="557269"/>
                  </a:lnTo>
                  <a:close/>
                  <a:moveTo>
                    <a:pt x="934061" y="335432"/>
                  </a:moveTo>
                  <a:lnTo>
                    <a:pt x="873499" y="349407"/>
                  </a:lnTo>
                  <a:lnTo>
                    <a:pt x="567678" y="538532"/>
                  </a:lnTo>
                  <a:cubicBezTo>
                    <a:pt x="553709" y="530548"/>
                    <a:pt x="537161" y="531269"/>
                    <a:pt x="522773" y="538543"/>
                  </a:cubicBezTo>
                  <a:cubicBezTo>
                    <a:pt x="498813" y="556712"/>
                    <a:pt x="486834" y="593049"/>
                    <a:pt x="504803" y="617272"/>
                  </a:cubicBezTo>
                  <a:cubicBezTo>
                    <a:pt x="515818" y="632120"/>
                    <a:pt x="531332" y="640143"/>
                    <a:pt x="547196" y="638929"/>
                  </a:cubicBezTo>
                  <a:lnTo>
                    <a:pt x="705790" y="829237"/>
                  </a:lnTo>
                  <a:lnTo>
                    <a:pt x="757035" y="838554"/>
                  </a:lnTo>
                  <a:lnTo>
                    <a:pt x="747718" y="791969"/>
                  </a:lnTo>
                  <a:lnTo>
                    <a:pt x="595557" y="609380"/>
                  </a:lnTo>
                  <a:cubicBezTo>
                    <a:pt x="601681" y="600325"/>
                    <a:pt x="604237" y="589031"/>
                    <a:pt x="602687" y="578130"/>
                  </a:cubicBezTo>
                  <a:lnTo>
                    <a:pt x="896792" y="391335"/>
                  </a:lnTo>
                  <a:close/>
                  <a:moveTo>
                    <a:pt x="557268" y="140671"/>
                  </a:moveTo>
                  <a:lnTo>
                    <a:pt x="557268" y="267526"/>
                  </a:lnTo>
                  <a:lnTo>
                    <a:pt x="574792" y="267526"/>
                  </a:lnTo>
                  <a:lnTo>
                    <a:pt x="574792" y="140671"/>
                  </a:lnTo>
                  <a:close/>
                  <a:moveTo>
                    <a:pt x="566030" y="65237"/>
                  </a:moveTo>
                  <a:cubicBezTo>
                    <a:pt x="841327" y="65237"/>
                    <a:pt x="1064498" y="289450"/>
                    <a:pt x="1064498" y="566031"/>
                  </a:cubicBezTo>
                  <a:cubicBezTo>
                    <a:pt x="1064498" y="842612"/>
                    <a:pt x="841327" y="1066824"/>
                    <a:pt x="566030" y="1066824"/>
                  </a:cubicBezTo>
                  <a:cubicBezTo>
                    <a:pt x="290734" y="1066824"/>
                    <a:pt x="67562" y="842612"/>
                    <a:pt x="67562" y="566031"/>
                  </a:cubicBezTo>
                  <a:cubicBezTo>
                    <a:pt x="67562" y="289450"/>
                    <a:pt x="290734" y="65237"/>
                    <a:pt x="566030" y="65237"/>
                  </a:cubicBezTo>
                  <a:close/>
                  <a:moveTo>
                    <a:pt x="566030" y="39067"/>
                  </a:moveTo>
                  <a:cubicBezTo>
                    <a:pt x="274996" y="39067"/>
                    <a:pt x="39067" y="274996"/>
                    <a:pt x="39067" y="566030"/>
                  </a:cubicBezTo>
                  <a:cubicBezTo>
                    <a:pt x="39067" y="857064"/>
                    <a:pt x="274996" y="1092993"/>
                    <a:pt x="566030" y="1092993"/>
                  </a:cubicBezTo>
                  <a:cubicBezTo>
                    <a:pt x="857064" y="1092993"/>
                    <a:pt x="1092993" y="857064"/>
                    <a:pt x="1092993" y="566030"/>
                  </a:cubicBezTo>
                  <a:cubicBezTo>
                    <a:pt x="1092993" y="274996"/>
                    <a:pt x="857064" y="39067"/>
                    <a:pt x="566030" y="39067"/>
                  </a:cubicBezTo>
                  <a:close/>
                  <a:moveTo>
                    <a:pt x="566030" y="0"/>
                  </a:moveTo>
                  <a:cubicBezTo>
                    <a:pt x="878640" y="0"/>
                    <a:pt x="1132060" y="253420"/>
                    <a:pt x="1132060" y="566030"/>
                  </a:cubicBezTo>
                  <a:cubicBezTo>
                    <a:pt x="1132060" y="878640"/>
                    <a:pt x="878640" y="1132060"/>
                    <a:pt x="566030" y="1132060"/>
                  </a:cubicBezTo>
                  <a:cubicBezTo>
                    <a:pt x="253420" y="1132060"/>
                    <a:pt x="0" y="878640"/>
                    <a:pt x="0" y="566030"/>
                  </a:cubicBezTo>
                  <a:cubicBezTo>
                    <a:pt x="0" y="253420"/>
                    <a:pt x="253420" y="0"/>
                    <a:pt x="566030" y="0"/>
                  </a:cubicBezTo>
                  <a:close/>
                </a:path>
              </a:pathLst>
            </a:cu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1943" eaLnBrk="1" hangingPunct="1">
                <a:defRPr/>
              </a:pPr>
              <a:endParaRPr lang="en-US" sz="2000" dirty="0">
                <a:gradFill>
                  <a:gsLst>
                    <a:gs pos="0">
                      <a:srgbClr val="FFFFFF"/>
                    </a:gs>
                    <a:gs pos="100000">
                      <a:srgbClr val="FFFFFF"/>
                    </a:gs>
                  </a:gsLst>
                  <a:lin ang="5400000" scaled="0"/>
                </a:gradFill>
              </a:endParaRPr>
            </a:p>
          </p:txBody>
        </p:sp>
        <p:sp>
          <p:nvSpPr>
            <p:cNvPr id="24602" name="TextBox 56">
              <a:extLst>
                <a:ext uri="{FF2B5EF4-FFF2-40B4-BE49-F238E27FC236}">
                  <a16:creationId xmlns:a16="http://schemas.microsoft.com/office/drawing/2014/main" id="{F60ADD6A-55AA-4129-A511-A71DB0253EC2}"/>
                </a:ext>
              </a:extLst>
            </p:cNvPr>
            <p:cNvSpPr txBox="1">
              <a:spLocks noChangeArrowheads="1"/>
            </p:cNvSpPr>
            <p:nvPr/>
          </p:nvSpPr>
          <p:spPr bwMode="auto">
            <a:xfrm>
              <a:off x="6883594" y="4423688"/>
              <a:ext cx="84350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sz="2400" b="1">
                  <a:solidFill>
                    <a:schemeClr val="bg1"/>
                  </a:solidFill>
                </a:rPr>
                <a:t>TITLE</a:t>
              </a:r>
              <a:endParaRPr lang="zh-CN" altLang="en-US" sz="2400" b="1">
                <a:solidFill>
                  <a:schemeClr val="bg1"/>
                </a:solidFill>
              </a:endParaRPr>
            </a:p>
          </p:txBody>
        </p:sp>
      </p:grpSp>
      <p:grpSp>
        <p:nvGrpSpPr>
          <p:cNvPr id="61" name="组合 60">
            <a:extLst>
              <a:ext uri="{FF2B5EF4-FFF2-40B4-BE49-F238E27FC236}">
                <a16:creationId xmlns:a16="http://schemas.microsoft.com/office/drawing/2014/main" id="{30B547C4-F7B0-4261-8CDC-2E1A492027EE}"/>
              </a:ext>
            </a:extLst>
          </p:cNvPr>
          <p:cNvGrpSpPr>
            <a:grpSpLocks/>
          </p:cNvGrpSpPr>
          <p:nvPr/>
        </p:nvGrpSpPr>
        <p:grpSpPr bwMode="auto">
          <a:xfrm>
            <a:off x="8080375" y="4889500"/>
            <a:ext cx="1547813" cy="1530350"/>
            <a:chOff x="8079786" y="4889493"/>
            <a:chExt cx="1548881" cy="1530220"/>
          </a:xfrm>
        </p:grpSpPr>
        <p:sp>
          <p:nvSpPr>
            <p:cNvPr id="32" name="矩形 31">
              <a:extLst>
                <a:ext uri="{FF2B5EF4-FFF2-40B4-BE49-F238E27FC236}">
                  <a16:creationId xmlns:a16="http://schemas.microsoft.com/office/drawing/2014/main" id="{BD03884E-7536-4179-B627-C51C7A325638}"/>
                </a:ext>
              </a:extLst>
            </p:cNvPr>
            <p:cNvSpPr/>
            <p:nvPr/>
          </p:nvSpPr>
          <p:spPr>
            <a:xfrm>
              <a:off x="8079786" y="4889493"/>
              <a:ext cx="1548881" cy="1530220"/>
            </a:xfrm>
            <a:prstGeom prst="rect">
              <a:avLst/>
            </a:prstGeom>
            <a:solidFill>
              <a:srgbClr val="29292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grpSp>
          <p:nvGrpSpPr>
            <p:cNvPr id="33" name="Group 15">
              <a:extLst>
                <a:ext uri="{FF2B5EF4-FFF2-40B4-BE49-F238E27FC236}">
                  <a16:creationId xmlns:a16="http://schemas.microsoft.com/office/drawing/2014/main" id="{00900F49-23F9-4BD7-9FD5-ABF6BB07297E}"/>
                </a:ext>
              </a:extLst>
            </p:cNvPr>
            <p:cNvGrpSpPr/>
            <p:nvPr>
              <p:custDataLst>
                <p:tags r:id="rId1"/>
              </p:custDataLst>
            </p:nvPr>
          </p:nvGrpSpPr>
          <p:grpSpPr>
            <a:xfrm flipH="1">
              <a:off x="8507957" y="5215525"/>
              <a:ext cx="692539" cy="472694"/>
              <a:chOff x="8369398" y="1851899"/>
              <a:chExt cx="756170" cy="516124"/>
            </a:xfrm>
            <a:solidFill>
              <a:schemeClr val="bg1"/>
            </a:solidFill>
          </p:grpSpPr>
          <p:sp>
            <p:nvSpPr>
              <p:cNvPr id="35" name="Rounded Rectangle 307">
                <a:extLst>
                  <a:ext uri="{FF2B5EF4-FFF2-40B4-BE49-F238E27FC236}">
                    <a16:creationId xmlns:a16="http://schemas.microsoft.com/office/drawing/2014/main" id="{5532BFF7-F022-4411-88DA-21460EBADA38}"/>
                  </a:ext>
                </a:extLst>
              </p:cNvPr>
              <p:cNvSpPr/>
              <p:nvPr/>
            </p:nvSpPr>
            <p:spPr bwMode="auto">
              <a:xfrm rot="1411326">
                <a:off x="8816737" y="2158724"/>
                <a:ext cx="308831" cy="209299"/>
              </a:xfrm>
              <a:custGeom>
                <a:avLst/>
                <a:gdLst/>
                <a:ahLst/>
                <a:cxnLst/>
                <a:rect l="l" t="t" r="r" b="b"/>
                <a:pathLst>
                  <a:path w="308831" h="209299">
                    <a:moveTo>
                      <a:pt x="6932" y="0"/>
                    </a:moveTo>
                    <a:lnTo>
                      <a:pt x="62731" y="5004"/>
                    </a:lnTo>
                    <a:cubicBezTo>
                      <a:pt x="73820" y="4021"/>
                      <a:pt x="83149" y="12888"/>
                      <a:pt x="85697" y="24169"/>
                    </a:cubicBezTo>
                    <a:lnTo>
                      <a:pt x="85452" y="33272"/>
                    </a:lnTo>
                    <a:cubicBezTo>
                      <a:pt x="85954" y="32635"/>
                      <a:pt x="86485" y="32624"/>
                      <a:pt x="87017" y="32624"/>
                    </a:cubicBezTo>
                    <a:lnTo>
                      <a:pt x="270296" y="32624"/>
                    </a:lnTo>
                    <a:cubicBezTo>
                      <a:pt x="291578" y="32624"/>
                      <a:pt x="308831" y="49877"/>
                      <a:pt x="308831" y="71159"/>
                    </a:cubicBezTo>
                    <a:lnTo>
                      <a:pt x="308831" y="146071"/>
                    </a:lnTo>
                    <a:cubicBezTo>
                      <a:pt x="308831" y="167353"/>
                      <a:pt x="291578" y="184606"/>
                      <a:pt x="270296" y="184606"/>
                    </a:cubicBezTo>
                    <a:lnTo>
                      <a:pt x="87017" y="184606"/>
                    </a:lnTo>
                    <a:lnTo>
                      <a:pt x="81440" y="182295"/>
                    </a:lnTo>
                    <a:lnTo>
                      <a:pt x="81438" y="182371"/>
                    </a:lnTo>
                    <a:cubicBezTo>
                      <a:pt x="82699" y="196467"/>
                      <a:pt x="69880" y="211811"/>
                      <a:pt x="54012" y="208953"/>
                    </a:cubicBezTo>
                    <a:lnTo>
                      <a:pt x="0" y="208054"/>
                    </a:lnTo>
                    <a:cubicBezTo>
                      <a:pt x="11559" y="178614"/>
                      <a:pt x="19544" y="140965"/>
                      <a:pt x="23432" y="105100"/>
                    </a:cubicBezTo>
                    <a:cubicBezTo>
                      <a:pt x="23221" y="71020"/>
                      <a:pt x="17126" y="34619"/>
                      <a:pt x="6932"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030" eaLnBrk="1" fontAlgn="auto" hangingPunct="1">
                  <a:spcBef>
                    <a:spcPts val="0"/>
                  </a:spcBef>
                  <a:spcAft>
                    <a:spcPts val="0"/>
                  </a:spcAft>
                  <a:defRPr/>
                </a:pPr>
                <a:endParaRPr lang="en-US" dirty="0" err="1">
                  <a:ln>
                    <a:solidFill>
                      <a:srgbClr val="FFFFFF">
                        <a:alpha val="0"/>
                      </a:srgbClr>
                    </a:solidFill>
                  </a:ln>
                  <a:solidFill>
                    <a:srgbClr val="FFFFFF"/>
                  </a:solidFill>
                </a:endParaRPr>
              </a:p>
            </p:txBody>
          </p:sp>
          <p:sp>
            <p:nvSpPr>
              <p:cNvPr id="36" name="Oval 247">
                <a:extLst>
                  <a:ext uri="{FF2B5EF4-FFF2-40B4-BE49-F238E27FC236}">
                    <a16:creationId xmlns:a16="http://schemas.microsoft.com/office/drawing/2014/main" id="{37D4BCD0-DBA1-49B0-93F8-70B0146723F7}"/>
                  </a:ext>
                </a:extLst>
              </p:cNvPr>
              <p:cNvSpPr/>
              <p:nvPr/>
            </p:nvSpPr>
            <p:spPr bwMode="auto">
              <a:xfrm>
                <a:off x="8369398" y="1851899"/>
                <a:ext cx="482863" cy="482862"/>
              </a:xfrm>
              <a:custGeom>
                <a:avLst/>
                <a:gdLst/>
                <a:ahLst/>
                <a:cxnLst/>
                <a:rect l="l" t="t" r="r" b="b"/>
                <a:pathLst>
                  <a:path w="573170" h="573170">
                    <a:moveTo>
                      <a:pt x="286585" y="47056"/>
                    </a:moveTo>
                    <a:cubicBezTo>
                      <a:pt x="154297" y="47056"/>
                      <a:pt x="47056" y="154297"/>
                      <a:pt x="47056" y="286585"/>
                    </a:cubicBezTo>
                    <a:cubicBezTo>
                      <a:pt x="47056" y="418873"/>
                      <a:pt x="154297" y="526114"/>
                      <a:pt x="286585" y="526114"/>
                    </a:cubicBezTo>
                    <a:cubicBezTo>
                      <a:pt x="418873" y="526114"/>
                      <a:pt x="526114" y="418873"/>
                      <a:pt x="526114" y="286585"/>
                    </a:cubicBezTo>
                    <a:cubicBezTo>
                      <a:pt x="526114" y="154297"/>
                      <a:pt x="418873" y="47056"/>
                      <a:pt x="286585" y="47056"/>
                    </a:cubicBezTo>
                    <a:close/>
                    <a:moveTo>
                      <a:pt x="286585" y="0"/>
                    </a:moveTo>
                    <a:cubicBezTo>
                      <a:pt x="444862" y="0"/>
                      <a:pt x="573170" y="128308"/>
                      <a:pt x="573170" y="286585"/>
                    </a:cubicBezTo>
                    <a:cubicBezTo>
                      <a:pt x="573170" y="444862"/>
                      <a:pt x="444862" y="573170"/>
                      <a:pt x="286585" y="573170"/>
                    </a:cubicBezTo>
                    <a:cubicBezTo>
                      <a:pt x="128308" y="573170"/>
                      <a:pt x="0" y="444862"/>
                      <a:pt x="0" y="286585"/>
                    </a:cubicBezTo>
                    <a:cubicBezTo>
                      <a:pt x="0" y="128308"/>
                      <a:pt x="128308" y="0"/>
                      <a:pt x="286585"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32030" eaLnBrk="1" fontAlgn="auto" hangingPunct="1">
                  <a:spcBef>
                    <a:spcPts val="0"/>
                  </a:spcBef>
                  <a:spcAft>
                    <a:spcPts val="0"/>
                  </a:spcAft>
                  <a:defRPr/>
                </a:pPr>
                <a:endParaRPr lang="en-US" dirty="0" err="1">
                  <a:ln>
                    <a:solidFill>
                      <a:srgbClr val="FFFFFF">
                        <a:alpha val="0"/>
                      </a:srgbClr>
                    </a:solidFill>
                  </a:ln>
                  <a:solidFill>
                    <a:srgbClr val="FFFFFF"/>
                  </a:solidFill>
                </a:endParaRPr>
              </a:p>
            </p:txBody>
          </p:sp>
          <p:sp>
            <p:nvSpPr>
              <p:cNvPr id="37" name="Freeform 257">
                <a:extLst>
                  <a:ext uri="{FF2B5EF4-FFF2-40B4-BE49-F238E27FC236}">
                    <a16:creationId xmlns:a16="http://schemas.microsoft.com/office/drawing/2014/main" id="{FF2ABA9F-D315-48DF-8F57-DFB0967AE97E}"/>
                  </a:ext>
                </a:extLst>
              </p:cNvPr>
              <p:cNvSpPr>
                <a:spLocks/>
              </p:cNvSpPr>
              <p:nvPr/>
            </p:nvSpPr>
            <p:spPr bwMode="black">
              <a:xfrm>
                <a:off x="8477432" y="1892946"/>
                <a:ext cx="187186" cy="125197"/>
              </a:xfrm>
              <a:custGeom>
                <a:avLst/>
                <a:gdLst>
                  <a:gd name="T0" fmla="*/ 39 w 42"/>
                  <a:gd name="T1" fmla="*/ 7 h 28"/>
                  <a:gd name="T2" fmla="*/ 39 w 42"/>
                  <a:gd name="T3" fmla="*/ 7 h 28"/>
                  <a:gd name="T4" fmla="*/ 1 w 42"/>
                  <a:gd name="T5" fmla="*/ 20 h 28"/>
                  <a:gd name="T6" fmla="*/ 3 w 42"/>
                  <a:gd name="T7" fmla="*/ 27 h 28"/>
                  <a:gd name="T8" fmla="*/ 10 w 42"/>
                  <a:gd name="T9" fmla="*/ 24 h 28"/>
                  <a:gd name="T10" fmla="*/ 35 w 42"/>
                  <a:gd name="T11" fmla="*/ 15 h 28"/>
                  <a:gd name="T12" fmla="*/ 41 w 42"/>
                  <a:gd name="T13" fmla="*/ 13 h 28"/>
                  <a:gd name="T14" fmla="*/ 39 w 42"/>
                  <a:gd name="T15" fmla="*/ 7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8">
                    <a:moveTo>
                      <a:pt x="39" y="7"/>
                    </a:moveTo>
                    <a:cubicBezTo>
                      <a:pt x="39" y="7"/>
                      <a:pt x="39" y="7"/>
                      <a:pt x="39" y="7"/>
                    </a:cubicBezTo>
                    <a:cubicBezTo>
                      <a:pt x="25" y="0"/>
                      <a:pt x="8" y="6"/>
                      <a:pt x="1" y="20"/>
                    </a:cubicBezTo>
                    <a:cubicBezTo>
                      <a:pt x="0" y="23"/>
                      <a:pt x="1" y="25"/>
                      <a:pt x="3" y="27"/>
                    </a:cubicBezTo>
                    <a:cubicBezTo>
                      <a:pt x="6" y="28"/>
                      <a:pt x="8" y="27"/>
                      <a:pt x="10" y="24"/>
                    </a:cubicBezTo>
                    <a:cubicBezTo>
                      <a:pt x="14" y="15"/>
                      <a:pt x="25" y="11"/>
                      <a:pt x="35" y="15"/>
                    </a:cubicBezTo>
                    <a:cubicBezTo>
                      <a:pt x="37" y="16"/>
                      <a:pt x="40" y="15"/>
                      <a:pt x="41" y="13"/>
                    </a:cubicBezTo>
                    <a:cubicBezTo>
                      <a:pt x="42" y="11"/>
                      <a:pt x="41" y="8"/>
                      <a:pt x="39"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93247" tIns="46623" rIns="93247" bIns="46623"/>
              <a:lstStyle/>
              <a:p>
                <a:pPr defTabSz="932030" eaLnBrk="1" fontAlgn="auto" hangingPunct="1">
                  <a:spcBef>
                    <a:spcPts val="0"/>
                  </a:spcBef>
                  <a:spcAft>
                    <a:spcPts val="0"/>
                  </a:spcAft>
                  <a:defRPr/>
                </a:pPr>
                <a:endParaRPr lang="en-US" sz="1600">
                  <a:ln>
                    <a:solidFill>
                      <a:srgbClr val="FFFFFF">
                        <a:alpha val="0"/>
                      </a:srgbClr>
                    </a:solidFill>
                  </a:ln>
                  <a:solidFill>
                    <a:srgbClr val="FFFFFF"/>
                  </a:solidFill>
                  <a:latin typeface="+mn-lt"/>
                  <a:ea typeface="+mn-ea"/>
                </a:endParaRPr>
              </a:p>
            </p:txBody>
          </p:sp>
          <p:grpSp>
            <p:nvGrpSpPr>
              <p:cNvPr id="38" name="Group 19">
                <a:extLst>
                  <a:ext uri="{FF2B5EF4-FFF2-40B4-BE49-F238E27FC236}">
                    <a16:creationId xmlns:a16="http://schemas.microsoft.com/office/drawing/2014/main" id="{626A1D5E-9C8E-40E0-AE99-BC32DBDEF77A}"/>
                  </a:ext>
                </a:extLst>
              </p:cNvPr>
              <p:cNvGrpSpPr/>
              <p:nvPr/>
            </p:nvGrpSpPr>
            <p:grpSpPr bwMode="black">
              <a:xfrm>
                <a:off x="8459235" y="1994058"/>
                <a:ext cx="303219" cy="246679"/>
                <a:chOff x="5184779" y="225425"/>
                <a:chExt cx="1500184" cy="1220787"/>
              </a:xfrm>
              <a:grpFill/>
            </p:grpSpPr>
            <p:sp>
              <p:nvSpPr>
                <p:cNvPr id="39" name="Freeform 86">
                  <a:extLst>
                    <a:ext uri="{FF2B5EF4-FFF2-40B4-BE49-F238E27FC236}">
                      <a16:creationId xmlns:a16="http://schemas.microsoft.com/office/drawing/2014/main" id="{0632442F-2D4E-4426-859A-8B0AADC62B83}"/>
                    </a:ext>
                  </a:extLst>
                </p:cNvPr>
                <p:cNvSpPr>
                  <a:spLocks noEditPoints="1"/>
                </p:cNvSpPr>
                <p:nvPr/>
              </p:nvSpPr>
              <p:spPr bwMode="black">
                <a:xfrm>
                  <a:off x="5184779" y="344490"/>
                  <a:ext cx="1095376" cy="1101722"/>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93247" tIns="46623" rIns="93247" bIns="46623"/>
                <a:lstStyle/>
                <a:p>
                  <a:pPr defTabSz="932030" eaLnBrk="1" fontAlgn="auto" hangingPunct="1">
                    <a:spcBef>
                      <a:spcPts val="0"/>
                    </a:spcBef>
                    <a:spcAft>
                      <a:spcPts val="0"/>
                    </a:spcAft>
                    <a:defRPr/>
                  </a:pPr>
                  <a:endParaRPr lang="en-US" sz="1600">
                    <a:ln>
                      <a:solidFill>
                        <a:srgbClr val="FFFFFF">
                          <a:alpha val="0"/>
                        </a:srgbClr>
                      </a:solidFill>
                    </a:ln>
                    <a:solidFill>
                      <a:srgbClr val="FFFFFF"/>
                    </a:solidFill>
                    <a:latin typeface="+mn-lt"/>
                    <a:ea typeface="+mn-ea"/>
                  </a:endParaRPr>
                </a:p>
              </p:txBody>
            </p:sp>
            <p:sp>
              <p:nvSpPr>
                <p:cNvPr id="40" name="Oval 87">
                  <a:extLst>
                    <a:ext uri="{FF2B5EF4-FFF2-40B4-BE49-F238E27FC236}">
                      <a16:creationId xmlns:a16="http://schemas.microsoft.com/office/drawing/2014/main" id="{98ED8C1F-588F-483E-B7C1-DDDFF0E7750B}"/>
                    </a:ext>
                  </a:extLst>
                </p:cNvPr>
                <p:cNvSpPr>
                  <a:spLocks noChangeArrowheads="1"/>
                </p:cNvSpPr>
                <p:nvPr/>
              </p:nvSpPr>
              <p:spPr bwMode="black">
                <a:xfrm>
                  <a:off x="5630869" y="812799"/>
                  <a:ext cx="203201" cy="20320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lIns="93247" tIns="46623" rIns="93247" bIns="46623"/>
                <a:lstStyle/>
                <a:p>
                  <a:pPr defTabSz="932030" eaLnBrk="1" fontAlgn="auto" hangingPunct="1">
                    <a:spcBef>
                      <a:spcPts val="0"/>
                    </a:spcBef>
                    <a:spcAft>
                      <a:spcPts val="0"/>
                    </a:spcAft>
                    <a:defRPr/>
                  </a:pPr>
                  <a:endParaRPr lang="en-US" sz="1600">
                    <a:ln>
                      <a:solidFill>
                        <a:srgbClr val="FFFFFF">
                          <a:alpha val="0"/>
                        </a:srgbClr>
                      </a:solidFill>
                    </a:ln>
                    <a:solidFill>
                      <a:srgbClr val="FFFFFF"/>
                    </a:solidFill>
                    <a:latin typeface="+mn-lt"/>
                    <a:ea typeface="+mn-ea"/>
                  </a:endParaRPr>
                </a:p>
              </p:txBody>
            </p:sp>
            <p:sp>
              <p:nvSpPr>
                <p:cNvPr id="41" name="Freeform 88">
                  <a:extLst>
                    <a:ext uri="{FF2B5EF4-FFF2-40B4-BE49-F238E27FC236}">
                      <a16:creationId xmlns:a16="http://schemas.microsoft.com/office/drawing/2014/main" id="{4DEA924F-0D18-4E8A-B3FD-6E1653356DD1}"/>
                    </a:ext>
                  </a:extLst>
                </p:cNvPr>
                <p:cNvSpPr>
                  <a:spLocks noEditPoints="1"/>
                </p:cNvSpPr>
                <p:nvPr/>
              </p:nvSpPr>
              <p:spPr bwMode="black">
                <a:xfrm>
                  <a:off x="6129339" y="225425"/>
                  <a:ext cx="555624" cy="598489"/>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93247" tIns="46623" rIns="93247" bIns="46623"/>
                <a:lstStyle/>
                <a:p>
                  <a:pPr defTabSz="932030" eaLnBrk="1" fontAlgn="auto" hangingPunct="1">
                    <a:spcBef>
                      <a:spcPts val="0"/>
                    </a:spcBef>
                    <a:spcAft>
                      <a:spcPts val="0"/>
                    </a:spcAft>
                    <a:defRPr/>
                  </a:pPr>
                  <a:endParaRPr lang="en-US" sz="1600">
                    <a:ln>
                      <a:solidFill>
                        <a:srgbClr val="FFFFFF">
                          <a:alpha val="0"/>
                        </a:srgbClr>
                      </a:solidFill>
                    </a:ln>
                    <a:solidFill>
                      <a:srgbClr val="FFFFFF"/>
                    </a:solidFill>
                    <a:latin typeface="+mn-lt"/>
                    <a:ea typeface="+mn-ea"/>
                  </a:endParaRPr>
                </a:p>
              </p:txBody>
            </p:sp>
          </p:grpSp>
        </p:grpSp>
        <p:sp>
          <p:nvSpPr>
            <p:cNvPr id="24599" name="TextBox 57">
              <a:extLst>
                <a:ext uri="{FF2B5EF4-FFF2-40B4-BE49-F238E27FC236}">
                  <a16:creationId xmlns:a16="http://schemas.microsoft.com/office/drawing/2014/main" id="{D9E414A7-59C2-4987-9A84-FBFF13CE1398}"/>
                </a:ext>
              </a:extLst>
            </p:cNvPr>
            <p:cNvSpPr txBox="1">
              <a:spLocks noChangeArrowheads="1"/>
            </p:cNvSpPr>
            <p:nvPr/>
          </p:nvSpPr>
          <p:spPr bwMode="auto">
            <a:xfrm>
              <a:off x="8432475" y="5958048"/>
              <a:ext cx="84350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sz="2400" b="1">
                  <a:solidFill>
                    <a:schemeClr val="bg1"/>
                  </a:solidFill>
                </a:rPr>
                <a:t>TITLE</a:t>
              </a:r>
              <a:endParaRPr lang="zh-CN" altLang="en-US" sz="2400" b="1">
                <a:solidFill>
                  <a:schemeClr val="bg1"/>
                </a:solidFill>
              </a:endParaRPr>
            </a:p>
          </p:txBody>
        </p:sp>
      </p:grpSp>
      <p:grpSp>
        <p:nvGrpSpPr>
          <p:cNvPr id="65" name="组合 64">
            <a:extLst>
              <a:ext uri="{FF2B5EF4-FFF2-40B4-BE49-F238E27FC236}">
                <a16:creationId xmlns:a16="http://schemas.microsoft.com/office/drawing/2014/main" id="{9FFF14A0-D59E-448A-A7DA-625F286CAB6A}"/>
              </a:ext>
            </a:extLst>
          </p:cNvPr>
          <p:cNvGrpSpPr>
            <a:grpSpLocks/>
          </p:cNvGrpSpPr>
          <p:nvPr/>
        </p:nvGrpSpPr>
        <p:grpSpPr bwMode="auto">
          <a:xfrm>
            <a:off x="3433763" y="4889500"/>
            <a:ext cx="1547812" cy="1530350"/>
            <a:chOff x="3433363" y="4889493"/>
            <a:chExt cx="1548881" cy="1530220"/>
          </a:xfrm>
        </p:grpSpPr>
        <p:sp>
          <p:nvSpPr>
            <p:cNvPr id="43" name="矩形 42">
              <a:extLst>
                <a:ext uri="{FF2B5EF4-FFF2-40B4-BE49-F238E27FC236}">
                  <a16:creationId xmlns:a16="http://schemas.microsoft.com/office/drawing/2014/main" id="{FAD2A92C-00C3-4FFD-865C-33340286A50D}"/>
                </a:ext>
              </a:extLst>
            </p:cNvPr>
            <p:cNvSpPr/>
            <p:nvPr/>
          </p:nvSpPr>
          <p:spPr>
            <a:xfrm>
              <a:off x="3433363" y="4889493"/>
              <a:ext cx="1548881" cy="1530220"/>
            </a:xfrm>
            <a:prstGeom prst="rect">
              <a:avLst/>
            </a:prstGeom>
            <a:solidFill>
              <a:srgbClr val="C20F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44" name="Rectangle 36">
              <a:extLst>
                <a:ext uri="{FF2B5EF4-FFF2-40B4-BE49-F238E27FC236}">
                  <a16:creationId xmlns:a16="http://schemas.microsoft.com/office/drawing/2014/main" id="{85AF79CD-16B9-4E90-A9C1-58AC6ACE6FED}"/>
                </a:ext>
              </a:extLst>
            </p:cNvPr>
            <p:cNvSpPr/>
            <p:nvPr/>
          </p:nvSpPr>
          <p:spPr>
            <a:xfrm>
              <a:off x="3849575" y="5211729"/>
              <a:ext cx="716456" cy="480971"/>
            </a:xfrm>
            <a:custGeom>
              <a:avLst/>
              <a:gdLst/>
              <a:ahLst/>
              <a:cxnLst/>
              <a:rect l="l" t="t" r="r" b="b"/>
              <a:pathLst>
                <a:path w="3706697" h="2493818">
                  <a:moveTo>
                    <a:pt x="155892" y="2268472"/>
                  </a:moveTo>
                  <a:cubicBezTo>
                    <a:pt x="115912" y="2268472"/>
                    <a:pt x="83502" y="2300882"/>
                    <a:pt x="83502" y="2340862"/>
                  </a:cubicBezTo>
                  <a:cubicBezTo>
                    <a:pt x="83502" y="2380842"/>
                    <a:pt x="115912" y="2413252"/>
                    <a:pt x="155892" y="2413252"/>
                  </a:cubicBezTo>
                  <a:cubicBezTo>
                    <a:pt x="195872" y="2413252"/>
                    <a:pt x="228282" y="2380842"/>
                    <a:pt x="228282" y="2340862"/>
                  </a:cubicBezTo>
                  <a:cubicBezTo>
                    <a:pt x="228282" y="2300882"/>
                    <a:pt x="195872" y="2268472"/>
                    <a:pt x="155892" y="2268472"/>
                  </a:cubicBezTo>
                  <a:close/>
                  <a:moveTo>
                    <a:pt x="3356494" y="2165602"/>
                  </a:moveTo>
                  <a:cubicBezTo>
                    <a:pt x="3322827" y="2165602"/>
                    <a:pt x="3295534" y="2192895"/>
                    <a:pt x="3295534" y="2226562"/>
                  </a:cubicBezTo>
                  <a:cubicBezTo>
                    <a:pt x="3295534" y="2260229"/>
                    <a:pt x="3322827" y="2287522"/>
                    <a:pt x="3356494" y="2287522"/>
                  </a:cubicBezTo>
                  <a:cubicBezTo>
                    <a:pt x="3390161" y="2287522"/>
                    <a:pt x="3417454" y="2260229"/>
                    <a:pt x="3417454" y="2226562"/>
                  </a:cubicBezTo>
                  <a:cubicBezTo>
                    <a:pt x="3417454" y="2192895"/>
                    <a:pt x="3390161" y="2165602"/>
                    <a:pt x="3356494" y="2165602"/>
                  </a:cubicBezTo>
                  <a:close/>
                  <a:moveTo>
                    <a:pt x="3356494" y="1839052"/>
                  </a:moveTo>
                  <a:cubicBezTo>
                    <a:pt x="3322827" y="1839052"/>
                    <a:pt x="3295534" y="1866345"/>
                    <a:pt x="3295534" y="1900012"/>
                  </a:cubicBezTo>
                  <a:cubicBezTo>
                    <a:pt x="3295534" y="1933679"/>
                    <a:pt x="3322827" y="1960972"/>
                    <a:pt x="3356494" y="1960972"/>
                  </a:cubicBezTo>
                  <a:cubicBezTo>
                    <a:pt x="3390161" y="1960972"/>
                    <a:pt x="3417454" y="1933679"/>
                    <a:pt x="3417454" y="1900012"/>
                  </a:cubicBezTo>
                  <a:cubicBezTo>
                    <a:pt x="3417454" y="1866345"/>
                    <a:pt x="3390161" y="1839052"/>
                    <a:pt x="3356494" y="1839052"/>
                  </a:cubicBezTo>
                  <a:close/>
                  <a:moveTo>
                    <a:pt x="2278433" y="1696107"/>
                  </a:moveTo>
                  <a:cubicBezTo>
                    <a:pt x="2250873" y="1696107"/>
                    <a:pt x="2228533" y="1718448"/>
                    <a:pt x="2228532" y="1746008"/>
                  </a:cubicBezTo>
                  <a:cubicBezTo>
                    <a:pt x="2228533" y="1773567"/>
                    <a:pt x="2250873" y="1795908"/>
                    <a:pt x="2278433" y="1795908"/>
                  </a:cubicBezTo>
                  <a:lnTo>
                    <a:pt x="2299015" y="1795908"/>
                  </a:lnTo>
                  <a:cubicBezTo>
                    <a:pt x="2299015" y="1829752"/>
                    <a:pt x="2299015" y="1863595"/>
                    <a:pt x="2299015" y="1897439"/>
                  </a:cubicBezTo>
                  <a:cubicBezTo>
                    <a:pt x="2299015" y="1910064"/>
                    <a:pt x="2309250" y="1920299"/>
                    <a:pt x="2321875" y="1920299"/>
                  </a:cubicBezTo>
                  <a:lnTo>
                    <a:pt x="2321874" y="1920298"/>
                  </a:lnTo>
                  <a:cubicBezTo>
                    <a:pt x="2334499" y="1920298"/>
                    <a:pt x="2344734" y="1910063"/>
                    <a:pt x="2344734" y="1897438"/>
                  </a:cubicBezTo>
                  <a:lnTo>
                    <a:pt x="2344734" y="1795908"/>
                  </a:lnTo>
                  <a:lnTo>
                    <a:pt x="2562540" y="1795909"/>
                  </a:lnTo>
                  <a:cubicBezTo>
                    <a:pt x="2562540" y="1829752"/>
                    <a:pt x="2562540" y="1863596"/>
                    <a:pt x="2562540" y="1897439"/>
                  </a:cubicBezTo>
                  <a:cubicBezTo>
                    <a:pt x="2562540" y="1910064"/>
                    <a:pt x="2572775" y="1920299"/>
                    <a:pt x="2585400" y="1920299"/>
                  </a:cubicBezTo>
                  <a:lnTo>
                    <a:pt x="2585399" y="1920298"/>
                  </a:lnTo>
                  <a:cubicBezTo>
                    <a:pt x="2598024" y="1920298"/>
                    <a:pt x="2608259" y="1910063"/>
                    <a:pt x="2608259" y="1897438"/>
                  </a:cubicBezTo>
                  <a:lnTo>
                    <a:pt x="2608259" y="1795909"/>
                  </a:lnTo>
                  <a:lnTo>
                    <a:pt x="2628211" y="1795909"/>
                  </a:lnTo>
                  <a:cubicBezTo>
                    <a:pt x="2655771" y="1795909"/>
                    <a:pt x="2678112" y="1773568"/>
                    <a:pt x="2678112" y="1746008"/>
                  </a:cubicBezTo>
                  <a:lnTo>
                    <a:pt x="2678113" y="1746008"/>
                  </a:lnTo>
                  <a:cubicBezTo>
                    <a:pt x="2678113" y="1718448"/>
                    <a:pt x="2655772" y="1696107"/>
                    <a:pt x="2628212" y="1696107"/>
                  </a:cubicBezTo>
                  <a:close/>
                  <a:moveTo>
                    <a:pt x="3356494" y="1512501"/>
                  </a:moveTo>
                  <a:cubicBezTo>
                    <a:pt x="3322827" y="1512501"/>
                    <a:pt x="3295534" y="1539794"/>
                    <a:pt x="3295534" y="1573461"/>
                  </a:cubicBezTo>
                  <a:cubicBezTo>
                    <a:pt x="3295534" y="1607128"/>
                    <a:pt x="3322827" y="1634421"/>
                    <a:pt x="3356494" y="1634421"/>
                  </a:cubicBezTo>
                  <a:cubicBezTo>
                    <a:pt x="3390161" y="1634421"/>
                    <a:pt x="3417454" y="1607128"/>
                    <a:pt x="3417454" y="1573461"/>
                  </a:cubicBezTo>
                  <a:cubicBezTo>
                    <a:pt x="3417454" y="1539794"/>
                    <a:pt x="3390161" y="1512501"/>
                    <a:pt x="3356494" y="1512501"/>
                  </a:cubicBezTo>
                  <a:close/>
                  <a:moveTo>
                    <a:pt x="2278433" y="1363375"/>
                  </a:moveTo>
                  <a:cubicBezTo>
                    <a:pt x="2250873" y="1363375"/>
                    <a:pt x="2228533" y="1385716"/>
                    <a:pt x="2228532" y="1413276"/>
                  </a:cubicBezTo>
                  <a:cubicBezTo>
                    <a:pt x="2228533" y="1440835"/>
                    <a:pt x="2250873" y="1463176"/>
                    <a:pt x="2278433" y="1463176"/>
                  </a:cubicBezTo>
                  <a:lnTo>
                    <a:pt x="2299015" y="1463176"/>
                  </a:lnTo>
                  <a:cubicBezTo>
                    <a:pt x="2299015" y="1499980"/>
                    <a:pt x="2299015" y="1536785"/>
                    <a:pt x="2299015" y="1573589"/>
                  </a:cubicBezTo>
                  <a:cubicBezTo>
                    <a:pt x="2299015" y="1586214"/>
                    <a:pt x="2309250" y="1596449"/>
                    <a:pt x="2321875" y="1596449"/>
                  </a:cubicBezTo>
                  <a:lnTo>
                    <a:pt x="2321874" y="1596448"/>
                  </a:lnTo>
                  <a:cubicBezTo>
                    <a:pt x="2334499" y="1596448"/>
                    <a:pt x="2344734" y="1586213"/>
                    <a:pt x="2344734" y="1573588"/>
                  </a:cubicBezTo>
                  <a:lnTo>
                    <a:pt x="2344734" y="1463176"/>
                  </a:lnTo>
                  <a:lnTo>
                    <a:pt x="2562540" y="1463177"/>
                  </a:lnTo>
                  <a:cubicBezTo>
                    <a:pt x="2562540" y="1499981"/>
                    <a:pt x="2562540" y="1536785"/>
                    <a:pt x="2562540" y="1573589"/>
                  </a:cubicBezTo>
                  <a:cubicBezTo>
                    <a:pt x="2562540" y="1586214"/>
                    <a:pt x="2572775" y="1596449"/>
                    <a:pt x="2585400" y="1596449"/>
                  </a:cubicBezTo>
                  <a:lnTo>
                    <a:pt x="2585399" y="1596448"/>
                  </a:lnTo>
                  <a:cubicBezTo>
                    <a:pt x="2598024" y="1596448"/>
                    <a:pt x="2608259" y="1586213"/>
                    <a:pt x="2608259" y="1573588"/>
                  </a:cubicBezTo>
                  <a:lnTo>
                    <a:pt x="2608259" y="1463177"/>
                  </a:lnTo>
                  <a:lnTo>
                    <a:pt x="2628211" y="1463177"/>
                  </a:lnTo>
                  <a:cubicBezTo>
                    <a:pt x="2655771" y="1463177"/>
                    <a:pt x="2678112" y="1440836"/>
                    <a:pt x="2678112" y="1413276"/>
                  </a:cubicBezTo>
                  <a:lnTo>
                    <a:pt x="2678113" y="1413276"/>
                  </a:lnTo>
                  <a:cubicBezTo>
                    <a:pt x="2678113" y="1385716"/>
                    <a:pt x="2655772" y="1363375"/>
                    <a:pt x="2628212" y="1363375"/>
                  </a:cubicBezTo>
                  <a:close/>
                  <a:moveTo>
                    <a:pt x="3356494" y="1185950"/>
                  </a:moveTo>
                  <a:cubicBezTo>
                    <a:pt x="3322827" y="1185950"/>
                    <a:pt x="3295534" y="1213243"/>
                    <a:pt x="3295534" y="1246910"/>
                  </a:cubicBezTo>
                  <a:cubicBezTo>
                    <a:pt x="3295534" y="1280577"/>
                    <a:pt x="3322827" y="1307870"/>
                    <a:pt x="3356494" y="1307870"/>
                  </a:cubicBezTo>
                  <a:cubicBezTo>
                    <a:pt x="3390161" y="1307870"/>
                    <a:pt x="3417454" y="1280577"/>
                    <a:pt x="3417454" y="1246910"/>
                  </a:cubicBezTo>
                  <a:cubicBezTo>
                    <a:pt x="3417454" y="1213243"/>
                    <a:pt x="3390161" y="1185950"/>
                    <a:pt x="3356494" y="1185950"/>
                  </a:cubicBezTo>
                  <a:close/>
                  <a:moveTo>
                    <a:pt x="2278433" y="1030643"/>
                  </a:moveTo>
                  <a:cubicBezTo>
                    <a:pt x="2250873" y="1030643"/>
                    <a:pt x="2228533" y="1052984"/>
                    <a:pt x="2228532" y="1080544"/>
                  </a:cubicBezTo>
                  <a:cubicBezTo>
                    <a:pt x="2228533" y="1108103"/>
                    <a:pt x="2250873" y="1130444"/>
                    <a:pt x="2278433" y="1130444"/>
                  </a:cubicBezTo>
                  <a:lnTo>
                    <a:pt x="2299015" y="1130444"/>
                  </a:lnTo>
                  <a:cubicBezTo>
                    <a:pt x="2299015" y="1167034"/>
                    <a:pt x="2299015" y="1203624"/>
                    <a:pt x="2299015" y="1240214"/>
                  </a:cubicBezTo>
                  <a:cubicBezTo>
                    <a:pt x="2299015" y="1252839"/>
                    <a:pt x="2309250" y="1263074"/>
                    <a:pt x="2321875" y="1263074"/>
                  </a:cubicBezTo>
                  <a:lnTo>
                    <a:pt x="2321874" y="1263073"/>
                  </a:lnTo>
                  <a:cubicBezTo>
                    <a:pt x="2334499" y="1263073"/>
                    <a:pt x="2344734" y="1252838"/>
                    <a:pt x="2344734" y="1240213"/>
                  </a:cubicBezTo>
                  <a:lnTo>
                    <a:pt x="2344734" y="1130444"/>
                  </a:lnTo>
                  <a:lnTo>
                    <a:pt x="2562540" y="1130445"/>
                  </a:lnTo>
                  <a:cubicBezTo>
                    <a:pt x="2562540" y="1167035"/>
                    <a:pt x="2562540" y="1203624"/>
                    <a:pt x="2562540" y="1240214"/>
                  </a:cubicBezTo>
                  <a:cubicBezTo>
                    <a:pt x="2562540" y="1252839"/>
                    <a:pt x="2572775" y="1263074"/>
                    <a:pt x="2585400" y="1263074"/>
                  </a:cubicBezTo>
                  <a:lnTo>
                    <a:pt x="2585399" y="1263073"/>
                  </a:lnTo>
                  <a:cubicBezTo>
                    <a:pt x="2598024" y="1263073"/>
                    <a:pt x="2608259" y="1252838"/>
                    <a:pt x="2608259" y="1240213"/>
                  </a:cubicBezTo>
                  <a:lnTo>
                    <a:pt x="2608259" y="1130445"/>
                  </a:lnTo>
                  <a:lnTo>
                    <a:pt x="2628211" y="1130445"/>
                  </a:lnTo>
                  <a:cubicBezTo>
                    <a:pt x="2655771" y="1130445"/>
                    <a:pt x="2678112" y="1108104"/>
                    <a:pt x="2678112" y="1080544"/>
                  </a:cubicBezTo>
                  <a:lnTo>
                    <a:pt x="2678113" y="1080544"/>
                  </a:lnTo>
                  <a:cubicBezTo>
                    <a:pt x="2678113" y="1052984"/>
                    <a:pt x="2655772" y="1030643"/>
                    <a:pt x="2628212" y="1030643"/>
                  </a:cubicBezTo>
                  <a:close/>
                  <a:moveTo>
                    <a:pt x="3356494" y="859399"/>
                  </a:moveTo>
                  <a:cubicBezTo>
                    <a:pt x="3322827" y="859399"/>
                    <a:pt x="3295534" y="886692"/>
                    <a:pt x="3295534" y="920359"/>
                  </a:cubicBezTo>
                  <a:cubicBezTo>
                    <a:pt x="3295534" y="954026"/>
                    <a:pt x="3322827" y="981319"/>
                    <a:pt x="3356494" y="981319"/>
                  </a:cubicBezTo>
                  <a:cubicBezTo>
                    <a:pt x="3390161" y="981319"/>
                    <a:pt x="3417454" y="954026"/>
                    <a:pt x="3417454" y="920359"/>
                  </a:cubicBezTo>
                  <a:cubicBezTo>
                    <a:pt x="3417454" y="886692"/>
                    <a:pt x="3390161" y="859399"/>
                    <a:pt x="3356494" y="859399"/>
                  </a:cubicBezTo>
                  <a:close/>
                  <a:moveTo>
                    <a:pt x="2278433" y="697911"/>
                  </a:moveTo>
                  <a:cubicBezTo>
                    <a:pt x="2250873" y="697911"/>
                    <a:pt x="2228533" y="720252"/>
                    <a:pt x="2228532" y="747812"/>
                  </a:cubicBezTo>
                  <a:cubicBezTo>
                    <a:pt x="2228533" y="775371"/>
                    <a:pt x="2250873" y="797712"/>
                    <a:pt x="2278433" y="797712"/>
                  </a:cubicBezTo>
                  <a:lnTo>
                    <a:pt x="2299015" y="797712"/>
                  </a:lnTo>
                  <a:cubicBezTo>
                    <a:pt x="2299015" y="826680"/>
                    <a:pt x="2299015" y="855647"/>
                    <a:pt x="2299015" y="884614"/>
                  </a:cubicBezTo>
                  <a:cubicBezTo>
                    <a:pt x="2299015" y="897239"/>
                    <a:pt x="2309250" y="907474"/>
                    <a:pt x="2321875" y="907474"/>
                  </a:cubicBezTo>
                  <a:lnTo>
                    <a:pt x="2321874" y="907473"/>
                  </a:lnTo>
                  <a:cubicBezTo>
                    <a:pt x="2334499" y="907473"/>
                    <a:pt x="2344734" y="897238"/>
                    <a:pt x="2344734" y="884613"/>
                  </a:cubicBezTo>
                  <a:lnTo>
                    <a:pt x="2344734" y="797712"/>
                  </a:lnTo>
                  <a:lnTo>
                    <a:pt x="2562540" y="797713"/>
                  </a:lnTo>
                  <a:cubicBezTo>
                    <a:pt x="2562540" y="826680"/>
                    <a:pt x="2562540" y="855647"/>
                    <a:pt x="2562540" y="884614"/>
                  </a:cubicBezTo>
                  <a:cubicBezTo>
                    <a:pt x="2562540" y="897239"/>
                    <a:pt x="2572775" y="907474"/>
                    <a:pt x="2585400" y="907474"/>
                  </a:cubicBezTo>
                  <a:lnTo>
                    <a:pt x="2585399" y="907473"/>
                  </a:lnTo>
                  <a:cubicBezTo>
                    <a:pt x="2598024" y="907473"/>
                    <a:pt x="2608259" y="897238"/>
                    <a:pt x="2608259" y="884613"/>
                  </a:cubicBezTo>
                  <a:lnTo>
                    <a:pt x="2608259" y="797713"/>
                  </a:lnTo>
                  <a:lnTo>
                    <a:pt x="2628211" y="797713"/>
                  </a:lnTo>
                  <a:cubicBezTo>
                    <a:pt x="2655771" y="797713"/>
                    <a:pt x="2678112" y="775372"/>
                    <a:pt x="2678112" y="747812"/>
                  </a:cubicBezTo>
                  <a:lnTo>
                    <a:pt x="2678113" y="747812"/>
                  </a:lnTo>
                  <a:cubicBezTo>
                    <a:pt x="2678113" y="720252"/>
                    <a:pt x="2655772" y="697911"/>
                    <a:pt x="2628212" y="697911"/>
                  </a:cubicBezTo>
                  <a:close/>
                  <a:moveTo>
                    <a:pt x="729089" y="611830"/>
                  </a:moveTo>
                  <a:lnTo>
                    <a:pt x="1395273" y="611830"/>
                  </a:lnTo>
                  <a:lnTo>
                    <a:pt x="1395273" y="1881992"/>
                  </a:lnTo>
                  <a:lnTo>
                    <a:pt x="729089" y="1881992"/>
                  </a:lnTo>
                  <a:close/>
                  <a:moveTo>
                    <a:pt x="3356494" y="532848"/>
                  </a:moveTo>
                  <a:cubicBezTo>
                    <a:pt x="3322827" y="532848"/>
                    <a:pt x="3295534" y="560141"/>
                    <a:pt x="3295534" y="593808"/>
                  </a:cubicBezTo>
                  <a:cubicBezTo>
                    <a:pt x="3295534" y="627475"/>
                    <a:pt x="3322827" y="654768"/>
                    <a:pt x="3356494" y="654768"/>
                  </a:cubicBezTo>
                  <a:cubicBezTo>
                    <a:pt x="3390161" y="654768"/>
                    <a:pt x="3417454" y="627475"/>
                    <a:pt x="3417454" y="593808"/>
                  </a:cubicBezTo>
                  <a:cubicBezTo>
                    <a:pt x="3417454" y="560141"/>
                    <a:pt x="3390161" y="532848"/>
                    <a:pt x="3356494" y="532848"/>
                  </a:cubicBezTo>
                  <a:close/>
                  <a:moveTo>
                    <a:pt x="622932" y="474615"/>
                  </a:moveTo>
                  <a:lnTo>
                    <a:pt x="622932" y="629835"/>
                  </a:lnTo>
                  <a:lnTo>
                    <a:pt x="441095" y="629835"/>
                  </a:lnTo>
                  <a:cubicBezTo>
                    <a:pt x="433791" y="612515"/>
                    <a:pt x="416305" y="602309"/>
                    <a:pt x="396439" y="602309"/>
                  </a:cubicBezTo>
                  <a:cubicBezTo>
                    <a:pt x="365084" y="602309"/>
                    <a:pt x="339666" y="627730"/>
                    <a:pt x="339666" y="659089"/>
                  </a:cubicBezTo>
                  <a:cubicBezTo>
                    <a:pt x="339666" y="690445"/>
                    <a:pt x="365084" y="715862"/>
                    <a:pt x="396439" y="715862"/>
                  </a:cubicBezTo>
                  <a:cubicBezTo>
                    <a:pt x="416312" y="715862"/>
                    <a:pt x="433798" y="705660"/>
                    <a:pt x="441102" y="688340"/>
                  </a:cubicBezTo>
                  <a:lnTo>
                    <a:pt x="622932" y="688340"/>
                  </a:lnTo>
                  <a:lnTo>
                    <a:pt x="622932" y="826501"/>
                  </a:lnTo>
                  <a:lnTo>
                    <a:pt x="441095" y="826501"/>
                  </a:lnTo>
                  <a:cubicBezTo>
                    <a:pt x="433791" y="809181"/>
                    <a:pt x="416305" y="798975"/>
                    <a:pt x="396439" y="798975"/>
                  </a:cubicBezTo>
                  <a:cubicBezTo>
                    <a:pt x="365084" y="798975"/>
                    <a:pt x="339666" y="824393"/>
                    <a:pt x="339666" y="855748"/>
                  </a:cubicBezTo>
                  <a:cubicBezTo>
                    <a:pt x="339666" y="887107"/>
                    <a:pt x="365084" y="912528"/>
                    <a:pt x="396439" y="912528"/>
                  </a:cubicBezTo>
                  <a:cubicBezTo>
                    <a:pt x="416312" y="912528"/>
                    <a:pt x="433798" y="902319"/>
                    <a:pt x="441102" y="884996"/>
                  </a:cubicBezTo>
                  <a:lnTo>
                    <a:pt x="622932" y="884996"/>
                  </a:lnTo>
                  <a:lnTo>
                    <a:pt x="622932" y="1023163"/>
                  </a:lnTo>
                  <a:lnTo>
                    <a:pt x="441095" y="1023163"/>
                  </a:lnTo>
                  <a:cubicBezTo>
                    <a:pt x="433791" y="1005843"/>
                    <a:pt x="416305" y="995641"/>
                    <a:pt x="396439" y="995641"/>
                  </a:cubicBezTo>
                  <a:cubicBezTo>
                    <a:pt x="365084" y="995641"/>
                    <a:pt x="339666" y="1021058"/>
                    <a:pt x="339666" y="1052414"/>
                  </a:cubicBezTo>
                  <a:cubicBezTo>
                    <a:pt x="339666" y="1083767"/>
                    <a:pt x="365084" y="1109191"/>
                    <a:pt x="396439" y="1109191"/>
                  </a:cubicBezTo>
                  <a:cubicBezTo>
                    <a:pt x="416312" y="1109191"/>
                    <a:pt x="433798" y="1098982"/>
                    <a:pt x="441102" y="1081662"/>
                  </a:cubicBezTo>
                  <a:lnTo>
                    <a:pt x="622932" y="1081662"/>
                  </a:lnTo>
                  <a:lnTo>
                    <a:pt x="622932" y="1219822"/>
                  </a:lnTo>
                  <a:lnTo>
                    <a:pt x="441095" y="1219822"/>
                  </a:lnTo>
                  <a:cubicBezTo>
                    <a:pt x="433791" y="1202509"/>
                    <a:pt x="416305" y="1192303"/>
                    <a:pt x="396439" y="1192303"/>
                  </a:cubicBezTo>
                  <a:cubicBezTo>
                    <a:pt x="365084" y="1192303"/>
                    <a:pt x="339666" y="1217724"/>
                    <a:pt x="339666" y="1249077"/>
                  </a:cubicBezTo>
                  <a:cubicBezTo>
                    <a:pt x="339666" y="1280433"/>
                    <a:pt x="365084" y="1305850"/>
                    <a:pt x="396439" y="1305850"/>
                  </a:cubicBezTo>
                  <a:cubicBezTo>
                    <a:pt x="416312" y="1305850"/>
                    <a:pt x="433798" y="1295648"/>
                    <a:pt x="441102" y="1278328"/>
                  </a:cubicBezTo>
                  <a:lnTo>
                    <a:pt x="622932" y="1278328"/>
                  </a:lnTo>
                  <a:lnTo>
                    <a:pt x="622932" y="1416488"/>
                  </a:lnTo>
                  <a:lnTo>
                    <a:pt x="441095" y="1416488"/>
                  </a:lnTo>
                  <a:cubicBezTo>
                    <a:pt x="433791" y="1399172"/>
                    <a:pt x="416305" y="1388963"/>
                    <a:pt x="396439" y="1388963"/>
                  </a:cubicBezTo>
                  <a:cubicBezTo>
                    <a:pt x="365084" y="1388963"/>
                    <a:pt x="339666" y="1414387"/>
                    <a:pt x="339666" y="1445743"/>
                  </a:cubicBezTo>
                  <a:cubicBezTo>
                    <a:pt x="339666" y="1477095"/>
                    <a:pt x="365084" y="1502516"/>
                    <a:pt x="396439" y="1502516"/>
                  </a:cubicBezTo>
                  <a:cubicBezTo>
                    <a:pt x="416312" y="1502516"/>
                    <a:pt x="433798" y="1492310"/>
                    <a:pt x="441102" y="1474990"/>
                  </a:cubicBezTo>
                  <a:lnTo>
                    <a:pt x="622932" y="1474990"/>
                  </a:lnTo>
                  <a:lnTo>
                    <a:pt x="622932" y="1613151"/>
                  </a:lnTo>
                  <a:lnTo>
                    <a:pt x="441095" y="1613151"/>
                  </a:lnTo>
                  <a:cubicBezTo>
                    <a:pt x="433791" y="1595831"/>
                    <a:pt x="416305" y="1585629"/>
                    <a:pt x="396439" y="1585629"/>
                  </a:cubicBezTo>
                  <a:cubicBezTo>
                    <a:pt x="365084" y="1585629"/>
                    <a:pt x="339666" y="1611053"/>
                    <a:pt x="339666" y="1642405"/>
                  </a:cubicBezTo>
                  <a:cubicBezTo>
                    <a:pt x="339666" y="1673761"/>
                    <a:pt x="365084" y="1699178"/>
                    <a:pt x="396439" y="1699178"/>
                  </a:cubicBezTo>
                  <a:cubicBezTo>
                    <a:pt x="416312" y="1699178"/>
                    <a:pt x="433798" y="1688976"/>
                    <a:pt x="441102" y="1671656"/>
                  </a:cubicBezTo>
                  <a:lnTo>
                    <a:pt x="622932" y="1671656"/>
                  </a:lnTo>
                  <a:lnTo>
                    <a:pt x="622932" y="1809817"/>
                  </a:lnTo>
                  <a:lnTo>
                    <a:pt x="441095" y="1809817"/>
                  </a:lnTo>
                  <a:cubicBezTo>
                    <a:pt x="433791" y="1792497"/>
                    <a:pt x="416305" y="1782291"/>
                    <a:pt x="396439" y="1782291"/>
                  </a:cubicBezTo>
                  <a:cubicBezTo>
                    <a:pt x="365084" y="1782291"/>
                    <a:pt x="339666" y="1807712"/>
                    <a:pt x="339666" y="1839071"/>
                  </a:cubicBezTo>
                  <a:cubicBezTo>
                    <a:pt x="339666" y="1870423"/>
                    <a:pt x="365084" y="1895844"/>
                    <a:pt x="396439" y="1895844"/>
                  </a:cubicBezTo>
                  <a:cubicBezTo>
                    <a:pt x="416312" y="1895844"/>
                    <a:pt x="433798" y="1885639"/>
                    <a:pt x="441102" y="1868319"/>
                  </a:cubicBezTo>
                  <a:lnTo>
                    <a:pt x="622932" y="1868319"/>
                  </a:lnTo>
                  <a:lnTo>
                    <a:pt x="622932" y="2019203"/>
                  </a:lnTo>
                  <a:lnTo>
                    <a:pt x="1501420" y="2019203"/>
                  </a:lnTo>
                  <a:lnTo>
                    <a:pt x="1501420" y="1868319"/>
                  </a:lnTo>
                  <a:lnTo>
                    <a:pt x="1658463" y="1868319"/>
                  </a:lnTo>
                  <a:cubicBezTo>
                    <a:pt x="1665774" y="1885639"/>
                    <a:pt x="1683257" y="1895844"/>
                    <a:pt x="1703129" y="1895844"/>
                  </a:cubicBezTo>
                  <a:cubicBezTo>
                    <a:pt x="1734481" y="1895844"/>
                    <a:pt x="1759902" y="1870423"/>
                    <a:pt x="1759902" y="1839071"/>
                  </a:cubicBezTo>
                  <a:cubicBezTo>
                    <a:pt x="1759902" y="1807712"/>
                    <a:pt x="1734481" y="1782291"/>
                    <a:pt x="1703129" y="1782291"/>
                  </a:cubicBezTo>
                  <a:cubicBezTo>
                    <a:pt x="1683260" y="1782291"/>
                    <a:pt x="1665774" y="1792497"/>
                    <a:pt x="1658470" y="1809817"/>
                  </a:cubicBezTo>
                  <a:lnTo>
                    <a:pt x="1501420" y="1809817"/>
                  </a:lnTo>
                  <a:lnTo>
                    <a:pt x="1501420" y="1671656"/>
                  </a:lnTo>
                  <a:lnTo>
                    <a:pt x="1658463" y="1671656"/>
                  </a:lnTo>
                  <a:cubicBezTo>
                    <a:pt x="1665774" y="1688976"/>
                    <a:pt x="1683257" y="1699178"/>
                    <a:pt x="1703129" y="1699178"/>
                  </a:cubicBezTo>
                  <a:cubicBezTo>
                    <a:pt x="1734481" y="1699178"/>
                    <a:pt x="1759902" y="1673761"/>
                    <a:pt x="1759902" y="1642405"/>
                  </a:cubicBezTo>
                  <a:cubicBezTo>
                    <a:pt x="1759902" y="1611053"/>
                    <a:pt x="1734481" y="1585629"/>
                    <a:pt x="1703129" y="1585629"/>
                  </a:cubicBezTo>
                  <a:cubicBezTo>
                    <a:pt x="1683260" y="1585629"/>
                    <a:pt x="1665774" y="1595831"/>
                    <a:pt x="1658470" y="1613151"/>
                  </a:cubicBezTo>
                  <a:lnTo>
                    <a:pt x="1501420" y="1613151"/>
                  </a:lnTo>
                  <a:lnTo>
                    <a:pt x="1501420" y="1474990"/>
                  </a:lnTo>
                  <a:lnTo>
                    <a:pt x="1658463" y="1474990"/>
                  </a:lnTo>
                  <a:cubicBezTo>
                    <a:pt x="1665774" y="1492310"/>
                    <a:pt x="1683257" y="1502516"/>
                    <a:pt x="1703129" y="1502516"/>
                  </a:cubicBezTo>
                  <a:cubicBezTo>
                    <a:pt x="1734481" y="1502516"/>
                    <a:pt x="1759902" y="1477095"/>
                    <a:pt x="1759902" y="1445743"/>
                  </a:cubicBezTo>
                  <a:cubicBezTo>
                    <a:pt x="1759902" y="1414387"/>
                    <a:pt x="1734481" y="1388963"/>
                    <a:pt x="1703129" y="1388963"/>
                  </a:cubicBezTo>
                  <a:cubicBezTo>
                    <a:pt x="1683260" y="1388963"/>
                    <a:pt x="1665774" y="1399172"/>
                    <a:pt x="1658470" y="1416488"/>
                  </a:cubicBezTo>
                  <a:lnTo>
                    <a:pt x="1501420" y="1416488"/>
                  </a:lnTo>
                  <a:lnTo>
                    <a:pt x="1501420" y="1278328"/>
                  </a:lnTo>
                  <a:lnTo>
                    <a:pt x="1658463" y="1278328"/>
                  </a:lnTo>
                  <a:cubicBezTo>
                    <a:pt x="1665774" y="1295648"/>
                    <a:pt x="1683257" y="1305850"/>
                    <a:pt x="1703129" y="1305850"/>
                  </a:cubicBezTo>
                  <a:cubicBezTo>
                    <a:pt x="1734481" y="1305850"/>
                    <a:pt x="1759902" y="1280433"/>
                    <a:pt x="1759902" y="1249077"/>
                  </a:cubicBezTo>
                  <a:cubicBezTo>
                    <a:pt x="1759902" y="1217724"/>
                    <a:pt x="1734481" y="1192303"/>
                    <a:pt x="1703129" y="1192303"/>
                  </a:cubicBezTo>
                  <a:cubicBezTo>
                    <a:pt x="1683260" y="1192303"/>
                    <a:pt x="1665774" y="1202509"/>
                    <a:pt x="1658470" y="1219822"/>
                  </a:cubicBezTo>
                  <a:lnTo>
                    <a:pt x="1501420" y="1219822"/>
                  </a:lnTo>
                  <a:lnTo>
                    <a:pt x="1501420" y="1081662"/>
                  </a:lnTo>
                  <a:lnTo>
                    <a:pt x="1658463" y="1081662"/>
                  </a:lnTo>
                  <a:cubicBezTo>
                    <a:pt x="1665774" y="1098982"/>
                    <a:pt x="1683257" y="1109191"/>
                    <a:pt x="1703129" y="1109191"/>
                  </a:cubicBezTo>
                  <a:cubicBezTo>
                    <a:pt x="1734481" y="1109191"/>
                    <a:pt x="1759902" y="1083767"/>
                    <a:pt x="1759902" y="1052414"/>
                  </a:cubicBezTo>
                  <a:cubicBezTo>
                    <a:pt x="1759902" y="1021058"/>
                    <a:pt x="1734481" y="995641"/>
                    <a:pt x="1703129" y="995641"/>
                  </a:cubicBezTo>
                  <a:cubicBezTo>
                    <a:pt x="1683260" y="995641"/>
                    <a:pt x="1665774" y="1005843"/>
                    <a:pt x="1658470" y="1023163"/>
                  </a:cubicBezTo>
                  <a:lnTo>
                    <a:pt x="1501420" y="1023163"/>
                  </a:lnTo>
                  <a:lnTo>
                    <a:pt x="1501420" y="884996"/>
                  </a:lnTo>
                  <a:lnTo>
                    <a:pt x="1658463" y="884996"/>
                  </a:lnTo>
                  <a:cubicBezTo>
                    <a:pt x="1665774" y="902319"/>
                    <a:pt x="1683257" y="912528"/>
                    <a:pt x="1703129" y="912528"/>
                  </a:cubicBezTo>
                  <a:cubicBezTo>
                    <a:pt x="1734481" y="912528"/>
                    <a:pt x="1759902" y="887107"/>
                    <a:pt x="1759902" y="855748"/>
                  </a:cubicBezTo>
                  <a:cubicBezTo>
                    <a:pt x="1759902" y="824393"/>
                    <a:pt x="1734481" y="798975"/>
                    <a:pt x="1703129" y="798975"/>
                  </a:cubicBezTo>
                  <a:cubicBezTo>
                    <a:pt x="1683260" y="798975"/>
                    <a:pt x="1665774" y="809181"/>
                    <a:pt x="1658470" y="826501"/>
                  </a:cubicBezTo>
                  <a:lnTo>
                    <a:pt x="1501420" y="826501"/>
                  </a:lnTo>
                  <a:lnTo>
                    <a:pt x="1501420" y="688340"/>
                  </a:lnTo>
                  <a:lnTo>
                    <a:pt x="1658463" y="688340"/>
                  </a:lnTo>
                  <a:cubicBezTo>
                    <a:pt x="1665774" y="705660"/>
                    <a:pt x="1683257" y="715862"/>
                    <a:pt x="1703129" y="715862"/>
                  </a:cubicBezTo>
                  <a:cubicBezTo>
                    <a:pt x="1733220" y="715862"/>
                    <a:pt x="1757845" y="692448"/>
                    <a:pt x="1758384" y="662753"/>
                  </a:cubicBezTo>
                  <a:lnTo>
                    <a:pt x="1755496" y="648456"/>
                  </a:lnTo>
                  <a:cubicBezTo>
                    <a:pt x="1753540" y="621846"/>
                    <a:pt x="1730614" y="602309"/>
                    <a:pt x="1703129" y="602309"/>
                  </a:cubicBezTo>
                  <a:cubicBezTo>
                    <a:pt x="1683260" y="602309"/>
                    <a:pt x="1665774" y="612515"/>
                    <a:pt x="1658470" y="629835"/>
                  </a:cubicBezTo>
                  <a:lnTo>
                    <a:pt x="1501420" y="629835"/>
                  </a:lnTo>
                  <a:lnTo>
                    <a:pt x="1501420" y="474615"/>
                  </a:lnTo>
                  <a:close/>
                  <a:moveTo>
                    <a:pt x="3356494" y="206297"/>
                  </a:moveTo>
                  <a:cubicBezTo>
                    <a:pt x="3322827" y="206297"/>
                    <a:pt x="3295534" y="233590"/>
                    <a:pt x="3295534" y="267257"/>
                  </a:cubicBezTo>
                  <a:cubicBezTo>
                    <a:pt x="3295534" y="300924"/>
                    <a:pt x="3322827" y="328217"/>
                    <a:pt x="3356494" y="328217"/>
                  </a:cubicBezTo>
                  <a:cubicBezTo>
                    <a:pt x="3390161" y="328217"/>
                    <a:pt x="3417454" y="300924"/>
                    <a:pt x="3417454" y="267257"/>
                  </a:cubicBezTo>
                  <a:cubicBezTo>
                    <a:pt x="3417454" y="233590"/>
                    <a:pt x="3390161" y="206297"/>
                    <a:pt x="3356494" y="206297"/>
                  </a:cubicBezTo>
                  <a:close/>
                  <a:moveTo>
                    <a:pt x="155892" y="80567"/>
                  </a:moveTo>
                  <a:cubicBezTo>
                    <a:pt x="115912" y="80567"/>
                    <a:pt x="83502" y="112977"/>
                    <a:pt x="83502" y="152957"/>
                  </a:cubicBezTo>
                  <a:cubicBezTo>
                    <a:pt x="83502" y="192937"/>
                    <a:pt x="115912" y="225347"/>
                    <a:pt x="155892" y="225347"/>
                  </a:cubicBezTo>
                  <a:cubicBezTo>
                    <a:pt x="195872" y="225347"/>
                    <a:pt x="228282" y="192937"/>
                    <a:pt x="228282" y="152957"/>
                  </a:cubicBezTo>
                  <a:cubicBezTo>
                    <a:pt x="228282" y="112977"/>
                    <a:pt x="195872" y="80567"/>
                    <a:pt x="155892" y="80567"/>
                  </a:cubicBezTo>
                  <a:close/>
                  <a:moveTo>
                    <a:pt x="0" y="0"/>
                  </a:moveTo>
                  <a:lnTo>
                    <a:pt x="3706697" y="0"/>
                  </a:lnTo>
                  <a:lnTo>
                    <a:pt x="3706697" y="2493818"/>
                  </a:lnTo>
                  <a:lnTo>
                    <a:pt x="0" y="249381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7" tIns="45713" rIns="91427" bIns="45713" anchor="ctr"/>
            <a:lstStyle/>
            <a:p>
              <a:pPr algn="ctr" eaLnBrk="1" fontAlgn="auto" hangingPunct="1">
                <a:spcBef>
                  <a:spcPts val="0"/>
                </a:spcBef>
                <a:spcAft>
                  <a:spcPts val="0"/>
                </a:spcAft>
                <a:defRPr/>
              </a:pPr>
              <a:endParaRPr lang="en-US">
                <a:solidFill>
                  <a:srgbClr val="FFFFFF"/>
                </a:solidFill>
              </a:endParaRPr>
            </a:p>
          </p:txBody>
        </p:sp>
        <p:sp>
          <p:nvSpPr>
            <p:cNvPr id="24596" name="TextBox 58">
              <a:extLst>
                <a:ext uri="{FF2B5EF4-FFF2-40B4-BE49-F238E27FC236}">
                  <a16:creationId xmlns:a16="http://schemas.microsoft.com/office/drawing/2014/main" id="{54DBC3D7-820E-4CE2-BB6D-664666CC18A4}"/>
                </a:ext>
              </a:extLst>
            </p:cNvPr>
            <p:cNvSpPr txBox="1">
              <a:spLocks noChangeArrowheads="1"/>
            </p:cNvSpPr>
            <p:nvPr/>
          </p:nvSpPr>
          <p:spPr bwMode="auto">
            <a:xfrm>
              <a:off x="3786052" y="5958048"/>
              <a:ext cx="84350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sz="2400" b="1">
                  <a:solidFill>
                    <a:schemeClr val="bg1"/>
                  </a:solidFill>
                </a:rPr>
                <a:t>TITLE</a:t>
              </a:r>
              <a:endParaRPr lang="zh-CN" altLang="en-US" sz="2400" b="1">
                <a:solidFill>
                  <a:schemeClr val="bg1"/>
                </a:solidFill>
              </a:endParaRPr>
            </a:p>
          </p:txBody>
        </p:sp>
      </p:grpSp>
      <p:grpSp>
        <p:nvGrpSpPr>
          <p:cNvPr id="66" name="组合 65">
            <a:extLst>
              <a:ext uri="{FF2B5EF4-FFF2-40B4-BE49-F238E27FC236}">
                <a16:creationId xmlns:a16="http://schemas.microsoft.com/office/drawing/2014/main" id="{3371F476-B26D-45F3-BBD5-B3BE99DB8AE9}"/>
              </a:ext>
            </a:extLst>
          </p:cNvPr>
          <p:cNvGrpSpPr>
            <a:grpSpLocks/>
          </p:cNvGrpSpPr>
          <p:nvPr/>
        </p:nvGrpSpPr>
        <p:grpSpPr bwMode="auto">
          <a:xfrm>
            <a:off x="1884363" y="4889500"/>
            <a:ext cx="1549400" cy="1530350"/>
            <a:chOff x="1884261" y="4889493"/>
            <a:chExt cx="1548881" cy="1530220"/>
          </a:xfrm>
        </p:grpSpPr>
        <p:sp>
          <p:nvSpPr>
            <p:cNvPr id="47" name="矩形 46">
              <a:extLst>
                <a:ext uri="{FF2B5EF4-FFF2-40B4-BE49-F238E27FC236}">
                  <a16:creationId xmlns:a16="http://schemas.microsoft.com/office/drawing/2014/main" id="{95CCF590-867E-4FFB-9CA3-146CF794EE6D}"/>
                </a:ext>
              </a:extLst>
            </p:cNvPr>
            <p:cNvSpPr/>
            <p:nvPr/>
          </p:nvSpPr>
          <p:spPr>
            <a:xfrm>
              <a:off x="1884261" y="4889493"/>
              <a:ext cx="1548881" cy="1530220"/>
            </a:xfrm>
            <a:prstGeom prst="rect">
              <a:avLst/>
            </a:prstGeom>
            <a:solidFill>
              <a:srgbClr val="29292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grpSp>
          <p:nvGrpSpPr>
            <p:cNvPr id="48" name="Group 130">
              <a:extLst>
                <a:ext uri="{FF2B5EF4-FFF2-40B4-BE49-F238E27FC236}">
                  <a16:creationId xmlns:a16="http://schemas.microsoft.com/office/drawing/2014/main" id="{8D06A400-8D82-4C98-88BF-DCC7BB9592AD}"/>
                </a:ext>
              </a:extLst>
            </p:cNvPr>
            <p:cNvGrpSpPr>
              <a:grpSpLocks noChangeAspect="1"/>
            </p:cNvGrpSpPr>
            <p:nvPr/>
          </p:nvGrpSpPr>
          <p:grpSpPr bwMode="black">
            <a:xfrm>
              <a:off x="2340615" y="5237859"/>
              <a:ext cx="636173" cy="428026"/>
              <a:chOff x="1868488" y="569913"/>
              <a:chExt cx="8445501" cy="5700712"/>
            </a:xfrm>
            <a:solidFill>
              <a:schemeClr val="bg1"/>
            </a:solidFill>
          </p:grpSpPr>
          <p:sp>
            <p:nvSpPr>
              <p:cNvPr id="50" name="Freeform 131">
                <a:extLst>
                  <a:ext uri="{FF2B5EF4-FFF2-40B4-BE49-F238E27FC236}">
                    <a16:creationId xmlns:a16="http://schemas.microsoft.com/office/drawing/2014/main" id="{EFEB2DFE-6F0D-4BDE-943F-0F02AF429361}"/>
                  </a:ext>
                </a:extLst>
              </p:cNvPr>
              <p:cNvSpPr>
                <a:spLocks noEditPoints="1"/>
              </p:cNvSpPr>
              <p:nvPr/>
            </p:nvSpPr>
            <p:spPr bwMode="black">
              <a:xfrm>
                <a:off x="1868488" y="569913"/>
                <a:ext cx="8445501" cy="5700712"/>
              </a:xfrm>
              <a:custGeom>
                <a:avLst/>
                <a:gdLst>
                  <a:gd name="T0" fmla="*/ 2163 w 2252"/>
                  <a:gd name="T1" fmla="*/ 31 h 1520"/>
                  <a:gd name="T2" fmla="*/ 390 w 2252"/>
                  <a:gd name="T3" fmla="*/ 31 h 1520"/>
                  <a:gd name="T4" fmla="*/ 90 w 2252"/>
                  <a:gd name="T5" fmla="*/ 24 h 1520"/>
                  <a:gd name="T6" fmla="*/ 0 w 2252"/>
                  <a:gd name="T7" fmla="*/ 113 h 1520"/>
                  <a:gd name="T8" fmla="*/ 0 w 2252"/>
                  <a:gd name="T9" fmla="*/ 1418 h 1520"/>
                  <a:gd name="T10" fmla="*/ 90 w 2252"/>
                  <a:gd name="T11" fmla="*/ 1508 h 1520"/>
                  <a:gd name="T12" fmla="*/ 463 w 2252"/>
                  <a:gd name="T13" fmla="*/ 1478 h 1520"/>
                  <a:gd name="T14" fmla="*/ 2163 w 2252"/>
                  <a:gd name="T15" fmla="*/ 1478 h 1520"/>
                  <a:gd name="T16" fmla="*/ 2252 w 2252"/>
                  <a:gd name="T17" fmla="*/ 1388 h 1520"/>
                  <a:gd name="T18" fmla="*/ 2252 w 2252"/>
                  <a:gd name="T19" fmla="*/ 121 h 1520"/>
                  <a:gd name="T20" fmla="*/ 2163 w 2252"/>
                  <a:gd name="T21" fmla="*/ 31 h 1520"/>
                  <a:gd name="T22" fmla="*/ 1635 w 2252"/>
                  <a:gd name="T23" fmla="*/ 1391 h 1520"/>
                  <a:gd name="T24" fmla="*/ 546 w 2252"/>
                  <a:gd name="T25" fmla="*/ 1391 h 1520"/>
                  <a:gd name="T26" fmla="*/ 512 w 2252"/>
                  <a:gd name="T27" fmla="*/ 1354 h 1520"/>
                  <a:gd name="T28" fmla="*/ 546 w 2252"/>
                  <a:gd name="T29" fmla="*/ 1316 h 1520"/>
                  <a:gd name="T30" fmla="*/ 1635 w 2252"/>
                  <a:gd name="T31" fmla="*/ 1316 h 1520"/>
                  <a:gd name="T32" fmla="*/ 1668 w 2252"/>
                  <a:gd name="T33" fmla="*/ 1354 h 1520"/>
                  <a:gd name="T34" fmla="*/ 1635 w 2252"/>
                  <a:gd name="T35" fmla="*/ 1391 h 1520"/>
                  <a:gd name="T36" fmla="*/ 1305 w 2252"/>
                  <a:gd name="T37" fmla="*/ 1195 h 1520"/>
                  <a:gd name="T38" fmla="*/ 877 w 2252"/>
                  <a:gd name="T39" fmla="*/ 766 h 1520"/>
                  <a:gd name="T40" fmla="*/ 1305 w 2252"/>
                  <a:gd name="T41" fmla="*/ 337 h 1520"/>
                  <a:gd name="T42" fmla="*/ 1734 w 2252"/>
                  <a:gd name="T43" fmla="*/ 766 h 1520"/>
                  <a:gd name="T44" fmla="*/ 1305 w 2252"/>
                  <a:gd name="T45" fmla="*/ 1195 h 1520"/>
                  <a:gd name="T46" fmla="*/ 1966 w 2252"/>
                  <a:gd name="T47" fmla="*/ 325 h 1520"/>
                  <a:gd name="T48" fmla="*/ 1810 w 2252"/>
                  <a:gd name="T49" fmla="*/ 325 h 1520"/>
                  <a:gd name="T50" fmla="*/ 1720 w 2252"/>
                  <a:gd name="T51" fmla="*/ 235 h 1520"/>
                  <a:gd name="T52" fmla="*/ 1810 w 2252"/>
                  <a:gd name="T53" fmla="*/ 146 h 1520"/>
                  <a:gd name="T54" fmla="*/ 1966 w 2252"/>
                  <a:gd name="T55" fmla="*/ 146 h 1520"/>
                  <a:gd name="T56" fmla="*/ 2056 w 2252"/>
                  <a:gd name="T57" fmla="*/ 235 h 1520"/>
                  <a:gd name="T58" fmla="*/ 1966 w 2252"/>
                  <a:gd name="T59" fmla="*/ 325 h 1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52" h="1520">
                    <a:moveTo>
                      <a:pt x="2163" y="31"/>
                    </a:moveTo>
                    <a:cubicBezTo>
                      <a:pt x="390" y="31"/>
                      <a:pt x="390" y="31"/>
                      <a:pt x="390" y="31"/>
                    </a:cubicBezTo>
                    <a:cubicBezTo>
                      <a:pt x="247" y="0"/>
                      <a:pt x="126" y="24"/>
                      <a:pt x="90" y="24"/>
                    </a:cubicBezTo>
                    <a:cubicBezTo>
                      <a:pt x="40" y="24"/>
                      <a:pt x="0" y="64"/>
                      <a:pt x="0" y="113"/>
                    </a:cubicBezTo>
                    <a:cubicBezTo>
                      <a:pt x="0" y="1418"/>
                      <a:pt x="0" y="1418"/>
                      <a:pt x="0" y="1418"/>
                    </a:cubicBezTo>
                    <a:cubicBezTo>
                      <a:pt x="0" y="1468"/>
                      <a:pt x="40" y="1508"/>
                      <a:pt x="90" y="1508"/>
                    </a:cubicBezTo>
                    <a:cubicBezTo>
                      <a:pt x="134" y="1508"/>
                      <a:pt x="382" y="1520"/>
                      <a:pt x="463" y="1478"/>
                    </a:cubicBezTo>
                    <a:cubicBezTo>
                      <a:pt x="2163" y="1478"/>
                      <a:pt x="2163" y="1478"/>
                      <a:pt x="2163" y="1478"/>
                    </a:cubicBezTo>
                    <a:cubicBezTo>
                      <a:pt x="2212" y="1478"/>
                      <a:pt x="2252" y="1438"/>
                      <a:pt x="2252" y="1388"/>
                    </a:cubicBezTo>
                    <a:cubicBezTo>
                      <a:pt x="2252" y="121"/>
                      <a:pt x="2252" y="121"/>
                      <a:pt x="2252" y="121"/>
                    </a:cubicBezTo>
                    <a:cubicBezTo>
                      <a:pt x="2252" y="71"/>
                      <a:pt x="2212" y="31"/>
                      <a:pt x="2163" y="31"/>
                    </a:cubicBezTo>
                    <a:close/>
                    <a:moveTo>
                      <a:pt x="1635" y="1391"/>
                    </a:moveTo>
                    <a:cubicBezTo>
                      <a:pt x="546" y="1391"/>
                      <a:pt x="546" y="1391"/>
                      <a:pt x="546" y="1391"/>
                    </a:cubicBezTo>
                    <a:cubicBezTo>
                      <a:pt x="527" y="1391"/>
                      <a:pt x="512" y="1374"/>
                      <a:pt x="512" y="1354"/>
                    </a:cubicBezTo>
                    <a:cubicBezTo>
                      <a:pt x="512" y="1333"/>
                      <a:pt x="527" y="1316"/>
                      <a:pt x="546" y="1316"/>
                    </a:cubicBezTo>
                    <a:cubicBezTo>
                      <a:pt x="1635" y="1316"/>
                      <a:pt x="1635" y="1316"/>
                      <a:pt x="1635" y="1316"/>
                    </a:cubicBezTo>
                    <a:cubicBezTo>
                      <a:pt x="1653" y="1316"/>
                      <a:pt x="1668" y="1333"/>
                      <a:pt x="1668" y="1354"/>
                    </a:cubicBezTo>
                    <a:cubicBezTo>
                      <a:pt x="1668" y="1374"/>
                      <a:pt x="1653" y="1391"/>
                      <a:pt x="1635" y="1391"/>
                    </a:cubicBezTo>
                    <a:close/>
                    <a:moveTo>
                      <a:pt x="1305" y="1195"/>
                    </a:moveTo>
                    <a:cubicBezTo>
                      <a:pt x="1068" y="1195"/>
                      <a:pt x="877" y="1003"/>
                      <a:pt x="877" y="766"/>
                    </a:cubicBezTo>
                    <a:cubicBezTo>
                      <a:pt x="877" y="529"/>
                      <a:pt x="1068" y="337"/>
                      <a:pt x="1305" y="337"/>
                    </a:cubicBezTo>
                    <a:cubicBezTo>
                      <a:pt x="1542" y="337"/>
                      <a:pt x="1734" y="529"/>
                      <a:pt x="1734" y="766"/>
                    </a:cubicBezTo>
                    <a:cubicBezTo>
                      <a:pt x="1734" y="1003"/>
                      <a:pt x="1542" y="1195"/>
                      <a:pt x="1305" y="1195"/>
                    </a:cubicBezTo>
                    <a:close/>
                    <a:moveTo>
                      <a:pt x="1966" y="325"/>
                    </a:moveTo>
                    <a:cubicBezTo>
                      <a:pt x="1810" y="325"/>
                      <a:pt x="1810" y="325"/>
                      <a:pt x="1810" y="325"/>
                    </a:cubicBezTo>
                    <a:cubicBezTo>
                      <a:pt x="1760" y="325"/>
                      <a:pt x="1720" y="285"/>
                      <a:pt x="1720" y="235"/>
                    </a:cubicBezTo>
                    <a:cubicBezTo>
                      <a:pt x="1720" y="186"/>
                      <a:pt x="1760" y="146"/>
                      <a:pt x="1810" y="146"/>
                    </a:cubicBezTo>
                    <a:cubicBezTo>
                      <a:pt x="1966" y="146"/>
                      <a:pt x="1966" y="146"/>
                      <a:pt x="1966" y="146"/>
                    </a:cubicBezTo>
                    <a:cubicBezTo>
                      <a:pt x="2016" y="146"/>
                      <a:pt x="2056" y="186"/>
                      <a:pt x="2056" y="235"/>
                    </a:cubicBezTo>
                    <a:cubicBezTo>
                      <a:pt x="2056" y="285"/>
                      <a:pt x="2016" y="325"/>
                      <a:pt x="1966" y="325"/>
                    </a:cubicBezTo>
                    <a:close/>
                  </a:path>
                </a:pathLst>
              </a:custGeom>
              <a:grpFill/>
              <a:ln w="25400" cap="flat" cmpd="sng" algn="ctr">
                <a:noFill/>
                <a:prstDash val="solid"/>
                <a:headEnd type="none" w="med" len="med"/>
                <a:tailEnd type="none" w="med" len="med"/>
              </a:ln>
              <a:effectLst/>
            </p:spPr>
            <p:txBody>
              <a:bodyPr lIns="91423" tIns="45711" rIns="91423" bIns="45711"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40318" fontAlgn="auto">
                  <a:spcBef>
                    <a:spcPts val="0"/>
                  </a:spcBef>
                  <a:spcAft>
                    <a:spcPts val="0"/>
                  </a:spcAft>
                  <a:defRPr/>
                </a:pPr>
                <a:endParaRPr lang="en-US" spc="-122">
                  <a:solidFill>
                    <a:prstClr val="black">
                      <a:lumMod val="50000"/>
                    </a:prstClr>
                  </a:solidFill>
                  <a:latin typeface="Segoe UI Light"/>
                  <a:sym typeface="Segoe UI Light"/>
                </a:endParaRPr>
              </a:p>
            </p:txBody>
          </p:sp>
          <p:sp>
            <p:nvSpPr>
              <p:cNvPr id="51" name="Freeform 132">
                <a:extLst>
                  <a:ext uri="{FF2B5EF4-FFF2-40B4-BE49-F238E27FC236}">
                    <a16:creationId xmlns:a16="http://schemas.microsoft.com/office/drawing/2014/main" id="{C13557D1-1996-48A3-8745-8CC8CBEEB10E}"/>
                  </a:ext>
                </a:extLst>
              </p:cNvPr>
              <p:cNvSpPr>
                <a:spLocks noEditPoints="1"/>
              </p:cNvSpPr>
              <p:nvPr/>
            </p:nvSpPr>
            <p:spPr bwMode="black">
              <a:xfrm>
                <a:off x="5603878" y="2279646"/>
                <a:ext cx="2320929" cy="2320930"/>
              </a:xfrm>
              <a:custGeom>
                <a:avLst/>
                <a:gdLst>
                  <a:gd name="T0" fmla="*/ 309 w 619"/>
                  <a:gd name="T1" fmla="*/ 0 h 619"/>
                  <a:gd name="T2" fmla="*/ 0 w 619"/>
                  <a:gd name="T3" fmla="*/ 310 h 619"/>
                  <a:gd name="T4" fmla="*/ 309 w 619"/>
                  <a:gd name="T5" fmla="*/ 619 h 619"/>
                  <a:gd name="T6" fmla="*/ 619 w 619"/>
                  <a:gd name="T7" fmla="*/ 310 h 619"/>
                  <a:gd name="T8" fmla="*/ 309 w 619"/>
                  <a:gd name="T9" fmla="*/ 0 h 619"/>
                  <a:gd name="T10" fmla="*/ 313 w 619"/>
                  <a:gd name="T11" fmla="*/ 507 h 619"/>
                  <a:gd name="T12" fmla="*/ 112 w 619"/>
                  <a:gd name="T13" fmla="*/ 306 h 619"/>
                  <a:gd name="T14" fmla="*/ 313 w 619"/>
                  <a:gd name="T15" fmla="*/ 105 h 619"/>
                  <a:gd name="T16" fmla="*/ 514 w 619"/>
                  <a:gd name="T17" fmla="*/ 306 h 619"/>
                  <a:gd name="T18" fmla="*/ 313 w 619"/>
                  <a:gd name="T19"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9" h="619">
                    <a:moveTo>
                      <a:pt x="309" y="0"/>
                    </a:moveTo>
                    <a:cubicBezTo>
                      <a:pt x="138" y="0"/>
                      <a:pt x="0" y="139"/>
                      <a:pt x="0" y="310"/>
                    </a:cubicBezTo>
                    <a:cubicBezTo>
                      <a:pt x="0" y="481"/>
                      <a:pt x="138" y="619"/>
                      <a:pt x="309" y="619"/>
                    </a:cubicBezTo>
                    <a:cubicBezTo>
                      <a:pt x="480" y="619"/>
                      <a:pt x="619" y="481"/>
                      <a:pt x="619" y="310"/>
                    </a:cubicBezTo>
                    <a:cubicBezTo>
                      <a:pt x="619" y="139"/>
                      <a:pt x="480" y="0"/>
                      <a:pt x="309" y="0"/>
                    </a:cubicBezTo>
                    <a:close/>
                    <a:moveTo>
                      <a:pt x="313" y="507"/>
                    </a:moveTo>
                    <a:cubicBezTo>
                      <a:pt x="202" y="507"/>
                      <a:pt x="112" y="417"/>
                      <a:pt x="112" y="306"/>
                    </a:cubicBezTo>
                    <a:cubicBezTo>
                      <a:pt x="112" y="195"/>
                      <a:pt x="202" y="105"/>
                      <a:pt x="313" y="105"/>
                    </a:cubicBezTo>
                    <a:cubicBezTo>
                      <a:pt x="424" y="105"/>
                      <a:pt x="514" y="195"/>
                      <a:pt x="514" y="306"/>
                    </a:cubicBezTo>
                    <a:cubicBezTo>
                      <a:pt x="514" y="417"/>
                      <a:pt x="424" y="507"/>
                      <a:pt x="313" y="507"/>
                    </a:cubicBezTo>
                    <a:close/>
                  </a:path>
                </a:pathLst>
              </a:custGeom>
              <a:grpFill/>
              <a:ln w="25400" cap="flat" cmpd="sng" algn="ctr">
                <a:noFill/>
                <a:prstDash val="solid"/>
                <a:headEnd type="none" w="med" len="med"/>
                <a:tailEnd type="none" w="med" len="med"/>
              </a:ln>
              <a:effectLst/>
            </p:spPr>
            <p:txBody>
              <a:bodyPr lIns="91423" tIns="45711" rIns="91423" bIns="45711"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740318" fontAlgn="auto">
                  <a:spcBef>
                    <a:spcPts val="0"/>
                  </a:spcBef>
                  <a:spcAft>
                    <a:spcPts val="0"/>
                  </a:spcAft>
                  <a:defRPr/>
                </a:pPr>
                <a:endParaRPr lang="en-US" spc="-122">
                  <a:solidFill>
                    <a:prstClr val="black">
                      <a:lumMod val="50000"/>
                    </a:prstClr>
                  </a:solidFill>
                  <a:latin typeface="Segoe UI Light"/>
                  <a:sym typeface="Segoe UI Light"/>
                </a:endParaRPr>
              </a:p>
            </p:txBody>
          </p:sp>
        </p:grpSp>
        <p:sp>
          <p:nvSpPr>
            <p:cNvPr id="24593" name="TextBox 59">
              <a:extLst>
                <a:ext uri="{FF2B5EF4-FFF2-40B4-BE49-F238E27FC236}">
                  <a16:creationId xmlns:a16="http://schemas.microsoft.com/office/drawing/2014/main" id="{2F61A161-00B8-410D-9831-9CDB458D5BEE}"/>
                </a:ext>
              </a:extLst>
            </p:cNvPr>
            <p:cNvSpPr txBox="1">
              <a:spLocks noChangeArrowheads="1"/>
            </p:cNvSpPr>
            <p:nvPr/>
          </p:nvSpPr>
          <p:spPr bwMode="auto">
            <a:xfrm>
              <a:off x="2236950" y="5958048"/>
              <a:ext cx="84350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sz="2400" b="1">
                  <a:solidFill>
                    <a:schemeClr val="bg1"/>
                  </a:solidFill>
                </a:rPr>
                <a:t>TITLE</a:t>
              </a:r>
              <a:endParaRPr lang="zh-CN" altLang="en-US" sz="2400" b="1">
                <a:solidFill>
                  <a:schemeClr val="bg1"/>
                </a:solidFill>
              </a:endParaRPr>
            </a:p>
          </p:txBody>
        </p:sp>
      </p:grpSp>
      <p:sp>
        <p:nvSpPr>
          <p:cNvPr id="67" name="文本框 56">
            <a:extLst>
              <a:ext uri="{FF2B5EF4-FFF2-40B4-BE49-F238E27FC236}">
                <a16:creationId xmlns:a16="http://schemas.microsoft.com/office/drawing/2014/main" id="{4E6EBC61-6300-4FC2-A7D2-B849301A51F4}"/>
              </a:ext>
            </a:extLst>
          </p:cNvPr>
          <p:cNvSpPr txBox="1"/>
          <p:nvPr/>
        </p:nvSpPr>
        <p:spPr>
          <a:xfrm>
            <a:off x="1909763" y="3540125"/>
            <a:ext cx="4162425" cy="522288"/>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l" eaLnBrk="1" fontAlgn="auto" hangingPunct="1">
              <a:lnSpc>
                <a:spcPct val="100000"/>
              </a:lnSpc>
              <a:spcBef>
                <a:spcPts val="0"/>
              </a:spcBef>
              <a:spcAft>
                <a:spcPts val="0"/>
              </a:spcAft>
              <a:defRPr/>
            </a:pPr>
            <a:r>
              <a:rPr lang="en-US" altLang="zh-CN" sz="2800" b="1" dirty="0">
                <a:solidFill>
                  <a:schemeClr val="tx1">
                    <a:lumMod val="75000"/>
                    <a:lumOff val="25000"/>
                  </a:schemeClr>
                </a:solidFill>
                <a:latin typeface="+mn-lt"/>
                <a:ea typeface="+mn-ea"/>
              </a:rPr>
              <a:t>CLICK TO ADD YOUR TITLE</a:t>
            </a:r>
          </a:p>
        </p:txBody>
      </p:sp>
      <p:sp>
        <p:nvSpPr>
          <p:cNvPr id="68" name="文本框 56">
            <a:extLst>
              <a:ext uri="{FF2B5EF4-FFF2-40B4-BE49-F238E27FC236}">
                <a16:creationId xmlns:a16="http://schemas.microsoft.com/office/drawing/2014/main" id="{43046DD7-A20A-4455-9FD6-4C6EEBDCA024}"/>
              </a:ext>
            </a:extLst>
          </p:cNvPr>
          <p:cNvSpPr txBox="1"/>
          <p:nvPr/>
        </p:nvSpPr>
        <p:spPr>
          <a:xfrm>
            <a:off x="1909763" y="4019550"/>
            <a:ext cx="4459287" cy="646113"/>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l" eaLnBrk="1" fontAlgn="auto" hangingPunct="1">
              <a:lnSpc>
                <a:spcPct val="100000"/>
              </a:lnSpc>
              <a:spcBef>
                <a:spcPts val="0"/>
              </a:spcBef>
              <a:spcAft>
                <a:spcPts val="0"/>
              </a:spcAft>
              <a:defRPr/>
            </a:pPr>
            <a:r>
              <a:rPr lang="en-US" altLang="zh-CN" sz="1800" dirty="0">
                <a:solidFill>
                  <a:schemeClr val="tx1">
                    <a:lumMod val="75000"/>
                    <a:lumOff val="25000"/>
                  </a:schemeClr>
                </a:solidFill>
                <a:latin typeface="+mn-lt"/>
                <a:ea typeface="+mn-ea"/>
              </a:rPr>
              <a:t>click to add subtitle click to add subtitle click to add subtitle click to add subtitle</a:t>
            </a:r>
            <a:endParaRPr lang="zh-CN" altLang="en-US" sz="1800" dirty="0">
              <a:solidFill>
                <a:schemeClr val="tx1">
                  <a:lumMod val="75000"/>
                  <a:lumOff val="25000"/>
                </a:schemeClr>
              </a:solidFill>
              <a:latin typeface="+mn-lt"/>
              <a:ea typeface="+mn-ea"/>
            </a:endParaRPr>
          </a:p>
        </p:txBody>
      </p:sp>
      <p:sp>
        <p:nvSpPr>
          <p:cNvPr id="24590" name="文本框 56">
            <a:extLst>
              <a:ext uri="{FF2B5EF4-FFF2-40B4-BE49-F238E27FC236}">
                <a16:creationId xmlns:a16="http://schemas.microsoft.com/office/drawing/2014/main" id="{52901795-4581-4EEC-BEAD-12588598873B}"/>
              </a:ext>
            </a:extLst>
          </p:cNvPr>
          <p:cNvSpPr txBox="1">
            <a:spLocks noChangeArrowheads="1"/>
          </p:cNvSpPr>
          <p:nvPr/>
        </p:nvSpPr>
        <p:spPr bwMode="auto">
          <a:xfrm>
            <a:off x="1154113" y="566738"/>
            <a:ext cx="509587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00000"/>
              </a:lnSpc>
              <a:spcBef>
                <a:spcPct val="0"/>
              </a:spcBef>
              <a:buFontTx/>
              <a:buNone/>
            </a:pPr>
            <a:r>
              <a:rPr lang="en-US" altLang="zh-CN" sz="3200" b="1">
                <a:solidFill>
                  <a:srgbClr val="C20F2A"/>
                </a:solidFill>
                <a:latin typeface="Agency FB" panose="020B0503020202020204" pitchFamily="34" charset="0"/>
              </a:rPr>
              <a:t>CLICK TO ADD YOUR TITLE IN HERE</a:t>
            </a: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with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50"/>
                                        <p:tgtEl>
                                          <p:spTgt spid="3"/>
                                        </p:tgtEl>
                                      </p:cBhvr>
                                    </p:animEffect>
                                  </p:childTnLst>
                                </p:cTn>
                              </p:par>
                              <p:par>
                                <p:cTn id="8" presetID="10" presetClass="entr" presetSubtype="0" fill="hold" nodeType="withEffect">
                                  <p:stCondLst>
                                    <p:cond delay="25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50"/>
                                        <p:tgtEl>
                                          <p:spTgt spid="7"/>
                                        </p:tgtEl>
                                      </p:cBhvr>
                                    </p:animEffect>
                                  </p:childTnLst>
                                </p:cTn>
                              </p:par>
                              <p:par>
                                <p:cTn id="11" presetID="10" presetClass="entr" presetSubtype="0" fill="hold" nodeType="withEffect">
                                  <p:stCondLst>
                                    <p:cond delay="50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250"/>
                                        <p:tgtEl>
                                          <p:spTgt spid="8"/>
                                        </p:tgtEl>
                                      </p:cBhvr>
                                    </p:animEffect>
                                  </p:childTnLst>
                                </p:cTn>
                              </p:par>
                              <p:par>
                                <p:cTn id="14" presetID="10" presetClass="entr" presetSubtype="0" fill="hold" nodeType="withEffect">
                                  <p:stCondLst>
                                    <p:cond delay="25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250"/>
                                        <p:tgtEl>
                                          <p:spTgt spid="9"/>
                                        </p:tgtEl>
                                      </p:cBhvr>
                                    </p:animEffect>
                                  </p:childTnLst>
                                </p:cTn>
                              </p:par>
                              <p:par>
                                <p:cTn id="17" presetID="10" presetClass="entr" presetSubtype="0" fill="hold" nodeType="withEffect">
                                  <p:stCondLst>
                                    <p:cond delay="0"/>
                                  </p:stCondLst>
                                  <p:childTnLst>
                                    <p:set>
                                      <p:cBhvr>
                                        <p:cTn id="18" dur="1" fill="hold">
                                          <p:stCondLst>
                                            <p:cond delay="0"/>
                                          </p:stCondLst>
                                        </p:cTn>
                                        <p:tgtEl>
                                          <p:spTgt spid="63"/>
                                        </p:tgtEl>
                                        <p:attrNameLst>
                                          <p:attrName>style.visibility</p:attrName>
                                        </p:attrNameLst>
                                      </p:cBhvr>
                                      <p:to>
                                        <p:strVal val="visible"/>
                                      </p:to>
                                    </p:set>
                                    <p:animEffect transition="in" filter="fade">
                                      <p:cBhvr>
                                        <p:cTn id="19" dur="250"/>
                                        <p:tgtEl>
                                          <p:spTgt spid="63"/>
                                        </p:tgtEl>
                                      </p:cBhvr>
                                    </p:animEffect>
                                  </p:childTnLst>
                                </p:cTn>
                              </p:par>
                              <p:par>
                                <p:cTn id="20" presetID="10" presetClass="entr" presetSubtype="0" fill="hold" nodeType="withEffect">
                                  <p:stCondLst>
                                    <p:cond delay="500"/>
                                  </p:stCondLst>
                                  <p:childTnLst>
                                    <p:set>
                                      <p:cBhvr>
                                        <p:cTn id="21" dur="1" fill="hold">
                                          <p:stCondLst>
                                            <p:cond delay="0"/>
                                          </p:stCondLst>
                                        </p:cTn>
                                        <p:tgtEl>
                                          <p:spTgt spid="62"/>
                                        </p:tgtEl>
                                        <p:attrNameLst>
                                          <p:attrName>style.visibility</p:attrName>
                                        </p:attrNameLst>
                                      </p:cBhvr>
                                      <p:to>
                                        <p:strVal val="visible"/>
                                      </p:to>
                                    </p:set>
                                    <p:animEffect transition="in" filter="fade">
                                      <p:cBhvr>
                                        <p:cTn id="22" dur="250"/>
                                        <p:tgtEl>
                                          <p:spTgt spid="62"/>
                                        </p:tgtEl>
                                      </p:cBhvr>
                                    </p:animEffect>
                                  </p:childTnLst>
                                </p:cTn>
                              </p:par>
                              <p:par>
                                <p:cTn id="23" presetID="10" presetClass="entr" presetSubtype="0" fill="hold" nodeType="withEffect">
                                  <p:stCondLst>
                                    <p:cond delay="750"/>
                                  </p:stCondLst>
                                  <p:childTnLst>
                                    <p:set>
                                      <p:cBhvr>
                                        <p:cTn id="24" dur="1" fill="hold">
                                          <p:stCondLst>
                                            <p:cond delay="0"/>
                                          </p:stCondLst>
                                        </p:cTn>
                                        <p:tgtEl>
                                          <p:spTgt spid="64"/>
                                        </p:tgtEl>
                                        <p:attrNameLst>
                                          <p:attrName>style.visibility</p:attrName>
                                        </p:attrNameLst>
                                      </p:cBhvr>
                                      <p:to>
                                        <p:strVal val="visible"/>
                                      </p:to>
                                    </p:set>
                                    <p:animEffect transition="in" filter="fade">
                                      <p:cBhvr>
                                        <p:cTn id="25" dur="250"/>
                                        <p:tgtEl>
                                          <p:spTgt spid="64"/>
                                        </p:tgtEl>
                                      </p:cBhvr>
                                    </p:animEffect>
                                  </p:childTnLst>
                                </p:cTn>
                              </p:par>
                              <p:par>
                                <p:cTn id="26" presetID="10" presetClass="entr" presetSubtype="0" fill="hold" nodeType="withEffect">
                                  <p:stCondLst>
                                    <p:cond delay="0"/>
                                  </p:stCondLst>
                                  <p:childTnLst>
                                    <p:set>
                                      <p:cBhvr>
                                        <p:cTn id="27" dur="1" fill="hold">
                                          <p:stCondLst>
                                            <p:cond delay="0"/>
                                          </p:stCondLst>
                                        </p:cTn>
                                        <p:tgtEl>
                                          <p:spTgt spid="61"/>
                                        </p:tgtEl>
                                        <p:attrNameLst>
                                          <p:attrName>style.visibility</p:attrName>
                                        </p:attrNameLst>
                                      </p:cBhvr>
                                      <p:to>
                                        <p:strVal val="visible"/>
                                      </p:to>
                                    </p:set>
                                    <p:animEffect transition="in" filter="fade">
                                      <p:cBhvr>
                                        <p:cTn id="28" dur="250"/>
                                        <p:tgtEl>
                                          <p:spTgt spid="61"/>
                                        </p:tgtEl>
                                      </p:cBhvr>
                                    </p:animEffect>
                                  </p:childTnLst>
                                </p:cTn>
                              </p:par>
                              <p:par>
                                <p:cTn id="29" presetID="10" presetClass="entr" presetSubtype="0" fill="hold" nodeType="withEffect">
                                  <p:stCondLst>
                                    <p:cond delay="500"/>
                                  </p:stCondLst>
                                  <p:childTnLst>
                                    <p:set>
                                      <p:cBhvr>
                                        <p:cTn id="30" dur="1" fill="hold">
                                          <p:stCondLst>
                                            <p:cond delay="0"/>
                                          </p:stCondLst>
                                        </p:cTn>
                                        <p:tgtEl>
                                          <p:spTgt spid="65"/>
                                        </p:tgtEl>
                                        <p:attrNameLst>
                                          <p:attrName>style.visibility</p:attrName>
                                        </p:attrNameLst>
                                      </p:cBhvr>
                                      <p:to>
                                        <p:strVal val="visible"/>
                                      </p:to>
                                    </p:set>
                                    <p:animEffect transition="in" filter="fade">
                                      <p:cBhvr>
                                        <p:cTn id="31" dur="250"/>
                                        <p:tgtEl>
                                          <p:spTgt spid="65"/>
                                        </p:tgtEl>
                                      </p:cBhvr>
                                    </p:animEffect>
                                  </p:childTnLst>
                                </p:cTn>
                              </p:par>
                              <p:par>
                                <p:cTn id="32" presetID="10" presetClass="entr" presetSubtype="0" fill="hold" nodeType="withEffect">
                                  <p:stCondLst>
                                    <p:cond delay="0"/>
                                  </p:stCondLst>
                                  <p:childTnLst>
                                    <p:set>
                                      <p:cBhvr>
                                        <p:cTn id="33" dur="1" fill="hold">
                                          <p:stCondLst>
                                            <p:cond delay="0"/>
                                          </p:stCondLst>
                                        </p:cTn>
                                        <p:tgtEl>
                                          <p:spTgt spid="66"/>
                                        </p:tgtEl>
                                        <p:attrNameLst>
                                          <p:attrName>style.visibility</p:attrName>
                                        </p:attrNameLst>
                                      </p:cBhvr>
                                      <p:to>
                                        <p:strVal val="visible"/>
                                      </p:to>
                                    </p:set>
                                    <p:animEffect transition="in" filter="fade">
                                      <p:cBhvr>
                                        <p:cTn id="34" dur="250"/>
                                        <p:tgtEl>
                                          <p:spTgt spid="66"/>
                                        </p:tgtEl>
                                      </p:cBhvr>
                                    </p:animEffect>
                                  </p:childTnLst>
                                </p:cTn>
                              </p:par>
                            </p:childTnLst>
                          </p:cTn>
                        </p:par>
                        <p:par>
                          <p:cTn id="35" fill="hold" nodeType="afterGroup">
                            <p:stCondLst>
                              <p:cond delay="1000"/>
                            </p:stCondLst>
                            <p:childTnLst>
                              <p:par>
                                <p:cTn id="36" presetID="22" presetClass="entr" presetSubtype="8" fill="hold" grpId="0" nodeType="afterEffect">
                                  <p:stCondLst>
                                    <p:cond delay="0"/>
                                  </p:stCondLst>
                                  <p:childTnLst>
                                    <p:set>
                                      <p:cBhvr>
                                        <p:cTn id="37" dur="1" fill="hold">
                                          <p:stCondLst>
                                            <p:cond delay="0"/>
                                          </p:stCondLst>
                                        </p:cTn>
                                        <p:tgtEl>
                                          <p:spTgt spid="67"/>
                                        </p:tgtEl>
                                        <p:attrNameLst>
                                          <p:attrName>style.visibility</p:attrName>
                                        </p:attrNameLst>
                                      </p:cBhvr>
                                      <p:to>
                                        <p:strVal val="visible"/>
                                      </p:to>
                                    </p:set>
                                    <p:animEffect transition="in" filter="wipe(left)">
                                      <p:cBhvr>
                                        <p:cTn id="38" dur="500"/>
                                        <p:tgtEl>
                                          <p:spTgt spid="67"/>
                                        </p:tgtEl>
                                      </p:cBhvr>
                                    </p:animEffect>
                                  </p:childTnLst>
                                </p:cTn>
                              </p:par>
                            </p:childTnLst>
                          </p:cTn>
                        </p:par>
                        <p:par>
                          <p:cTn id="39" fill="hold" nodeType="afterGroup">
                            <p:stCondLst>
                              <p:cond delay="1500"/>
                            </p:stCondLst>
                            <p:childTnLst>
                              <p:par>
                                <p:cTn id="40" presetID="22" presetClass="entr" presetSubtype="8" fill="hold" grpId="0" nodeType="afterEffect">
                                  <p:stCondLst>
                                    <p:cond delay="0"/>
                                  </p:stCondLst>
                                  <p:childTnLst>
                                    <p:set>
                                      <p:cBhvr>
                                        <p:cTn id="41" dur="1" fill="hold">
                                          <p:stCondLst>
                                            <p:cond delay="0"/>
                                          </p:stCondLst>
                                        </p:cTn>
                                        <p:tgtEl>
                                          <p:spTgt spid="68"/>
                                        </p:tgtEl>
                                        <p:attrNameLst>
                                          <p:attrName>style.visibility</p:attrName>
                                        </p:attrNameLst>
                                      </p:cBhvr>
                                      <p:to>
                                        <p:strVal val="visible"/>
                                      </p:to>
                                    </p:set>
                                    <p:animEffect transition="in" filter="wipe(left)">
                                      <p:cBhvr>
                                        <p:cTn id="42"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p:bldP spid="68"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4" descr="D:\Users\zyf\Desktop\背景箭头.png">
            <a:extLst>
              <a:ext uri="{FF2B5EF4-FFF2-40B4-BE49-F238E27FC236}">
                <a16:creationId xmlns:a16="http://schemas.microsoft.com/office/drawing/2014/main" id="{AA4F20A4-F708-4D22-B299-9657458031B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21831" r="20399" b="9270"/>
          <a:stretch>
            <a:fillRect/>
          </a:stretch>
        </p:blipFill>
        <p:spPr bwMode="auto">
          <a:xfrm>
            <a:off x="-131763" y="0"/>
            <a:ext cx="7046913" cy="715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矩形 1">
            <a:extLst>
              <a:ext uri="{FF2B5EF4-FFF2-40B4-BE49-F238E27FC236}">
                <a16:creationId xmlns:a16="http://schemas.microsoft.com/office/drawing/2014/main" id="{2435486E-7752-4D33-AA33-43FCEEF33C3E}"/>
              </a:ext>
            </a:extLst>
          </p:cNvPr>
          <p:cNvSpPr/>
          <p:nvPr/>
        </p:nvSpPr>
        <p:spPr>
          <a:xfrm>
            <a:off x="12065000" y="0"/>
            <a:ext cx="127000" cy="6858000"/>
          </a:xfrm>
          <a:prstGeom prst="rect">
            <a:avLst/>
          </a:prstGeom>
          <a:solidFill>
            <a:srgbClr val="C20F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3" name="矩形 2">
            <a:extLst>
              <a:ext uri="{FF2B5EF4-FFF2-40B4-BE49-F238E27FC236}">
                <a16:creationId xmlns:a16="http://schemas.microsoft.com/office/drawing/2014/main" id="{008AEB8B-F68C-4103-B860-C1D1BAFF40F1}"/>
              </a:ext>
            </a:extLst>
          </p:cNvPr>
          <p:cNvSpPr/>
          <p:nvPr/>
        </p:nvSpPr>
        <p:spPr>
          <a:xfrm>
            <a:off x="6718300" y="1139825"/>
            <a:ext cx="5410200" cy="819150"/>
          </a:xfrm>
          <a:prstGeom prst="rect">
            <a:avLst/>
          </a:prstGeom>
          <a:solidFill>
            <a:srgbClr val="C20F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6" name="TextBox 36">
            <a:extLst>
              <a:ext uri="{FF2B5EF4-FFF2-40B4-BE49-F238E27FC236}">
                <a16:creationId xmlns:a16="http://schemas.microsoft.com/office/drawing/2014/main" id="{FA7EC458-E755-4B3D-93B3-5F45F6DFF510}"/>
              </a:ext>
            </a:extLst>
          </p:cNvPr>
          <p:cNvSpPr txBox="1">
            <a:spLocks noChangeArrowheads="1"/>
          </p:cNvSpPr>
          <p:nvPr/>
        </p:nvSpPr>
        <p:spPr bwMode="auto">
          <a:xfrm>
            <a:off x="6718300" y="1133475"/>
            <a:ext cx="3316288"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00000"/>
              </a:lnSpc>
              <a:spcBef>
                <a:spcPct val="0"/>
              </a:spcBef>
              <a:buFontTx/>
              <a:buNone/>
            </a:pPr>
            <a:r>
              <a:rPr lang="en-US" altLang="zh-CN" sz="4800">
                <a:solidFill>
                  <a:schemeClr val="bg1"/>
                </a:solidFill>
                <a:ea typeface="张海山锐谐体" pitchFamily="2" charset="-122"/>
              </a:rPr>
              <a:t>CONTENTS  </a:t>
            </a:r>
          </a:p>
        </p:txBody>
      </p:sp>
      <p:pic>
        <p:nvPicPr>
          <p:cNvPr id="7" name="Picture 3" descr="D:\Users\zyf\Desktop\箭头.png">
            <a:extLst>
              <a:ext uri="{FF2B5EF4-FFF2-40B4-BE49-F238E27FC236}">
                <a16:creationId xmlns:a16="http://schemas.microsoft.com/office/drawing/2014/main" id="{515D0E5A-5F2F-4208-B88F-E8BA3D9EF5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3538" y="0"/>
            <a:ext cx="60579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组合 11">
            <a:extLst>
              <a:ext uri="{FF2B5EF4-FFF2-40B4-BE49-F238E27FC236}">
                <a16:creationId xmlns:a16="http://schemas.microsoft.com/office/drawing/2014/main" id="{96D9C9D2-C1DE-4B72-8156-381271CE954E}"/>
              </a:ext>
            </a:extLst>
          </p:cNvPr>
          <p:cNvGrpSpPr>
            <a:grpSpLocks/>
          </p:cNvGrpSpPr>
          <p:nvPr/>
        </p:nvGrpSpPr>
        <p:grpSpPr bwMode="auto">
          <a:xfrm>
            <a:off x="6981825" y="2290763"/>
            <a:ext cx="4686300" cy="461962"/>
            <a:chOff x="6718300" y="2290925"/>
            <a:chExt cx="4686301" cy="461665"/>
          </a:xfrm>
        </p:grpSpPr>
        <p:sp>
          <p:nvSpPr>
            <p:cNvPr id="7188" name="文本框 56">
              <a:extLst>
                <a:ext uri="{FF2B5EF4-FFF2-40B4-BE49-F238E27FC236}">
                  <a16:creationId xmlns:a16="http://schemas.microsoft.com/office/drawing/2014/main" id="{628E2900-1A8D-4531-A5AA-4D7D64D3D258}"/>
                </a:ext>
              </a:extLst>
            </p:cNvPr>
            <p:cNvSpPr txBox="1">
              <a:spLocks noChangeArrowheads="1"/>
            </p:cNvSpPr>
            <p:nvPr/>
          </p:nvSpPr>
          <p:spPr bwMode="auto">
            <a:xfrm>
              <a:off x="6718300" y="2290925"/>
              <a:ext cx="250189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sz="2400" b="1">
                  <a:solidFill>
                    <a:srgbClr val="C20F2A"/>
                  </a:solidFill>
                  <a:latin typeface="Agency FB" panose="020B0503020202020204" pitchFamily="34" charset="0"/>
                </a:rPr>
                <a:t>YOUR TITLE IN HERE</a:t>
              </a:r>
            </a:p>
          </p:txBody>
        </p:sp>
        <p:cxnSp>
          <p:nvCxnSpPr>
            <p:cNvPr id="10" name="直接连接符 9">
              <a:extLst>
                <a:ext uri="{FF2B5EF4-FFF2-40B4-BE49-F238E27FC236}">
                  <a16:creationId xmlns:a16="http://schemas.microsoft.com/office/drawing/2014/main" id="{D9C16043-1633-4648-92A1-941078A55958}"/>
                </a:ext>
              </a:extLst>
            </p:cNvPr>
            <p:cNvCxnSpPr>
              <a:stCxn id="7188" idx="3"/>
            </p:cNvCxnSpPr>
            <p:nvPr/>
          </p:nvCxnSpPr>
          <p:spPr>
            <a:xfrm>
              <a:off x="9220201" y="2522551"/>
              <a:ext cx="1511300" cy="30143"/>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7190" name="文本框 56">
              <a:extLst>
                <a:ext uri="{FF2B5EF4-FFF2-40B4-BE49-F238E27FC236}">
                  <a16:creationId xmlns:a16="http://schemas.microsoft.com/office/drawing/2014/main" id="{F1085375-615B-482B-B712-16BE314E2326}"/>
                </a:ext>
              </a:extLst>
            </p:cNvPr>
            <p:cNvSpPr txBox="1">
              <a:spLocks noChangeArrowheads="1"/>
            </p:cNvSpPr>
            <p:nvPr/>
          </p:nvSpPr>
          <p:spPr bwMode="auto">
            <a:xfrm>
              <a:off x="10864679" y="2290925"/>
              <a:ext cx="53992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sz="2400" b="1">
                  <a:solidFill>
                    <a:srgbClr val="292929"/>
                  </a:solidFill>
                  <a:latin typeface="Agency FB" panose="020B0503020202020204" pitchFamily="34" charset="0"/>
                </a:rPr>
                <a:t>03</a:t>
              </a:r>
            </a:p>
          </p:txBody>
        </p:sp>
      </p:grpSp>
      <p:grpSp>
        <p:nvGrpSpPr>
          <p:cNvPr id="17" name="组合 16">
            <a:extLst>
              <a:ext uri="{FF2B5EF4-FFF2-40B4-BE49-F238E27FC236}">
                <a16:creationId xmlns:a16="http://schemas.microsoft.com/office/drawing/2014/main" id="{368F1EE7-FF37-455A-AF86-1D1152C353C8}"/>
              </a:ext>
            </a:extLst>
          </p:cNvPr>
          <p:cNvGrpSpPr>
            <a:grpSpLocks/>
          </p:cNvGrpSpPr>
          <p:nvPr/>
        </p:nvGrpSpPr>
        <p:grpSpPr bwMode="auto">
          <a:xfrm>
            <a:off x="6981825" y="3333750"/>
            <a:ext cx="4686300" cy="461963"/>
            <a:chOff x="6718300" y="2290925"/>
            <a:chExt cx="4686301" cy="461665"/>
          </a:xfrm>
        </p:grpSpPr>
        <p:sp>
          <p:nvSpPr>
            <p:cNvPr id="7185" name="文本框 56">
              <a:extLst>
                <a:ext uri="{FF2B5EF4-FFF2-40B4-BE49-F238E27FC236}">
                  <a16:creationId xmlns:a16="http://schemas.microsoft.com/office/drawing/2014/main" id="{8F22623C-5D32-424A-BB06-167392EDFD20}"/>
                </a:ext>
              </a:extLst>
            </p:cNvPr>
            <p:cNvSpPr txBox="1">
              <a:spLocks noChangeArrowheads="1"/>
            </p:cNvSpPr>
            <p:nvPr/>
          </p:nvSpPr>
          <p:spPr bwMode="auto">
            <a:xfrm>
              <a:off x="6718300" y="2290925"/>
              <a:ext cx="250189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sz="2400" b="1">
                  <a:solidFill>
                    <a:srgbClr val="C20F2A"/>
                  </a:solidFill>
                  <a:latin typeface="Agency FB" panose="020B0503020202020204" pitchFamily="34" charset="0"/>
                </a:rPr>
                <a:t>YOUR TITLE IN HERE</a:t>
              </a:r>
            </a:p>
          </p:txBody>
        </p:sp>
        <p:cxnSp>
          <p:nvCxnSpPr>
            <p:cNvPr id="19" name="直接连接符 18">
              <a:extLst>
                <a:ext uri="{FF2B5EF4-FFF2-40B4-BE49-F238E27FC236}">
                  <a16:creationId xmlns:a16="http://schemas.microsoft.com/office/drawing/2014/main" id="{E593E646-34A7-4ADC-960F-77485164E908}"/>
                </a:ext>
              </a:extLst>
            </p:cNvPr>
            <p:cNvCxnSpPr>
              <a:stCxn id="7185" idx="3"/>
            </p:cNvCxnSpPr>
            <p:nvPr/>
          </p:nvCxnSpPr>
          <p:spPr>
            <a:xfrm>
              <a:off x="9220201" y="2522550"/>
              <a:ext cx="1511300" cy="30144"/>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7187" name="文本框 56">
              <a:extLst>
                <a:ext uri="{FF2B5EF4-FFF2-40B4-BE49-F238E27FC236}">
                  <a16:creationId xmlns:a16="http://schemas.microsoft.com/office/drawing/2014/main" id="{BF85986E-8299-411D-9374-644B7ACF0BC5}"/>
                </a:ext>
              </a:extLst>
            </p:cNvPr>
            <p:cNvSpPr txBox="1">
              <a:spLocks noChangeArrowheads="1"/>
            </p:cNvSpPr>
            <p:nvPr/>
          </p:nvSpPr>
          <p:spPr bwMode="auto">
            <a:xfrm>
              <a:off x="10864679" y="2290925"/>
              <a:ext cx="53992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sz="2400" b="1">
                  <a:solidFill>
                    <a:srgbClr val="292929"/>
                  </a:solidFill>
                  <a:latin typeface="Agency FB" panose="020B0503020202020204" pitchFamily="34" charset="0"/>
                </a:rPr>
                <a:t>08</a:t>
              </a:r>
            </a:p>
          </p:txBody>
        </p:sp>
      </p:grpSp>
      <p:grpSp>
        <p:nvGrpSpPr>
          <p:cNvPr id="21" name="组合 20">
            <a:extLst>
              <a:ext uri="{FF2B5EF4-FFF2-40B4-BE49-F238E27FC236}">
                <a16:creationId xmlns:a16="http://schemas.microsoft.com/office/drawing/2014/main" id="{B7EC79F8-2FAE-4A5F-9685-8BA31E6E4C52}"/>
              </a:ext>
            </a:extLst>
          </p:cNvPr>
          <p:cNvGrpSpPr>
            <a:grpSpLocks/>
          </p:cNvGrpSpPr>
          <p:nvPr/>
        </p:nvGrpSpPr>
        <p:grpSpPr bwMode="auto">
          <a:xfrm>
            <a:off x="6981825" y="4378325"/>
            <a:ext cx="4686300" cy="461963"/>
            <a:chOff x="6718300" y="2290925"/>
            <a:chExt cx="4686301" cy="461665"/>
          </a:xfrm>
        </p:grpSpPr>
        <p:sp>
          <p:nvSpPr>
            <p:cNvPr id="7182" name="文本框 56">
              <a:extLst>
                <a:ext uri="{FF2B5EF4-FFF2-40B4-BE49-F238E27FC236}">
                  <a16:creationId xmlns:a16="http://schemas.microsoft.com/office/drawing/2014/main" id="{A4060434-BB4E-478E-8241-F4BA996095C5}"/>
                </a:ext>
              </a:extLst>
            </p:cNvPr>
            <p:cNvSpPr txBox="1">
              <a:spLocks noChangeArrowheads="1"/>
            </p:cNvSpPr>
            <p:nvPr/>
          </p:nvSpPr>
          <p:spPr bwMode="auto">
            <a:xfrm>
              <a:off x="6718300" y="2290925"/>
              <a:ext cx="250189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sz="2400" b="1">
                  <a:solidFill>
                    <a:srgbClr val="C20F2A"/>
                  </a:solidFill>
                  <a:latin typeface="Agency FB" panose="020B0503020202020204" pitchFamily="34" charset="0"/>
                </a:rPr>
                <a:t>YOUR TITLE IN HERE</a:t>
              </a:r>
            </a:p>
          </p:txBody>
        </p:sp>
        <p:cxnSp>
          <p:nvCxnSpPr>
            <p:cNvPr id="23" name="直接连接符 22">
              <a:extLst>
                <a:ext uri="{FF2B5EF4-FFF2-40B4-BE49-F238E27FC236}">
                  <a16:creationId xmlns:a16="http://schemas.microsoft.com/office/drawing/2014/main" id="{9BBA381C-C918-452B-81E0-B3253D7309B3}"/>
                </a:ext>
              </a:extLst>
            </p:cNvPr>
            <p:cNvCxnSpPr>
              <a:stCxn id="7182" idx="3"/>
            </p:cNvCxnSpPr>
            <p:nvPr/>
          </p:nvCxnSpPr>
          <p:spPr>
            <a:xfrm>
              <a:off x="9220201" y="2522550"/>
              <a:ext cx="1511300" cy="30144"/>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7184" name="文本框 56">
              <a:extLst>
                <a:ext uri="{FF2B5EF4-FFF2-40B4-BE49-F238E27FC236}">
                  <a16:creationId xmlns:a16="http://schemas.microsoft.com/office/drawing/2014/main" id="{633EED3A-5960-4B89-8D11-E147D4710C74}"/>
                </a:ext>
              </a:extLst>
            </p:cNvPr>
            <p:cNvSpPr txBox="1">
              <a:spLocks noChangeArrowheads="1"/>
            </p:cNvSpPr>
            <p:nvPr/>
          </p:nvSpPr>
          <p:spPr bwMode="auto">
            <a:xfrm>
              <a:off x="10864679" y="2290925"/>
              <a:ext cx="53992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sz="2400" b="1">
                  <a:solidFill>
                    <a:srgbClr val="292929"/>
                  </a:solidFill>
                  <a:latin typeface="Agency FB" panose="020B0503020202020204" pitchFamily="34" charset="0"/>
                </a:rPr>
                <a:t>13</a:t>
              </a:r>
            </a:p>
          </p:txBody>
        </p:sp>
      </p:grpSp>
      <p:grpSp>
        <p:nvGrpSpPr>
          <p:cNvPr id="25" name="组合 24">
            <a:extLst>
              <a:ext uri="{FF2B5EF4-FFF2-40B4-BE49-F238E27FC236}">
                <a16:creationId xmlns:a16="http://schemas.microsoft.com/office/drawing/2014/main" id="{0D991FF0-EDD0-4F38-B512-43917A2256A7}"/>
              </a:ext>
            </a:extLst>
          </p:cNvPr>
          <p:cNvGrpSpPr>
            <a:grpSpLocks/>
          </p:cNvGrpSpPr>
          <p:nvPr/>
        </p:nvGrpSpPr>
        <p:grpSpPr bwMode="auto">
          <a:xfrm>
            <a:off x="6981825" y="5421313"/>
            <a:ext cx="4686300" cy="461962"/>
            <a:chOff x="6718300" y="2290925"/>
            <a:chExt cx="4686301" cy="461665"/>
          </a:xfrm>
        </p:grpSpPr>
        <p:sp>
          <p:nvSpPr>
            <p:cNvPr id="7179" name="文本框 56">
              <a:extLst>
                <a:ext uri="{FF2B5EF4-FFF2-40B4-BE49-F238E27FC236}">
                  <a16:creationId xmlns:a16="http://schemas.microsoft.com/office/drawing/2014/main" id="{E5BCD100-2871-4AD6-A126-F6A82307DE5B}"/>
                </a:ext>
              </a:extLst>
            </p:cNvPr>
            <p:cNvSpPr txBox="1">
              <a:spLocks noChangeArrowheads="1"/>
            </p:cNvSpPr>
            <p:nvPr/>
          </p:nvSpPr>
          <p:spPr bwMode="auto">
            <a:xfrm>
              <a:off x="6718300" y="2290925"/>
              <a:ext cx="250189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sz="2400" b="1">
                  <a:solidFill>
                    <a:srgbClr val="C20F2A"/>
                  </a:solidFill>
                  <a:latin typeface="Agency FB" panose="020B0503020202020204" pitchFamily="34" charset="0"/>
                </a:rPr>
                <a:t>YOUR TITLE IN HERE</a:t>
              </a:r>
            </a:p>
          </p:txBody>
        </p:sp>
        <p:cxnSp>
          <p:nvCxnSpPr>
            <p:cNvPr id="27" name="直接连接符 26">
              <a:extLst>
                <a:ext uri="{FF2B5EF4-FFF2-40B4-BE49-F238E27FC236}">
                  <a16:creationId xmlns:a16="http://schemas.microsoft.com/office/drawing/2014/main" id="{5BF5E4B7-2576-4314-A770-21A4C89E8A2E}"/>
                </a:ext>
              </a:extLst>
            </p:cNvPr>
            <p:cNvCxnSpPr>
              <a:stCxn id="7179" idx="3"/>
            </p:cNvCxnSpPr>
            <p:nvPr/>
          </p:nvCxnSpPr>
          <p:spPr>
            <a:xfrm>
              <a:off x="9220201" y="2522551"/>
              <a:ext cx="1511300" cy="30143"/>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7181" name="文本框 56">
              <a:extLst>
                <a:ext uri="{FF2B5EF4-FFF2-40B4-BE49-F238E27FC236}">
                  <a16:creationId xmlns:a16="http://schemas.microsoft.com/office/drawing/2014/main" id="{81CB282E-31B4-4DF3-9A2C-5102274F840E}"/>
                </a:ext>
              </a:extLst>
            </p:cNvPr>
            <p:cNvSpPr txBox="1">
              <a:spLocks noChangeArrowheads="1"/>
            </p:cNvSpPr>
            <p:nvPr/>
          </p:nvSpPr>
          <p:spPr bwMode="auto">
            <a:xfrm>
              <a:off x="10864679" y="2290925"/>
              <a:ext cx="53992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sz="2400" b="1">
                  <a:solidFill>
                    <a:srgbClr val="292929"/>
                  </a:solidFill>
                  <a:latin typeface="Agency FB" panose="020B0503020202020204" pitchFamily="34" charset="0"/>
                </a:rPr>
                <a:t>18</a:t>
              </a:r>
            </a:p>
          </p:txBody>
        </p:sp>
      </p:grpSp>
    </p:spTree>
  </p:cSld>
  <p:clrMapOvr>
    <a:masterClrMapping/>
  </p:clrMapOvr>
  <p:transition spd="slow">
    <p:blinds dir="vert"/>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4"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500"/>
                                        <p:tgtEl>
                                          <p:spTgt spid="7"/>
                                        </p:tgtEl>
                                      </p:cBhvr>
                                    </p:animEffect>
                                  </p:childTnLst>
                                </p:cTn>
                              </p:par>
                            </p:childTnLst>
                          </p:cTn>
                        </p:par>
                        <p:par>
                          <p:cTn id="8" fill="hold" nodeType="afterGroup">
                            <p:stCondLst>
                              <p:cond delay="500"/>
                            </p:stCondLst>
                            <p:childTnLst>
                              <p:par>
                                <p:cTn id="9" presetID="22" presetClass="entr" presetSubtype="4"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down)">
                                      <p:cBhvr>
                                        <p:cTn id="11" dur="500"/>
                                        <p:tgtEl>
                                          <p:spTgt spid="8"/>
                                        </p:tgtEl>
                                      </p:cBhvr>
                                    </p:animEffect>
                                  </p:childTnLst>
                                </p:cTn>
                              </p:par>
                            </p:childTnLst>
                          </p:cTn>
                        </p:par>
                        <p:par>
                          <p:cTn id="12" fill="hold" nodeType="afterGroup">
                            <p:stCondLst>
                              <p:cond delay="1000"/>
                            </p:stCondLst>
                            <p:childTnLst>
                              <p:par>
                                <p:cTn id="13" presetID="22" presetClass="entr" presetSubtype="4" fill="hold" grpId="0"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wipe(down)">
                                      <p:cBhvr>
                                        <p:cTn id="15" dur="500"/>
                                        <p:tgtEl>
                                          <p:spTgt spid="2"/>
                                        </p:tgtEl>
                                      </p:cBhvr>
                                    </p:animEffect>
                                  </p:childTnLst>
                                </p:cTn>
                              </p:par>
                            </p:childTnLst>
                          </p:cTn>
                        </p:par>
                        <p:par>
                          <p:cTn id="16" fill="hold" nodeType="afterGroup">
                            <p:stCondLst>
                              <p:cond delay="1500"/>
                            </p:stCondLst>
                            <p:childTnLst>
                              <p:par>
                                <p:cTn id="17" presetID="22" presetClass="entr" presetSubtype="2" fill="hold" grpId="0" nodeType="after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wipe(right)">
                                      <p:cBhvr>
                                        <p:cTn id="19" dur="500"/>
                                        <p:tgtEl>
                                          <p:spTgt spid="3"/>
                                        </p:tgtEl>
                                      </p:cBhvr>
                                    </p:animEffect>
                                  </p:childTnLst>
                                </p:cTn>
                              </p:par>
                            </p:childTnLst>
                          </p:cTn>
                        </p:par>
                        <p:par>
                          <p:cTn id="20" fill="hold" nodeType="afterGroup">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childTnLst>
                          </p:cTn>
                        </p:par>
                        <p:par>
                          <p:cTn id="24" fill="hold" nodeType="afterGroup">
                            <p:stCondLst>
                              <p:cond delay="2500"/>
                            </p:stCondLst>
                            <p:childTnLst>
                              <p:par>
                                <p:cTn id="25" presetID="22" presetClass="entr" presetSubtype="8" fill="hold" nodeType="after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wipe(left)">
                                      <p:cBhvr>
                                        <p:cTn id="27" dur="500"/>
                                        <p:tgtEl>
                                          <p:spTgt spid="12"/>
                                        </p:tgtEl>
                                      </p:cBhvr>
                                    </p:animEffect>
                                  </p:childTnLst>
                                </p:cTn>
                              </p:par>
                            </p:childTnLst>
                          </p:cTn>
                        </p:par>
                        <p:par>
                          <p:cTn id="28" fill="hold" nodeType="afterGroup">
                            <p:stCondLst>
                              <p:cond delay="3000"/>
                            </p:stCondLst>
                            <p:childTnLst>
                              <p:par>
                                <p:cTn id="29" presetID="22" presetClass="entr" presetSubtype="8" fill="hold" nodeType="after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wipe(left)">
                                      <p:cBhvr>
                                        <p:cTn id="31" dur="500"/>
                                        <p:tgtEl>
                                          <p:spTgt spid="17"/>
                                        </p:tgtEl>
                                      </p:cBhvr>
                                    </p:animEffect>
                                  </p:childTnLst>
                                </p:cTn>
                              </p:par>
                            </p:childTnLst>
                          </p:cTn>
                        </p:par>
                        <p:par>
                          <p:cTn id="32" fill="hold" nodeType="afterGroup">
                            <p:stCondLst>
                              <p:cond delay="3500"/>
                            </p:stCondLst>
                            <p:childTnLst>
                              <p:par>
                                <p:cTn id="33" presetID="22" presetClass="entr" presetSubtype="8" fill="hold" nodeType="afterEffect">
                                  <p:stCondLst>
                                    <p:cond delay="0"/>
                                  </p:stCondLst>
                                  <p:childTnLst>
                                    <p:set>
                                      <p:cBhvr>
                                        <p:cTn id="34" dur="1" fill="hold">
                                          <p:stCondLst>
                                            <p:cond delay="0"/>
                                          </p:stCondLst>
                                        </p:cTn>
                                        <p:tgtEl>
                                          <p:spTgt spid="21"/>
                                        </p:tgtEl>
                                        <p:attrNameLst>
                                          <p:attrName>style.visibility</p:attrName>
                                        </p:attrNameLst>
                                      </p:cBhvr>
                                      <p:to>
                                        <p:strVal val="visible"/>
                                      </p:to>
                                    </p:set>
                                    <p:animEffect transition="in" filter="wipe(left)">
                                      <p:cBhvr>
                                        <p:cTn id="35" dur="500"/>
                                        <p:tgtEl>
                                          <p:spTgt spid="21"/>
                                        </p:tgtEl>
                                      </p:cBhvr>
                                    </p:animEffect>
                                  </p:childTnLst>
                                </p:cTn>
                              </p:par>
                            </p:childTnLst>
                          </p:cTn>
                        </p:par>
                        <p:par>
                          <p:cTn id="36" fill="hold" nodeType="afterGroup">
                            <p:stCondLst>
                              <p:cond delay="4000"/>
                            </p:stCondLst>
                            <p:childTnLst>
                              <p:par>
                                <p:cTn id="37" presetID="22" presetClass="entr" presetSubtype="8" fill="hold" nodeType="afterEffect">
                                  <p:stCondLst>
                                    <p:cond delay="0"/>
                                  </p:stCondLst>
                                  <p:childTnLst>
                                    <p:set>
                                      <p:cBhvr>
                                        <p:cTn id="38" dur="1" fill="hold">
                                          <p:stCondLst>
                                            <p:cond delay="0"/>
                                          </p:stCondLst>
                                        </p:cTn>
                                        <p:tgtEl>
                                          <p:spTgt spid="25"/>
                                        </p:tgtEl>
                                        <p:attrNameLst>
                                          <p:attrName>style.visibility</p:attrName>
                                        </p:attrNameLst>
                                      </p:cBhvr>
                                      <p:to>
                                        <p:strVal val="visible"/>
                                      </p:to>
                                    </p:set>
                                    <p:animEffect transition="in" filter="wipe(left)">
                                      <p:cBhvr>
                                        <p:cTn id="39"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6" grpId="0"/>
    </p:bldLst>
  </p:timing>
</p:sld>
</file>

<file path=ppt/slides/slide20.xml><?xml version="1.0" encoding="utf-8"?>
<p:sld xmlns:a="http://schemas.openxmlformats.org/drawingml/2006/main" xmlns:r="http://schemas.openxmlformats.org/officeDocument/2006/relationships" xmlns:p="http://schemas.openxmlformats.org/presentationml/2006/main">
  <p:cSl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5602" name="文本框 56">
            <a:extLst>
              <a:ext uri="{FF2B5EF4-FFF2-40B4-BE49-F238E27FC236}">
                <a16:creationId xmlns:a16="http://schemas.microsoft.com/office/drawing/2014/main" id="{AD3FA7CB-20F5-4A6B-9348-D6ECA491400A}"/>
              </a:ext>
            </a:extLst>
          </p:cNvPr>
          <p:cNvSpPr txBox="1">
            <a:spLocks noChangeArrowheads="1"/>
          </p:cNvSpPr>
          <p:nvPr/>
        </p:nvSpPr>
        <p:spPr bwMode="auto">
          <a:xfrm>
            <a:off x="1154113" y="566738"/>
            <a:ext cx="509587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00000"/>
              </a:lnSpc>
              <a:spcBef>
                <a:spcPct val="0"/>
              </a:spcBef>
              <a:buFontTx/>
              <a:buNone/>
            </a:pPr>
            <a:r>
              <a:rPr lang="en-US" altLang="zh-CN" sz="3200" b="1">
                <a:solidFill>
                  <a:srgbClr val="C20F2A"/>
                </a:solidFill>
                <a:latin typeface="Agency FB" panose="020B0503020202020204" pitchFamily="34" charset="0"/>
              </a:rPr>
              <a:t>CLICK TO ADD YOUR TITLE IN HERE</a:t>
            </a:r>
          </a:p>
        </p:txBody>
      </p:sp>
      <p:sp>
        <p:nvSpPr>
          <p:cNvPr id="6" name="任意多边形 11">
            <a:extLst>
              <a:ext uri="{FF2B5EF4-FFF2-40B4-BE49-F238E27FC236}">
                <a16:creationId xmlns:a16="http://schemas.microsoft.com/office/drawing/2014/main" id="{56A0EFDC-A1D1-49A6-8FA5-79C71D609CAE}"/>
              </a:ext>
            </a:extLst>
          </p:cNvPr>
          <p:cNvSpPr>
            <a:spLocks/>
          </p:cNvSpPr>
          <p:nvPr/>
        </p:nvSpPr>
        <p:spPr bwMode="auto">
          <a:xfrm rot="-4481425">
            <a:off x="7017544" y="2450306"/>
            <a:ext cx="2038350" cy="2395538"/>
          </a:xfrm>
          <a:custGeom>
            <a:avLst/>
            <a:gdLst>
              <a:gd name="T0" fmla="*/ 2989667 w 1391478"/>
              <a:gd name="T1" fmla="*/ 1365079 h 1635995"/>
              <a:gd name="T2" fmla="*/ 2891450 w 1391478"/>
              <a:gd name="T3" fmla="*/ 1352309 h 1635995"/>
              <a:gd name="T4" fmla="*/ 1603680 w 1391478"/>
              <a:gd name="T5" fmla="*/ 1622021 h 1635995"/>
              <a:gd name="T6" fmla="*/ 1588142 w 1391478"/>
              <a:gd name="T7" fmla="*/ 1631429 h 1635995"/>
              <a:gd name="T8" fmla="*/ 1588144 w 1391478"/>
              <a:gd name="T9" fmla="*/ 1631431 h 1635995"/>
              <a:gd name="T10" fmla="*/ 1410505 w 1391478"/>
              <a:gd name="T11" fmla="*/ 1738949 h 1635995"/>
              <a:gd name="T12" fmla="*/ 900357 w 1391478"/>
              <a:gd name="T13" fmla="*/ 2209503 h 1635995"/>
              <a:gd name="T14" fmla="*/ 879355 w 1391478"/>
              <a:gd name="T15" fmla="*/ 2238605 h 1635995"/>
              <a:gd name="T16" fmla="*/ 762110 w 1391478"/>
              <a:gd name="T17" fmla="*/ 2401029 h 1635995"/>
              <a:gd name="T18" fmla="*/ 401235 w 1391478"/>
              <a:gd name="T19" fmla="*/ 3462368 h 1635995"/>
              <a:gd name="T20" fmla="*/ 399589 w 1391478"/>
              <a:gd name="T21" fmla="*/ 3512044 h 1635995"/>
              <a:gd name="T22" fmla="*/ 394577 w 1391478"/>
              <a:gd name="T23" fmla="*/ 3505380 h 1635995"/>
              <a:gd name="T24" fmla="*/ 48886 w 1391478"/>
              <a:gd name="T25" fmla="*/ 2686800 h 1635995"/>
              <a:gd name="T26" fmla="*/ 42761 w 1391478"/>
              <a:gd name="T27" fmla="*/ 2648330 h 1635995"/>
              <a:gd name="T28" fmla="*/ 14069 w 1391478"/>
              <a:gd name="T29" fmla="*/ 2468205 h 1635995"/>
              <a:gd name="T30" fmla="*/ 158603 w 1391478"/>
              <a:gd name="T31" fmla="*/ 1373025 h 1635995"/>
              <a:gd name="T32" fmla="*/ 221226 w 1391478"/>
              <a:gd name="T33" fmla="*/ 1234252 h 1635995"/>
              <a:gd name="T34" fmla="*/ 252499 w 1391478"/>
              <a:gd name="T35" fmla="*/ 1164957 h 1635995"/>
              <a:gd name="T36" fmla="*/ 506732 w 1391478"/>
              <a:gd name="T37" fmla="*/ 772823 h 1635995"/>
              <a:gd name="T38" fmla="*/ 1621326 w 1391478"/>
              <a:gd name="T39" fmla="*/ 12462 h 1635995"/>
              <a:gd name="T40" fmla="*/ 1669480 w 1391478"/>
              <a:gd name="T41" fmla="*/ 0 h 1635995"/>
              <a:gd name="T42" fmla="*/ 1870122 w 1391478"/>
              <a:gd name="T43" fmla="*/ 90388 h 1635995"/>
              <a:gd name="T44" fmla="*/ 2262587 w 1391478"/>
              <a:gd name="T45" fmla="*/ 344402 h 1635995"/>
              <a:gd name="T46" fmla="*/ 2947313 w 1391478"/>
              <a:gd name="T47" fmla="*/ 1248990 h 163599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391478"/>
              <a:gd name="T73" fmla="*/ 0 h 1635995"/>
              <a:gd name="T74" fmla="*/ 1391478 w 1391478"/>
              <a:gd name="T75" fmla="*/ 1635995 h 163599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391478" h="1635995">
                <a:moveTo>
                  <a:pt x="1391478" y="635886"/>
                </a:moveTo>
                <a:lnTo>
                  <a:pt x="1345765" y="629939"/>
                </a:lnTo>
                <a:cubicBezTo>
                  <a:pt x="1139491" y="613169"/>
                  <a:pt x="930592" y="656056"/>
                  <a:pt x="746399" y="755578"/>
                </a:cubicBezTo>
                <a:lnTo>
                  <a:pt x="739167" y="759960"/>
                </a:lnTo>
                <a:lnTo>
                  <a:pt x="739168" y="759961"/>
                </a:lnTo>
                <a:lnTo>
                  <a:pt x="656489" y="810045"/>
                </a:lnTo>
                <a:cubicBezTo>
                  <a:pt x="568889" y="869204"/>
                  <a:pt x="488604" y="942395"/>
                  <a:pt x="419052" y="1029241"/>
                </a:cubicBezTo>
                <a:cubicBezTo>
                  <a:pt x="415793" y="1033760"/>
                  <a:pt x="412535" y="1038279"/>
                  <a:pt x="409276" y="1042797"/>
                </a:cubicBezTo>
                <a:lnTo>
                  <a:pt x="354708" y="1118458"/>
                </a:lnTo>
                <a:cubicBezTo>
                  <a:pt x="256126" y="1270890"/>
                  <a:pt x="200722" y="1440961"/>
                  <a:pt x="186747" y="1612856"/>
                </a:cubicBezTo>
                <a:lnTo>
                  <a:pt x="185979" y="1635995"/>
                </a:lnTo>
                <a:lnTo>
                  <a:pt x="183649" y="1632891"/>
                </a:lnTo>
                <a:cubicBezTo>
                  <a:pt x="104772" y="1516091"/>
                  <a:pt x="50842" y="1386287"/>
                  <a:pt x="22754" y="1251576"/>
                </a:cubicBezTo>
                <a:lnTo>
                  <a:pt x="19902" y="1233656"/>
                </a:lnTo>
                <a:lnTo>
                  <a:pt x="6547" y="1149750"/>
                </a:lnTo>
                <a:cubicBezTo>
                  <a:pt x="-12341" y="978928"/>
                  <a:pt x="9501" y="803602"/>
                  <a:pt x="73819" y="639589"/>
                </a:cubicBezTo>
                <a:lnTo>
                  <a:pt x="102966" y="574945"/>
                </a:lnTo>
                <a:lnTo>
                  <a:pt x="117521" y="542665"/>
                </a:lnTo>
                <a:cubicBezTo>
                  <a:pt x="150073" y="479123"/>
                  <a:pt x="189478" y="417896"/>
                  <a:pt x="235847" y="359999"/>
                </a:cubicBezTo>
                <a:cubicBezTo>
                  <a:pt x="374954" y="186306"/>
                  <a:pt x="556985" y="67234"/>
                  <a:pt x="754612" y="5804"/>
                </a:cubicBezTo>
                <a:lnTo>
                  <a:pt x="777024" y="0"/>
                </a:lnTo>
                <a:lnTo>
                  <a:pt x="870409" y="42106"/>
                </a:lnTo>
                <a:cubicBezTo>
                  <a:pt x="933950" y="74659"/>
                  <a:pt x="995177" y="114063"/>
                  <a:pt x="1053074" y="160432"/>
                </a:cubicBezTo>
                <a:cubicBezTo>
                  <a:pt x="1197818" y="276354"/>
                  <a:pt x="1304632" y="422085"/>
                  <a:pt x="1371765" y="581810"/>
                </a:cubicBezTo>
                <a:lnTo>
                  <a:pt x="1391478" y="635886"/>
                </a:lnTo>
                <a:close/>
              </a:path>
            </a:pathLst>
          </a:custGeom>
          <a:solidFill>
            <a:srgbClr val="C20F2A"/>
          </a:solidFill>
          <a:ln w="12700">
            <a:solidFill>
              <a:schemeClr val="bg1"/>
            </a:solidFill>
            <a:miter lim="800000"/>
            <a:headEnd/>
            <a:tailEnd/>
          </a:ln>
        </p:spPr>
        <p:txBody>
          <a:bodyPr lIns="0" tIns="180000" rIns="0" bIns="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20000"/>
              </a:lnSpc>
              <a:spcBef>
                <a:spcPct val="0"/>
              </a:spcBef>
              <a:buFont typeface="Arial" panose="020B0604020202020204" pitchFamily="34" charset="0"/>
              <a:buNone/>
            </a:pPr>
            <a:endParaRPr lang="en-US" altLang="zh-CN" sz="2000" b="1">
              <a:solidFill>
                <a:schemeClr val="bg1"/>
              </a:solidFill>
              <a:latin typeface="微软雅黑" panose="020B0503020204020204" pitchFamily="34" charset="-122"/>
              <a:ea typeface="微软雅黑" panose="020B0503020204020204" pitchFamily="34" charset="-122"/>
            </a:endParaRPr>
          </a:p>
          <a:p>
            <a:pPr algn="ctr" eaLnBrk="1" hangingPunct="1">
              <a:lnSpc>
                <a:spcPct val="120000"/>
              </a:lnSpc>
              <a:spcBef>
                <a:spcPct val="0"/>
              </a:spcBef>
              <a:buFont typeface="Arial" panose="020B0604020202020204" pitchFamily="34" charset="0"/>
              <a:buNone/>
            </a:pPr>
            <a:r>
              <a:rPr lang="en-US" altLang="zh-CN" sz="2000" b="1">
                <a:solidFill>
                  <a:schemeClr val="bg1"/>
                </a:solidFill>
                <a:latin typeface="微软雅黑" panose="020B0503020204020204" pitchFamily="34" charset="-122"/>
                <a:ea typeface="微软雅黑" panose="020B0503020204020204" pitchFamily="34" charset="-122"/>
              </a:rPr>
              <a:t>TITLE</a:t>
            </a:r>
            <a:endParaRPr lang="zh-CN" altLang="en-US" sz="2000" b="1">
              <a:solidFill>
                <a:schemeClr val="bg1"/>
              </a:solidFill>
              <a:latin typeface="微软雅黑" panose="020B0503020204020204" pitchFamily="34" charset="-122"/>
              <a:ea typeface="微软雅黑" panose="020B0503020204020204" pitchFamily="34" charset="-122"/>
            </a:endParaRPr>
          </a:p>
        </p:txBody>
      </p:sp>
      <p:sp>
        <p:nvSpPr>
          <p:cNvPr id="7" name="任意多边形 15">
            <a:extLst>
              <a:ext uri="{FF2B5EF4-FFF2-40B4-BE49-F238E27FC236}">
                <a16:creationId xmlns:a16="http://schemas.microsoft.com/office/drawing/2014/main" id="{62E4D905-5D7A-495D-85F8-557B203CE638}"/>
              </a:ext>
            </a:extLst>
          </p:cNvPr>
          <p:cNvSpPr>
            <a:spLocks/>
          </p:cNvSpPr>
          <p:nvPr/>
        </p:nvSpPr>
        <p:spPr bwMode="auto">
          <a:xfrm>
            <a:off x="7927975" y="1709738"/>
            <a:ext cx="2008188" cy="2430462"/>
          </a:xfrm>
          <a:custGeom>
            <a:avLst/>
            <a:gdLst>
              <a:gd name="T0" fmla="*/ 1550582 w 1372594"/>
              <a:gd name="T1" fmla="*/ 0 h 1661130"/>
              <a:gd name="T2" fmla="*/ 1597798 w 1372594"/>
              <a:gd name="T3" fmla="*/ 14650 h 1661130"/>
              <a:gd name="T4" fmla="*/ 2668647 w 1372594"/>
              <a:gd name="T5" fmla="*/ 823218 h 1661130"/>
              <a:gd name="T6" fmla="*/ 2902691 w 1372594"/>
              <a:gd name="T7" fmla="*/ 1225237 h 1661130"/>
              <a:gd name="T8" fmla="*/ 2930498 w 1372594"/>
              <a:gd name="T9" fmla="*/ 1295644 h 1661130"/>
              <a:gd name="T10" fmla="*/ 2891986 w 1372594"/>
              <a:gd name="T11" fmla="*/ 1291409 h 1661130"/>
              <a:gd name="T12" fmla="*/ 1600281 w 1372594"/>
              <a:gd name="T13" fmla="*/ 1597485 h 1661130"/>
              <a:gd name="T14" fmla="*/ 1555157 w 1372594"/>
              <a:gd name="T15" fmla="*/ 1626954 h 1661130"/>
              <a:gd name="T16" fmla="*/ 1403565 w 1372594"/>
              <a:gd name="T17" fmla="*/ 1725958 h 1661130"/>
              <a:gd name="T18" fmla="*/ 912300 w 1372594"/>
              <a:gd name="T19" fmla="*/ 2211089 h 1661130"/>
              <a:gd name="T20" fmla="*/ 877538 w 1372594"/>
              <a:gd name="T21" fmla="*/ 2262906 h 1661130"/>
              <a:gd name="T22" fmla="*/ 877538 w 1372594"/>
              <a:gd name="T23" fmla="*/ 2262905 h 1661130"/>
              <a:gd name="T24" fmla="*/ 787134 w 1372594"/>
              <a:gd name="T25" fmla="*/ 2397656 h 1661130"/>
              <a:gd name="T26" fmla="*/ 462156 w 1372594"/>
              <a:gd name="T27" fmla="*/ 3444373 h 1661130"/>
              <a:gd name="T28" fmla="*/ 460684 w 1372594"/>
              <a:gd name="T29" fmla="*/ 3551825 h 1661130"/>
              <a:gd name="T30" fmla="*/ 438280 w 1372594"/>
              <a:gd name="T31" fmla="*/ 3524013 h 1661130"/>
              <a:gd name="T32" fmla="*/ 120746 w 1372594"/>
              <a:gd name="T33" fmla="*/ 2910591 h 1661130"/>
              <a:gd name="T34" fmla="*/ 64218 w 1372594"/>
              <a:gd name="T35" fmla="*/ 2711803 h 1661130"/>
              <a:gd name="T36" fmla="*/ 64215 w 1372594"/>
              <a:gd name="T37" fmla="*/ 2711806 h 1661130"/>
              <a:gd name="T38" fmla="*/ 59273 w 1372594"/>
              <a:gd name="T39" fmla="*/ 2694416 h 1661130"/>
              <a:gd name="T40" fmla="*/ 138420 w 1372594"/>
              <a:gd name="T41" fmla="*/ 1387406 h 1661130"/>
              <a:gd name="T42" fmla="*/ 176436 w 1372594"/>
              <a:gd name="T43" fmla="*/ 1296482 h 1661130"/>
              <a:gd name="T44" fmla="*/ 223899 w 1372594"/>
              <a:gd name="T45" fmla="*/ 1182966 h 1661130"/>
              <a:gd name="T46" fmla="*/ 945784 w 1372594"/>
              <a:gd name="T47" fmla="*/ 314951 h 1661130"/>
              <a:gd name="T48" fmla="*/ 1347205 w 1372594"/>
              <a:gd name="T49" fmla="*/ 80559 h 166113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372594"/>
              <a:gd name="T76" fmla="*/ 0 h 1661130"/>
              <a:gd name="T77" fmla="*/ 1372594 w 1372594"/>
              <a:gd name="T78" fmla="*/ 1661130 h 166113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372594" h="1661130">
                <a:moveTo>
                  <a:pt x="726266" y="0"/>
                </a:moveTo>
                <a:lnTo>
                  <a:pt x="748381" y="6850"/>
                </a:lnTo>
                <a:cubicBezTo>
                  <a:pt x="942906" y="77489"/>
                  <a:pt x="1119148" y="204974"/>
                  <a:pt x="1249948" y="385005"/>
                </a:cubicBezTo>
                <a:cubicBezTo>
                  <a:pt x="1293548" y="445015"/>
                  <a:pt x="1330036" y="508024"/>
                  <a:pt x="1359570" y="573024"/>
                </a:cubicBezTo>
                <a:lnTo>
                  <a:pt x="1372594" y="605952"/>
                </a:lnTo>
                <a:lnTo>
                  <a:pt x="1354556" y="603971"/>
                </a:lnTo>
                <a:cubicBezTo>
                  <a:pt x="1148536" y="591255"/>
                  <a:pt x="937813" y="637536"/>
                  <a:pt x="749543" y="747117"/>
                </a:cubicBezTo>
                <a:lnTo>
                  <a:pt x="728408" y="760899"/>
                </a:lnTo>
                <a:lnTo>
                  <a:pt x="657405" y="807202"/>
                </a:lnTo>
                <a:cubicBezTo>
                  <a:pt x="567389" y="872602"/>
                  <a:pt x="490511" y="949362"/>
                  <a:pt x="427305" y="1034089"/>
                </a:cubicBezTo>
                <a:lnTo>
                  <a:pt x="411023" y="1058323"/>
                </a:lnTo>
                <a:lnTo>
                  <a:pt x="411023" y="1058322"/>
                </a:lnTo>
                <a:lnTo>
                  <a:pt x="368680" y="1121343"/>
                </a:lnTo>
                <a:cubicBezTo>
                  <a:pt x="278631" y="1270776"/>
                  <a:pt x="227064" y="1439192"/>
                  <a:pt x="216467" y="1610875"/>
                </a:cubicBezTo>
                <a:lnTo>
                  <a:pt x="215776" y="1661130"/>
                </a:lnTo>
                <a:cubicBezTo>
                  <a:pt x="212278" y="1656794"/>
                  <a:pt x="208780" y="1652458"/>
                  <a:pt x="205283" y="1648122"/>
                </a:cubicBezTo>
                <a:cubicBezTo>
                  <a:pt x="139883" y="1558107"/>
                  <a:pt x="90487" y="1461346"/>
                  <a:pt x="56556" y="1361235"/>
                </a:cubicBezTo>
                <a:lnTo>
                  <a:pt x="30079" y="1268266"/>
                </a:lnTo>
                <a:lnTo>
                  <a:pt x="30078" y="1268267"/>
                </a:lnTo>
                <a:lnTo>
                  <a:pt x="27762" y="1260134"/>
                </a:lnTo>
                <a:cubicBezTo>
                  <a:pt x="-19596" y="1056200"/>
                  <a:pt x="-5804" y="843391"/>
                  <a:pt x="64834" y="648866"/>
                </a:cubicBezTo>
                <a:lnTo>
                  <a:pt x="82640" y="606344"/>
                </a:lnTo>
                <a:lnTo>
                  <a:pt x="104871" y="553253"/>
                </a:lnTo>
                <a:cubicBezTo>
                  <a:pt x="179427" y="396855"/>
                  <a:pt x="292963" y="256298"/>
                  <a:pt x="442989" y="147298"/>
                </a:cubicBezTo>
                <a:cubicBezTo>
                  <a:pt x="502999" y="103698"/>
                  <a:pt x="566007" y="67212"/>
                  <a:pt x="631007" y="37677"/>
                </a:cubicBezTo>
                <a:lnTo>
                  <a:pt x="726266" y="0"/>
                </a:lnTo>
                <a:close/>
              </a:path>
            </a:pathLst>
          </a:custGeom>
          <a:solidFill>
            <a:srgbClr val="C20F2A"/>
          </a:solidFill>
          <a:ln w="12700">
            <a:solidFill>
              <a:schemeClr val="bg1"/>
            </a:solidFill>
            <a:miter lim="800000"/>
            <a:headEnd/>
            <a:tailEnd/>
          </a:ln>
        </p:spPr>
        <p:txBody>
          <a:bodyPr lIns="0" tIns="180000" rIns="0" bIns="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20000"/>
              </a:lnSpc>
              <a:spcBef>
                <a:spcPct val="0"/>
              </a:spcBef>
              <a:buFontTx/>
              <a:buNone/>
            </a:pPr>
            <a:endParaRPr lang="en-US" altLang="zh-CN" sz="2000" b="1">
              <a:solidFill>
                <a:schemeClr val="bg1"/>
              </a:solidFill>
              <a:latin typeface="微软雅黑" panose="020B0503020204020204" pitchFamily="34" charset="-122"/>
              <a:ea typeface="微软雅黑" panose="020B0503020204020204" pitchFamily="34" charset="-122"/>
            </a:endParaRPr>
          </a:p>
          <a:p>
            <a:pPr algn="ctr" eaLnBrk="1" hangingPunct="1">
              <a:lnSpc>
                <a:spcPct val="120000"/>
              </a:lnSpc>
              <a:spcBef>
                <a:spcPct val="0"/>
              </a:spcBef>
              <a:buFontTx/>
              <a:buNone/>
            </a:pPr>
            <a:r>
              <a:rPr lang="en-US" altLang="zh-CN" sz="2000" b="1">
                <a:solidFill>
                  <a:schemeClr val="bg1"/>
                </a:solidFill>
                <a:latin typeface="微软雅黑" panose="020B0503020204020204" pitchFamily="34" charset="-122"/>
                <a:ea typeface="微软雅黑" panose="020B0503020204020204" pitchFamily="34" charset="-122"/>
              </a:rPr>
              <a:t>TITLE</a:t>
            </a:r>
            <a:endParaRPr lang="zh-CN" altLang="en-US" sz="2000" b="1">
              <a:solidFill>
                <a:schemeClr val="bg1"/>
              </a:solidFill>
              <a:latin typeface="微软雅黑" panose="020B0503020204020204" pitchFamily="34" charset="-122"/>
              <a:ea typeface="微软雅黑" panose="020B0503020204020204" pitchFamily="34" charset="-122"/>
            </a:endParaRPr>
          </a:p>
        </p:txBody>
      </p:sp>
      <p:sp>
        <p:nvSpPr>
          <p:cNvPr id="8" name="任意多边形 19">
            <a:extLst>
              <a:ext uri="{FF2B5EF4-FFF2-40B4-BE49-F238E27FC236}">
                <a16:creationId xmlns:a16="http://schemas.microsoft.com/office/drawing/2014/main" id="{11D78BEA-E52E-4A65-8A3D-ED997C740104}"/>
              </a:ext>
            </a:extLst>
          </p:cNvPr>
          <p:cNvSpPr>
            <a:spLocks/>
          </p:cNvSpPr>
          <p:nvPr/>
        </p:nvSpPr>
        <p:spPr bwMode="auto">
          <a:xfrm rot="3293688">
            <a:off x="8874125" y="2411413"/>
            <a:ext cx="2168525" cy="2101850"/>
          </a:xfrm>
          <a:custGeom>
            <a:avLst/>
            <a:gdLst>
              <a:gd name="T0" fmla="*/ 504881 w 1479913"/>
              <a:gd name="T1" fmla="*/ 864520 h 1435996"/>
              <a:gd name="T2" fmla="*/ 530687 w 1479913"/>
              <a:gd name="T3" fmla="*/ 835290 h 1435996"/>
              <a:gd name="T4" fmla="*/ 651509 w 1479913"/>
              <a:gd name="T5" fmla="*/ 698451 h 1435996"/>
              <a:gd name="T6" fmla="*/ 2039292 w 1479913"/>
              <a:gd name="T7" fmla="*/ 13219 h 1435996"/>
              <a:gd name="T8" fmla="*/ 2239567 w 1479913"/>
              <a:gd name="T9" fmla="*/ 0 h 1435996"/>
              <a:gd name="T10" fmla="*/ 2327171 w 1479913"/>
              <a:gd name="T11" fmla="*/ 63243 h 1435996"/>
              <a:gd name="T12" fmla="*/ 3180594 w 1479913"/>
              <a:gd name="T13" fmla="*/ 1593838 h 1435996"/>
              <a:gd name="T14" fmla="*/ 3184178 w 1479913"/>
              <a:gd name="T15" fmla="*/ 1647870 h 1435996"/>
              <a:gd name="T16" fmla="*/ 2987766 w 1479913"/>
              <a:gd name="T17" fmla="*/ 1579609 h 1435996"/>
              <a:gd name="T18" fmla="*/ 2298761 w 1479913"/>
              <a:gd name="T19" fmla="*/ 1486656 h 1435996"/>
              <a:gd name="T20" fmla="*/ 1833635 w 1479913"/>
              <a:gd name="T21" fmla="*/ 1540760 h 1435996"/>
              <a:gd name="T22" fmla="*/ 1760153 w 1479913"/>
              <a:gd name="T23" fmla="*/ 1560833 h 1435996"/>
              <a:gd name="T24" fmla="*/ 1613001 w 1479913"/>
              <a:gd name="T25" fmla="*/ 1601030 h 1435996"/>
              <a:gd name="T26" fmla="*/ 1012517 w 1479913"/>
              <a:gd name="T27" fmla="*/ 1900587 h 1435996"/>
              <a:gd name="T28" fmla="*/ 922224 w 1479913"/>
              <a:gd name="T29" fmla="*/ 1970159 h 1435996"/>
              <a:gd name="T30" fmla="*/ 836646 w 1479913"/>
              <a:gd name="T31" fmla="*/ 2036100 h 1435996"/>
              <a:gd name="T32" fmla="*/ 190915 w 1479913"/>
              <a:gd name="T33" fmla="*/ 2928119 h 1435996"/>
              <a:gd name="T34" fmla="*/ 137170 w 1479913"/>
              <a:gd name="T35" fmla="*/ 3082004 h 1435996"/>
              <a:gd name="T36" fmla="*/ 114657 w 1479913"/>
              <a:gd name="T37" fmla="*/ 3023502 h 1435996"/>
              <a:gd name="T38" fmla="*/ 0 w 1479913"/>
              <a:gd name="T39" fmla="*/ 2339446 h 1435996"/>
              <a:gd name="T40" fmla="*/ 6349 w 1479913"/>
              <a:gd name="T41" fmla="*/ 2157625 h 1435996"/>
              <a:gd name="T42" fmla="*/ 8244 w 1479913"/>
              <a:gd name="T43" fmla="*/ 2103507 h 1435996"/>
              <a:gd name="T44" fmla="*/ 504881 w 1479913"/>
              <a:gd name="T45" fmla="*/ 864520 h 143599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79913"/>
              <a:gd name="T70" fmla="*/ 0 h 1435996"/>
              <a:gd name="T71" fmla="*/ 1479913 w 1479913"/>
              <a:gd name="T72" fmla="*/ 1435996 h 143599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79913" h="1435996">
                <a:moveTo>
                  <a:pt x="234654" y="402805"/>
                </a:moveTo>
                <a:lnTo>
                  <a:pt x="246648" y="389187"/>
                </a:lnTo>
                <a:lnTo>
                  <a:pt x="302802" y="325428"/>
                </a:lnTo>
                <a:cubicBezTo>
                  <a:pt x="470261" y="152656"/>
                  <a:pt x="695391" y="35781"/>
                  <a:pt x="947803" y="6159"/>
                </a:cubicBezTo>
                <a:lnTo>
                  <a:pt x="1040885" y="0"/>
                </a:lnTo>
                <a:lnTo>
                  <a:pt x="1081601" y="29467"/>
                </a:lnTo>
                <a:cubicBezTo>
                  <a:pt x="1296576" y="201307"/>
                  <a:pt x="1444392" y="454144"/>
                  <a:pt x="1478246" y="742615"/>
                </a:cubicBezTo>
                <a:lnTo>
                  <a:pt x="1479913" y="767791"/>
                </a:lnTo>
                <a:lnTo>
                  <a:pt x="1388627" y="735987"/>
                </a:lnTo>
                <a:cubicBezTo>
                  <a:pt x="1287214" y="706174"/>
                  <a:pt x="1179649" y="690939"/>
                  <a:pt x="1068397" y="692677"/>
                </a:cubicBezTo>
                <a:cubicBezTo>
                  <a:pt x="994229" y="693835"/>
                  <a:pt x="921935" y="702482"/>
                  <a:pt x="852220" y="717885"/>
                </a:cubicBezTo>
                <a:lnTo>
                  <a:pt x="818068" y="727238"/>
                </a:lnTo>
                <a:lnTo>
                  <a:pt x="749675" y="745967"/>
                </a:lnTo>
                <a:cubicBezTo>
                  <a:pt x="649244" y="778934"/>
                  <a:pt x="555417" y="826281"/>
                  <a:pt x="470588" y="885539"/>
                </a:cubicBezTo>
                <a:lnTo>
                  <a:pt x="428623" y="917955"/>
                </a:lnTo>
                <a:lnTo>
                  <a:pt x="388849" y="948678"/>
                </a:lnTo>
                <a:cubicBezTo>
                  <a:pt x="257908" y="1060222"/>
                  <a:pt x="154178" y="1202570"/>
                  <a:pt x="88731" y="1364297"/>
                </a:cubicBezTo>
                <a:lnTo>
                  <a:pt x="63752" y="1435996"/>
                </a:lnTo>
                <a:lnTo>
                  <a:pt x="53290" y="1408738"/>
                </a:lnTo>
                <a:cubicBezTo>
                  <a:pt x="20324" y="1308306"/>
                  <a:pt x="1738" y="1201269"/>
                  <a:pt x="0" y="1090016"/>
                </a:cubicBezTo>
                <a:lnTo>
                  <a:pt x="2952" y="1005301"/>
                </a:lnTo>
                <a:lnTo>
                  <a:pt x="3832" y="980085"/>
                </a:lnTo>
                <a:cubicBezTo>
                  <a:pt x="22454" y="763044"/>
                  <a:pt x="105773" y="564036"/>
                  <a:pt x="234654" y="402805"/>
                </a:cubicBezTo>
                <a:close/>
              </a:path>
            </a:pathLst>
          </a:custGeom>
          <a:solidFill>
            <a:srgbClr val="C20F2A"/>
          </a:solidFill>
          <a:ln w="12700">
            <a:solidFill>
              <a:schemeClr val="bg1"/>
            </a:solidFill>
            <a:miter lim="800000"/>
            <a:headEnd/>
            <a:tailEnd/>
          </a:ln>
        </p:spPr>
        <p:txBody>
          <a:bodyPr lIns="216000" tIns="180000" rIns="0" bIns="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20000"/>
              </a:lnSpc>
              <a:spcBef>
                <a:spcPct val="0"/>
              </a:spcBef>
              <a:buFont typeface="Arial" panose="020B0604020202020204" pitchFamily="34" charset="0"/>
              <a:buNone/>
            </a:pPr>
            <a:endParaRPr lang="en-US" altLang="zh-CN" sz="2000" b="1">
              <a:solidFill>
                <a:schemeClr val="bg1"/>
              </a:solidFill>
              <a:latin typeface="微软雅黑" panose="020B0503020204020204" pitchFamily="34" charset="-122"/>
              <a:ea typeface="微软雅黑" panose="020B0503020204020204" pitchFamily="34" charset="-122"/>
            </a:endParaRPr>
          </a:p>
          <a:p>
            <a:pPr algn="ctr" eaLnBrk="1" hangingPunct="1">
              <a:lnSpc>
                <a:spcPct val="120000"/>
              </a:lnSpc>
              <a:spcBef>
                <a:spcPct val="0"/>
              </a:spcBef>
              <a:buFont typeface="Arial" panose="020B0604020202020204" pitchFamily="34" charset="0"/>
              <a:buNone/>
            </a:pPr>
            <a:r>
              <a:rPr lang="en-US" altLang="zh-CN" sz="2000" b="1">
                <a:solidFill>
                  <a:schemeClr val="bg1"/>
                </a:solidFill>
                <a:latin typeface="微软雅黑" panose="020B0503020204020204" pitchFamily="34" charset="-122"/>
                <a:ea typeface="微软雅黑" panose="020B0503020204020204" pitchFamily="34" charset="-122"/>
              </a:rPr>
              <a:t>TITLE</a:t>
            </a:r>
            <a:endParaRPr lang="zh-CN" altLang="en-US" sz="2000" b="1">
              <a:solidFill>
                <a:schemeClr val="bg1"/>
              </a:solidFill>
              <a:latin typeface="微软雅黑" panose="020B0503020204020204" pitchFamily="34" charset="-122"/>
              <a:ea typeface="微软雅黑" panose="020B0503020204020204" pitchFamily="34" charset="-122"/>
            </a:endParaRPr>
          </a:p>
        </p:txBody>
      </p:sp>
      <p:sp>
        <p:nvSpPr>
          <p:cNvPr id="9" name="任意多边形 23">
            <a:extLst>
              <a:ext uri="{FF2B5EF4-FFF2-40B4-BE49-F238E27FC236}">
                <a16:creationId xmlns:a16="http://schemas.microsoft.com/office/drawing/2014/main" id="{2F159451-5192-4372-AFE5-614E15960EE6}"/>
              </a:ext>
            </a:extLst>
          </p:cNvPr>
          <p:cNvSpPr>
            <a:spLocks/>
          </p:cNvSpPr>
          <p:nvPr/>
        </p:nvSpPr>
        <p:spPr bwMode="auto">
          <a:xfrm rot="-2051988">
            <a:off x="8612188" y="3413125"/>
            <a:ext cx="1990725" cy="2451100"/>
          </a:xfrm>
          <a:custGeom>
            <a:avLst/>
            <a:gdLst>
              <a:gd name="T0" fmla="*/ 2408061 w 1360520"/>
              <a:gd name="T1" fmla="*/ 0 h 1674619"/>
              <a:gd name="T2" fmla="*/ 2478881 w 1360520"/>
              <a:gd name="T3" fmla="*/ 88829 h 1674619"/>
              <a:gd name="T4" fmla="*/ 2787138 w 1360520"/>
              <a:gd name="T5" fmla="*/ 682138 h 1674619"/>
              <a:gd name="T6" fmla="*/ 2829552 w 1360520"/>
              <a:gd name="T7" fmla="*/ 828057 h 1674619"/>
              <a:gd name="T8" fmla="*/ 2829553 w 1360520"/>
              <a:gd name="T9" fmla="*/ 828057 h 1674619"/>
              <a:gd name="T10" fmla="*/ 2850733 w 1360520"/>
              <a:gd name="T11" fmla="*/ 900916 h 1674619"/>
              <a:gd name="T12" fmla="*/ 2912015 w 1360520"/>
              <a:gd name="T13" fmla="*/ 1363291 h 1674619"/>
              <a:gd name="T14" fmla="*/ 2830126 w 1360520"/>
              <a:gd name="T15" fmla="*/ 2050957 h 1674619"/>
              <a:gd name="T16" fmla="*/ 2765127 w 1360520"/>
              <a:gd name="T17" fmla="*/ 2247643 h 1674619"/>
              <a:gd name="T18" fmla="*/ 2765127 w 1360520"/>
              <a:gd name="T19" fmla="*/ 2247648 h 1674619"/>
              <a:gd name="T20" fmla="*/ 2759441 w 1360520"/>
              <a:gd name="T21" fmla="*/ 2264852 h 1674619"/>
              <a:gd name="T22" fmla="*/ 1574154 w 1360520"/>
              <a:gd name="T23" fmla="*/ 3528167 h 1674619"/>
              <a:gd name="T24" fmla="*/ 1423312 w 1360520"/>
              <a:gd name="T25" fmla="*/ 3588862 h 1674619"/>
              <a:gd name="T26" fmla="*/ 1268965 w 1360520"/>
              <a:gd name="T27" fmla="*/ 3537764 h 1674619"/>
              <a:gd name="T28" fmla="*/ 6754 w 1360520"/>
              <a:gd name="T29" fmla="*/ 2351438 h 1674619"/>
              <a:gd name="T30" fmla="*/ 0 w 1360520"/>
              <a:gd name="T31" fmla="*/ 2334632 h 1674619"/>
              <a:gd name="T32" fmla="*/ 181470 w 1360520"/>
              <a:gd name="T33" fmla="*/ 2338090 h 1674619"/>
              <a:gd name="T34" fmla="*/ 1268848 w 1360520"/>
              <a:gd name="T35" fmla="*/ 2025820 h 1674619"/>
              <a:gd name="T36" fmla="*/ 1372115 w 1360520"/>
              <a:gd name="T37" fmla="*/ 1958495 h 1674619"/>
              <a:gd name="T38" fmla="*/ 1372115 w 1360520"/>
              <a:gd name="T39" fmla="*/ 1958492 h 1674619"/>
              <a:gd name="T40" fmla="*/ 1454826 w 1360520"/>
              <a:gd name="T41" fmla="*/ 1904569 h 1674619"/>
              <a:gd name="T42" fmla="*/ 1929611 w 1360520"/>
              <a:gd name="T43" fmla="*/ 1444714 h 1674619"/>
              <a:gd name="T44" fmla="*/ 2028002 w 1360520"/>
              <a:gd name="T45" fmla="*/ 1304020 h 1674619"/>
              <a:gd name="T46" fmla="*/ 2035984 w 1360520"/>
              <a:gd name="T47" fmla="*/ 1301693 h 1674619"/>
              <a:gd name="T48" fmla="*/ 2035981 w 1360520"/>
              <a:gd name="T49" fmla="*/ 1301693 h 1674619"/>
              <a:gd name="T50" fmla="*/ 2028000 w 1360520"/>
              <a:gd name="T51" fmla="*/ 1304017 h 1674619"/>
              <a:gd name="T52" fmla="*/ 2056420 w 1360520"/>
              <a:gd name="T53" fmla="*/ 1263368 h 1674619"/>
              <a:gd name="T54" fmla="*/ 2404259 w 1360520"/>
              <a:gd name="T55" fmla="*/ 199888 h 167461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60520"/>
              <a:gd name="T85" fmla="*/ 0 h 1674619"/>
              <a:gd name="T86" fmla="*/ 1360520 w 1360520"/>
              <a:gd name="T87" fmla="*/ 1674619 h 167461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60520" h="1674619">
                <a:moveTo>
                  <a:pt x="1124620" y="0"/>
                </a:moveTo>
                <a:lnTo>
                  <a:pt x="1157695" y="41448"/>
                </a:lnTo>
                <a:cubicBezTo>
                  <a:pt x="1218286" y="125330"/>
                  <a:pt x="1267110" y="218397"/>
                  <a:pt x="1301660" y="318295"/>
                </a:cubicBezTo>
                <a:lnTo>
                  <a:pt x="1321467" y="386383"/>
                </a:lnTo>
                <a:lnTo>
                  <a:pt x="1321468" y="386383"/>
                </a:lnTo>
                <a:lnTo>
                  <a:pt x="1331359" y="420383"/>
                </a:lnTo>
                <a:cubicBezTo>
                  <a:pt x="1347862" y="489845"/>
                  <a:pt x="1357650" y="561994"/>
                  <a:pt x="1359980" y="636134"/>
                </a:cubicBezTo>
                <a:cubicBezTo>
                  <a:pt x="1363475" y="747345"/>
                  <a:pt x="1349943" y="855138"/>
                  <a:pt x="1321735" y="957009"/>
                </a:cubicBezTo>
                <a:lnTo>
                  <a:pt x="1291378" y="1048785"/>
                </a:lnTo>
                <a:lnTo>
                  <a:pt x="1291378" y="1048787"/>
                </a:lnTo>
                <a:lnTo>
                  <a:pt x="1288723" y="1056814"/>
                </a:lnTo>
                <a:cubicBezTo>
                  <a:pt x="1188110" y="1317200"/>
                  <a:pt x="988719" y="1529531"/>
                  <a:pt x="735166" y="1646296"/>
                </a:cubicBezTo>
                <a:lnTo>
                  <a:pt x="664721" y="1674619"/>
                </a:lnTo>
                <a:lnTo>
                  <a:pt x="592637" y="1650776"/>
                </a:lnTo>
                <a:cubicBezTo>
                  <a:pt x="332251" y="1550163"/>
                  <a:pt x="119920" y="1350772"/>
                  <a:pt x="3154" y="1097219"/>
                </a:cubicBezTo>
                <a:lnTo>
                  <a:pt x="0" y="1089374"/>
                </a:lnTo>
                <a:lnTo>
                  <a:pt x="84751" y="1090988"/>
                </a:lnTo>
                <a:cubicBezTo>
                  <a:pt x="270101" y="1085162"/>
                  <a:pt x="443010" y="1032726"/>
                  <a:pt x="592582" y="945279"/>
                </a:cubicBezTo>
                <a:lnTo>
                  <a:pt x="640810" y="913865"/>
                </a:lnTo>
                <a:lnTo>
                  <a:pt x="640810" y="913864"/>
                </a:lnTo>
                <a:lnTo>
                  <a:pt x="679438" y="888703"/>
                </a:lnTo>
                <a:cubicBezTo>
                  <a:pt x="763319" y="828110"/>
                  <a:pt x="838015" y="755750"/>
                  <a:pt x="901173" y="674125"/>
                </a:cubicBezTo>
                <a:lnTo>
                  <a:pt x="947124" y="608476"/>
                </a:lnTo>
                <a:lnTo>
                  <a:pt x="950851" y="607390"/>
                </a:lnTo>
                <a:cubicBezTo>
                  <a:pt x="951472" y="607210"/>
                  <a:pt x="951472" y="607210"/>
                  <a:pt x="950850" y="607390"/>
                </a:cubicBezTo>
                <a:lnTo>
                  <a:pt x="947123" y="608475"/>
                </a:lnTo>
                <a:lnTo>
                  <a:pt x="960398" y="589507"/>
                </a:lnTo>
                <a:cubicBezTo>
                  <a:pt x="1052406" y="443639"/>
                  <a:pt x="1110186" y="274360"/>
                  <a:pt x="1122844" y="93270"/>
                </a:cubicBezTo>
                <a:lnTo>
                  <a:pt x="1124620" y="0"/>
                </a:lnTo>
                <a:close/>
              </a:path>
            </a:pathLst>
          </a:custGeom>
          <a:solidFill>
            <a:srgbClr val="C20F2A"/>
          </a:solidFill>
          <a:ln w="12700">
            <a:solidFill>
              <a:schemeClr val="bg1"/>
            </a:solidFill>
            <a:miter lim="800000"/>
            <a:headEnd/>
            <a:tailEnd/>
          </a:ln>
        </p:spPr>
        <p:txBody>
          <a:bodyPr lIns="0" tIns="0" rIns="0" bIns="252000" anchor="b"/>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20000"/>
              </a:lnSpc>
              <a:spcBef>
                <a:spcPct val="0"/>
              </a:spcBef>
              <a:buFont typeface="Arial" panose="020B0604020202020204" pitchFamily="34" charset="0"/>
              <a:buNone/>
            </a:pPr>
            <a:r>
              <a:rPr lang="en-US" altLang="zh-CN" sz="2000" b="1">
                <a:solidFill>
                  <a:schemeClr val="bg1"/>
                </a:solidFill>
                <a:latin typeface="微软雅黑" panose="020B0503020204020204" pitchFamily="34" charset="-122"/>
                <a:ea typeface="微软雅黑" panose="020B0503020204020204" pitchFamily="34" charset="-122"/>
              </a:rPr>
              <a:t>TITLE</a:t>
            </a:r>
          </a:p>
          <a:p>
            <a:pPr algn="ctr" eaLnBrk="1" hangingPunct="1">
              <a:lnSpc>
                <a:spcPct val="120000"/>
              </a:lnSpc>
              <a:spcBef>
                <a:spcPct val="0"/>
              </a:spcBef>
              <a:buFont typeface="Arial" panose="020B0604020202020204" pitchFamily="34" charset="0"/>
              <a:buNone/>
            </a:pPr>
            <a:endParaRPr lang="zh-CN" altLang="en-US" sz="2000" b="1">
              <a:solidFill>
                <a:schemeClr val="bg1"/>
              </a:solidFill>
              <a:latin typeface="微软雅黑" panose="020B0503020204020204" pitchFamily="34" charset="-122"/>
              <a:ea typeface="微软雅黑" panose="020B0503020204020204" pitchFamily="34" charset="-122"/>
            </a:endParaRPr>
          </a:p>
        </p:txBody>
      </p:sp>
      <p:sp>
        <p:nvSpPr>
          <p:cNvPr id="10" name="任意多边形 27">
            <a:extLst>
              <a:ext uri="{FF2B5EF4-FFF2-40B4-BE49-F238E27FC236}">
                <a16:creationId xmlns:a16="http://schemas.microsoft.com/office/drawing/2014/main" id="{70C57A8B-3C5A-483F-80C5-C6C3CBE65646}"/>
              </a:ext>
            </a:extLst>
          </p:cNvPr>
          <p:cNvSpPr>
            <a:spLocks/>
          </p:cNvSpPr>
          <p:nvPr/>
        </p:nvSpPr>
        <p:spPr bwMode="auto">
          <a:xfrm rot="1555885">
            <a:off x="7399338" y="3640138"/>
            <a:ext cx="2106612" cy="2257425"/>
          </a:xfrm>
          <a:custGeom>
            <a:avLst/>
            <a:gdLst>
              <a:gd name="T0" fmla="*/ 2832770 w 1440240"/>
              <a:gd name="T1" fmla="*/ 0 h 1543357"/>
              <a:gd name="T2" fmla="*/ 2905574 w 1440240"/>
              <a:gd name="T3" fmla="*/ 155163 h 1543357"/>
              <a:gd name="T4" fmla="*/ 3067342 w 1440240"/>
              <a:gd name="T5" fmla="*/ 795010 h 1543357"/>
              <a:gd name="T6" fmla="*/ 3072861 w 1440240"/>
              <a:gd name="T7" fmla="*/ 893463 h 1543357"/>
              <a:gd name="T8" fmla="*/ 3079751 w 1440240"/>
              <a:gd name="T9" fmla="*/ 1016374 h 1543357"/>
              <a:gd name="T10" fmla="*/ 2809128 w 1440240"/>
              <a:gd name="T11" fmla="*/ 2113519 h 1543357"/>
              <a:gd name="T12" fmla="*/ 2715883 w 1440240"/>
              <a:gd name="T13" fmla="*/ 2268998 h 1543357"/>
              <a:gd name="T14" fmla="*/ 2688124 w 1440240"/>
              <a:gd name="T15" fmla="*/ 2315281 h 1543357"/>
              <a:gd name="T16" fmla="*/ 1237102 w 1440240"/>
              <a:gd name="T17" fmla="*/ 3284838 h 1543357"/>
              <a:gd name="T18" fmla="*/ 1130869 w 1440240"/>
              <a:gd name="T19" fmla="*/ 3301135 h 1543357"/>
              <a:gd name="T20" fmla="*/ 959806 w 1440240"/>
              <a:gd name="T21" fmla="*/ 3198489 h 1543357"/>
              <a:gd name="T22" fmla="*/ 44564 w 1440240"/>
              <a:gd name="T23" fmla="*/ 1960911 h 1543357"/>
              <a:gd name="T24" fmla="*/ 0 w 1440240"/>
              <a:gd name="T25" fmla="*/ 1784730 h 1543357"/>
              <a:gd name="T26" fmla="*/ 147353 w 1440240"/>
              <a:gd name="T27" fmla="*/ 1820523 h 1543357"/>
              <a:gd name="T28" fmla="*/ 1246111 w 1440240"/>
              <a:gd name="T29" fmla="*/ 1760810 h 1543357"/>
              <a:gd name="T30" fmla="*/ 1417199 w 1440240"/>
              <a:gd name="T31" fmla="*/ 1699656 h 1543357"/>
              <a:gd name="T32" fmla="*/ 1417199 w 1440240"/>
              <a:gd name="T33" fmla="*/ 1699654 h 1543357"/>
              <a:gd name="T34" fmla="*/ 1453734 w 1440240"/>
              <a:gd name="T35" fmla="*/ 1686592 h 1543357"/>
              <a:gd name="T36" fmla="*/ 2191750 w 1440240"/>
              <a:gd name="T37" fmla="*/ 1198010 h 1543357"/>
              <a:gd name="T38" fmla="*/ 2197352 w 1440240"/>
              <a:gd name="T39" fmla="*/ 1191885 h 1543357"/>
              <a:gd name="T40" fmla="*/ 2197360 w 1440240"/>
              <a:gd name="T41" fmla="*/ 1191886 h 1543357"/>
              <a:gd name="T42" fmla="*/ 2345316 w 1440240"/>
              <a:gd name="T43" fmla="*/ 1030313 h 1543357"/>
              <a:gd name="T44" fmla="*/ 2604387 w 1440240"/>
              <a:gd name="T45" fmla="*/ 643586 h 1543357"/>
              <a:gd name="T46" fmla="*/ 2781084 w 1440240"/>
              <a:gd name="T47" fmla="*/ 212921 h 154335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440240"/>
              <a:gd name="T73" fmla="*/ 0 h 1543357"/>
              <a:gd name="T74" fmla="*/ 1440240 w 1440240"/>
              <a:gd name="T75" fmla="*/ 1543357 h 154335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440240" h="1543357">
                <a:moveTo>
                  <a:pt x="1324711" y="0"/>
                </a:moveTo>
                <a:lnTo>
                  <a:pt x="1358756" y="72541"/>
                </a:lnTo>
                <a:cubicBezTo>
                  <a:pt x="1398084" y="167961"/>
                  <a:pt x="1423633" y="268771"/>
                  <a:pt x="1434403" y="371686"/>
                </a:cubicBezTo>
                <a:lnTo>
                  <a:pt x="1436985" y="417714"/>
                </a:lnTo>
                <a:lnTo>
                  <a:pt x="1440208" y="475179"/>
                </a:lnTo>
                <a:cubicBezTo>
                  <a:pt x="1441550" y="648433"/>
                  <a:pt x="1400909" y="824488"/>
                  <a:pt x="1313654" y="988119"/>
                </a:cubicBezTo>
                <a:lnTo>
                  <a:pt x="1270048" y="1060809"/>
                </a:lnTo>
                <a:lnTo>
                  <a:pt x="1257068" y="1082446"/>
                </a:lnTo>
                <a:cubicBezTo>
                  <a:pt x="1095208" y="1323616"/>
                  <a:pt x="848239" y="1481041"/>
                  <a:pt x="578514" y="1535736"/>
                </a:cubicBezTo>
                <a:lnTo>
                  <a:pt x="528836" y="1543357"/>
                </a:lnTo>
                <a:lnTo>
                  <a:pt x="448840" y="1495366"/>
                </a:lnTo>
                <a:cubicBezTo>
                  <a:pt x="237816" y="1353739"/>
                  <a:pt x="90910" y="1146949"/>
                  <a:pt x="20838" y="916770"/>
                </a:cubicBezTo>
                <a:lnTo>
                  <a:pt x="0" y="834403"/>
                </a:lnTo>
                <a:lnTo>
                  <a:pt x="68908" y="851136"/>
                </a:lnTo>
                <a:cubicBezTo>
                  <a:pt x="241966" y="884120"/>
                  <a:pt x="418314" y="873271"/>
                  <a:pt x="582728" y="823220"/>
                </a:cubicBezTo>
                <a:lnTo>
                  <a:pt x="662734" y="794628"/>
                </a:lnTo>
                <a:lnTo>
                  <a:pt x="662734" y="794627"/>
                </a:lnTo>
                <a:lnTo>
                  <a:pt x="679821" y="788521"/>
                </a:lnTo>
                <a:cubicBezTo>
                  <a:pt x="807046" y="736084"/>
                  <a:pt x="924685" y="659151"/>
                  <a:pt x="1024944" y="560096"/>
                </a:cubicBezTo>
                <a:lnTo>
                  <a:pt x="1027565" y="557234"/>
                </a:lnTo>
                <a:cubicBezTo>
                  <a:pt x="1027566" y="557235"/>
                  <a:pt x="1027567" y="557234"/>
                  <a:pt x="1027568" y="557235"/>
                </a:cubicBezTo>
                <a:lnTo>
                  <a:pt x="1096758" y="481696"/>
                </a:lnTo>
                <a:cubicBezTo>
                  <a:pt x="1142298" y="426711"/>
                  <a:pt x="1183008" y="366344"/>
                  <a:pt x="1217910" y="300892"/>
                </a:cubicBezTo>
                <a:cubicBezTo>
                  <a:pt x="1252812" y="235439"/>
                  <a:pt x="1280255" y="168000"/>
                  <a:pt x="1300538" y="99546"/>
                </a:cubicBezTo>
                <a:lnTo>
                  <a:pt x="1324711" y="0"/>
                </a:lnTo>
                <a:close/>
              </a:path>
            </a:pathLst>
          </a:custGeom>
          <a:solidFill>
            <a:srgbClr val="C20F2A"/>
          </a:solidFill>
          <a:ln w="12700">
            <a:solidFill>
              <a:schemeClr val="bg1"/>
            </a:solidFill>
            <a:miter lim="800000"/>
            <a:headEnd/>
            <a:tailEnd/>
          </a:ln>
        </p:spPr>
        <p:txBody>
          <a:bodyPr lIns="0" tIns="0" rIns="108000" bIns="216000" anchor="b"/>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20000"/>
              </a:lnSpc>
              <a:spcBef>
                <a:spcPct val="0"/>
              </a:spcBef>
              <a:buFont typeface="Arial" panose="020B0604020202020204" pitchFamily="34" charset="0"/>
              <a:buNone/>
            </a:pPr>
            <a:r>
              <a:rPr lang="en-US" altLang="zh-CN" sz="2000" b="1">
                <a:solidFill>
                  <a:schemeClr val="bg1"/>
                </a:solidFill>
                <a:latin typeface="微软雅黑" panose="020B0503020204020204" pitchFamily="34" charset="-122"/>
                <a:ea typeface="微软雅黑" panose="020B0503020204020204" pitchFamily="34" charset="-122"/>
              </a:rPr>
              <a:t>TITLE</a:t>
            </a:r>
          </a:p>
          <a:p>
            <a:pPr algn="ctr" eaLnBrk="1" hangingPunct="1">
              <a:lnSpc>
                <a:spcPct val="120000"/>
              </a:lnSpc>
              <a:spcBef>
                <a:spcPct val="0"/>
              </a:spcBef>
              <a:buFont typeface="Arial" panose="020B0604020202020204" pitchFamily="34" charset="0"/>
              <a:buNone/>
            </a:pPr>
            <a:endParaRPr lang="zh-CN" altLang="en-US" sz="2000" b="1">
              <a:solidFill>
                <a:schemeClr val="bg1"/>
              </a:solidFill>
              <a:latin typeface="微软雅黑" panose="020B0503020204020204" pitchFamily="34" charset="-122"/>
              <a:ea typeface="微软雅黑" panose="020B0503020204020204" pitchFamily="34" charset="-122"/>
            </a:endParaRPr>
          </a:p>
        </p:txBody>
      </p:sp>
      <p:sp>
        <p:nvSpPr>
          <p:cNvPr id="36" name="文本框 56">
            <a:extLst>
              <a:ext uri="{FF2B5EF4-FFF2-40B4-BE49-F238E27FC236}">
                <a16:creationId xmlns:a16="http://schemas.microsoft.com/office/drawing/2014/main" id="{617AE9AB-8BFF-408C-BB99-A726AD7BC1EE}"/>
              </a:ext>
            </a:extLst>
          </p:cNvPr>
          <p:cNvSpPr txBox="1"/>
          <p:nvPr/>
        </p:nvSpPr>
        <p:spPr>
          <a:xfrm>
            <a:off x="1027113" y="1971675"/>
            <a:ext cx="5618162" cy="3970338"/>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l" eaLnBrk="1" fontAlgn="auto" hangingPunct="1">
              <a:lnSpc>
                <a:spcPct val="100000"/>
              </a:lnSpc>
              <a:spcBef>
                <a:spcPts val="0"/>
              </a:spcBef>
              <a:spcAft>
                <a:spcPts val="0"/>
              </a:spcAft>
              <a:defRPr/>
            </a:pPr>
            <a:r>
              <a:rPr lang="en-US" altLang="zh-CN" sz="1800" dirty="0">
                <a:solidFill>
                  <a:schemeClr val="tx1">
                    <a:lumMod val="75000"/>
                    <a:lumOff val="25000"/>
                  </a:schemeClr>
                </a:solidFill>
                <a:latin typeface="+mn-lt"/>
                <a:ea typeface="+mn-ea"/>
              </a:rPr>
              <a:t>click to add subtitle click to add subtitle click to add subtitle click to add subtitle</a:t>
            </a:r>
            <a:r>
              <a:rPr lang="zh-CN" altLang="en-US" sz="1800" dirty="0">
                <a:solidFill>
                  <a:schemeClr val="tx1">
                    <a:lumMod val="75000"/>
                    <a:lumOff val="25000"/>
                  </a:schemeClr>
                </a:solidFill>
                <a:latin typeface="+mn-lt"/>
                <a:ea typeface="+mn-ea"/>
              </a:rPr>
              <a:t> </a:t>
            </a:r>
            <a:r>
              <a:rPr lang="en-US" altLang="zh-CN" sz="1800" dirty="0">
                <a:solidFill>
                  <a:schemeClr val="tx1">
                    <a:lumMod val="75000"/>
                    <a:lumOff val="25000"/>
                  </a:schemeClr>
                </a:solidFill>
                <a:latin typeface="+mn-lt"/>
                <a:ea typeface="+mn-ea"/>
              </a:rPr>
              <a:t>click to add subtitle  click to add subtitle click to add subtitle click to add subtitle click to add subtitle</a:t>
            </a:r>
            <a:r>
              <a:rPr lang="zh-CN" altLang="en-US" sz="1800" dirty="0">
                <a:solidFill>
                  <a:schemeClr val="tx1">
                    <a:lumMod val="75000"/>
                    <a:lumOff val="25000"/>
                  </a:schemeClr>
                </a:solidFill>
                <a:latin typeface="+mn-lt"/>
                <a:ea typeface="+mn-ea"/>
              </a:rPr>
              <a:t> </a:t>
            </a:r>
            <a:r>
              <a:rPr lang="en-US" altLang="zh-CN" sz="1800" dirty="0">
                <a:solidFill>
                  <a:schemeClr val="tx1">
                    <a:lumMod val="75000"/>
                    <a:lumOff val="25000"/>
                  </a:schemeClr>
                </a:solidFill>
                <a:latin typeface="+mn-lt"/>
                <a:ea typeface="+mn-ea"/>
              </a:rPr>
              <a:t>click to add subtitle</a:t>
            </a:r>
            <a:r>
              <a:rPr lang="zh-CN" altLang="en-US" sz="1800" dirty="0">
                <a:solidFill>
                  <a:schemeClr val="tx1">
                    <a:lumMod val="75000"/>
                    <a:lumOff val="25000"/>
                  </a:schemeClr>
                </a:solidFill>
                <a:latin typeface="+mn-lt"/>
                <a:ea typeface="+mn-ea"/>
              </a:rPr>
              <a:t>  </a:t>
            </a:r>
            <a:r>
              <a:rPr lang="en-US" altLang="zh-CN" sz="1800" dirty="0">
                <a:solidFill>
                  <a:schemeClr val="tx1">
                    <a:lumMod val="75000"/>
                    <a:lumOff val="25000"/>
                  </a:schemeClr>
                </a:solidFill>
                <a:latin typeface="+mn-lt"/>
                <a:ea typeface="+mn-ea"/>
              </a:rPr>
              <a:t>click to add subtitle click to add subtitle click to add subtitle click to add subtitle  click to add subtitle click to add subtitle  click to add subtitle click to add subtitle click to add subtitle click to add subtitle</a:t>
            </a:r>
            <a:r>
              <a:rPr lang="zh-CN" altLang="en-US" sz="1800" dirty="0">
                <a:solidFill>
                  <a:schemeClr val="tx1">
                    <a:lumMod val="75000"/>
                    <a:lumOff val="25000"/>
                  </a:schemeClr>
                </a:solidFill>
                <a:latin typeface="+mn-lt"/>
                <a:ea typeface="+mn-ea"/>
              </a:rPr>
              <a:t> </a:t>
            </a:r>
            <a:r>
              <a:rPr lang="en-US" altLang="zh-CN" sz="1800" dirty="0">
                <a:solidFill>
                  <a:schemeClr val="tx1">
                    <a:lumMod val="75000"/>
                    <a:lumOff val="25000"/>
                  </a:schemeClr>
                </a:solidFill>
                <a:latin typeface="+mn-lt"/>
                <a:ea typeface="+mn-ea"/>
              </a:rPr>
              <a:t>click to add subtitle  click to add subtitle click to add subtitle click to add subtitle click to add subtitle</a:t>
            </a:r>
            <a:r>
              <a:rPr lang="zh-CN" altLang="en-US" sz="1800" dirty="0">
                <a:solidFill>
                  <a:schemeClr val="tx1">
                    <a:lumMod val="75000"/>
                    <a:lumOff val="25000"/>
                  </a:schemeClr>
                </a:solidFill>
                <a:latin typeface="+mn-lt"/>
                <a:ea typeface="+mn-ea"/>
              </a:rPr>
              <a:t> </a:t>
            </a:r>
            <a:r>
              <a:rPr lang="en-US" altLang="zh-CN" sz="1800" dirty="0">
                <a:solidFill>
                  <a:schemeClr val="tx1">
                    <a:lumMod val="75000"/>
                    <a:lumOff val="25000"/>
                  </a:schemeClr>
                </a:solidFill>
                <a:latin typeface="+mn-lt"/>
                <a:ea typeface="+mn-ea"/>
              </a:rPr>
              <a:t>click to add subtitle</a:t>
            </a:r>
            <a:r>
              <a:rPr lang="zh-CN" altLang="en-US" sz="1800" dirty="0">
                <a:solidFill>
                  <a:schemeClr val="tx1">
                    <a:lumMod val="75000"/>
                    <a:lumOff val="25000"/>
                  </a:schemeClr>
                </a:solidFill>
                <a:latin typeface="+mn-lt"/>
                <a:ea typeface="+mn-ea"/>
              </a:rPr>
              <a:t>  </a:t>
            </a:r>
            <a:r>
              <a:rPr lang="en-US" altLang="zh-CN" sz="1800" dirty="0">
                <a:solidFill>
                  <a:schemeClr val="tx1">
                    <a:lumMod val="75000"/>
                    <a:lumOff val="25000"/>
                  </a:schemeClr>
                </a:solidFill>
                <a:latin typeface="+mn-lt"/>
                <a:ea typeface="+mn-ea"/>
              </a:rPr>
              <a:t>click to add subtitle click to add subtitle click to add subtitle click to add subtitle  click to add subtitle click to add subtitle</a:t>
            </a:r>
            <a:r>
              <a:rPr lang="zh-CN" altLang="en-US" sz="1800" dirty="0">
                <a:solidFill>
                  <a:schemeClr val="tx1">
                    <a:lumMod val="75000"/>
                    <a:lumOff val="25000"/>
                  </a:schemeClr>
                </a:solidFill>
                <a:latin typeface="+mn-lt"/>
                <a:ea typeface="+mn-ea"/>
              </a:rPr>
              <a:t>  </a:t>
            </a:r>
            <a:r>
              <a:rPr lang="en-US" altLang="zh-CN" sz="1800" dirty="0">
                <a:solidFill>
                  <a:schemeClr val="tx1">
                    <a:lumMod val="75000"/>
                    <a:lumOff val="25000"/>
                  </a:schemeClr>
                </a:solidFill>
                <a:latin typeface="+mn-lt"/>
                <a:ea typeface="+mn-ea"/>
              </a:rPr>
              <a:t>click to add subtitle click to add subtitle click to add subtitle click to add subtitle</a:t>
            </a:r>
            <a:r>
              <a:rPr lang="zh-CN" altLang="en-US" sz="1800" dirty="0">
                <a:solidFill>
                  <a:schemeClr val="tx1">
                    <a:lumMod val="75000"/>
                    <a:lumOff val="25000"/>
                  </a:schemeClr>
                </a:solidFill>
                <a:latin typeface="+mn-lt"/>
                <a:ea typeface="+mn-ea"/>
              </a:rPr>
              <a:t> </a:t>
            </a:r>
            <a:r>
              <a:rPr lang="en-US" altLang="zh-CN" sz="1800" dirty="0">
                <a:solidFill>
                  <a:schemeClr val="tx1">
                    <a:lumMod val="75000"/>
                    <a:lumOff val="25000"/>
                  </a:schemeClr>
                </a:solidFill>
                <a:latin typeface="+mn-lt"/>
                <a:ea typeface="+mn-ea"/>
              </a:rPr>
              <a:t>click to add subtitle  click to add subtitle</a:t>
            </a:r>
            <a:endParaRPr lang="zh-CN" altLang="en-US" sz="1800" dirty="0">
              <a:solidFill>
                <a:schemeClr val="tx1">
                  <a:lumMod val="75000"/>
                  <a:lumOff val="25000"/>
                </a:schemeClr>
              </a:solidFill>
              <a:latin typeface="+mn-lt"/>
              <a:ea typeface="+mn-ea"/>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500"/>
                                        <p:tgtEl>
                                          <p:spTgt spid="7"/>
                                        </p:tgtEl>
                                      </p:cBhvr>
                                    </p:animEffect>
                                  </p:childTnLst>
                                </p:cTn>
                              </p:par>
                            </p:childTnLst>
                          </p:cTn>
                        </p:par>
                        <p:par>
                          <p:cTn id="8" fill="hold" nodeType="afterGroup">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left)">
                                      <p:cBhvr>
                                        <p:cTn id="11" dur="500"/>
                                        <p:tgtEl>
                                          <p:spTgt spid="8"/>
                                        </p:tgtEl>
                                      </p:cBhvr>
                                    </p:animEffect>
                                  </p:childTnLst>
                                </p:cTn>
                              </p:par>
                            </p:childTnLst>
                          </p:cTn>
                        </p:par>
                        <p:par>
                          <p:cTn id="12" fill="hold" nodeType="afterGroup">
                            <p:stCondLst>
                              <p:cond delay="1000"/>
                            </p:stCondLst>
                            <p:childTnLst>
                              <p:par>
                                <p:cTn id="13" presetID="22" presetClass="entr" presetSubtype="1"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wipe(up)">
                                      <p:cBhvr>
                                        <p:cTn id="15" dur="500"/>
                                        <p:tgtEl>
                                          <p:spTgt spid="9"/>
                                        </p:tgtEl>
                                      </p:cBhvr>
                                    </p:animEffect>
                                  </p:childTnLst>
                                </p:cTn>
                              </p:par>
                            </p:childTnLst>
                          </p:cTn>
                        </p:par>
                        <p:par>
                          <p:cTn id="16" fill="hold" nodeType="afterGroup">
                            <p:stCondLst>
                              <p:cond delay="1500"/>
                            </p:stCondLst>
                            <p:childTnLst>
                              <p:par>
                                <p:cTn id="17" presetID="22" presetClass="entr" presetSubtype="2"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wipe(right)">
                                      <p:cBhvr>
                                        <p:cTn id="19" dur="500"/>
                                        <p:tgtEl>
                                          <p:spTgt spid="10"/>
                                        </p:tgtEl>
                                      </p:cBhvr>
                                    </p:animEffect>
                                  </p:childTnLst>
                                </p:cTn>
                              </p:par>
                            </p:childTnLst>
                          </p:cTn>
                        </p:par>
                        <p:par>
                          <p:cTn id="20" fill="hold" nodeType="afterGroup">
                            <p:stCondLst>
                              <p:cond delay="2000"/>
                            </p:stCondLst>
                            <p:childTnLst>
                              <p:par>
                                <p:cTn id="21" presetID="22" presetClass="entr" presetSubtype="4" fill="hold" grpId="0" nodeType="after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wipe(down)">
                                      <p:cBhvr>
                                        <p:cTn id="23" dur="500"/>
                                        <p:tgtEl>
                                          <p:spTgt spid="6"/>
                                        </p:tgtEl>
                                      </p:cBhvr>
                                    </p:animEffect>
                                  </p:childTnLst>
                                </p:cTn>
                              </p:par>
                            </p:childTnLst>
                          </p:cTn>
                        </p:par>
                        <p:par>
                          <p:cTn id="24" fill="hold" nodeType="afterGroup">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36"/>
                                        </p:tgtEl>
                                        <p:attrNameLst>
                                          <p:attrName>style.visibility</p:attrName>
                                        </p:attrNameLst>
                                      </p:cBhvr>
                                      <p:to>
                                        <p:strVal val="visible"/>
                                      </p:to>
                                    </p:set>
                                    <p:animEffect transition="in" filter="fade">
                                      <p:cBhvr>
                                        <p:cTn id="27"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36"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a:extLst>
              <a:ext uri="{FF2B5EF4-FFF2-40B4-BE49-F238E27FC236}">
                <a16:creationId xmlns:a16="http://schemas.microsoft.com/office/drawing/2014/main" id="{30E91F65-3AE3-4911-8467-5C99E800246C}"/>
              </a:ext>
            </a:extLst>
          </p:cNvPr>
          <p:cNvGrpSpPr>
            <a:grpSpLocks/>
          </p:cNvGrpSpPr>
          <p:nvPr/>
        </p:nvGrpSpPr>
        <p:grpSpPr bwMode="auto">
          <a:xfrm>
            <a:off x="6908800" y="3044825"/>
            <a:ext cx="519113" cy="519113"/>
            <a:chOff x="1917489" y="2343747"/>
            <a:chExt cx="1088688" cy="1088688"/>
          </a:xfrm>
        </p:grpSpPr>
        <p:sp>
          <p:nvSpPr>
            <p:cNvPr id="7" name="Freeform 12">
              <a:extLst>
                <a:ext uri="{FF2B5EF4-FFF2-40B4-BE49-F238E27FC236}">
                  <a16:creationId xmlns:a16="http://schemas.microsoft.com/office/drawing/2014/main" id="{0180FACD-E979-49C8-86D7-A224B0BC1930}"/>
                </a:ext>
              </a:extLst>
            </p:cNvPr>
            <p:cNvSpPr>
              <a:spLocks/>
            </p:cNvSpPr>
            <p:nvPr/>
          </p:nvSpPr>
          <p:spPr bwMode="auto">
            <a:xfrm>
              <a:off x="1917489" y="2343747"/>
              <a:ext cx="1088688" cy="1088688"/>
            </a:xfrm>
            <a:prstGeom prst="ellipse">
              <a:avLst/>
            </a:prstGeom>
            <a:solidFill>
              <a:srgbClr val="C20F2A"/>
            </a:solidFill>
            <a:ln>
              <a:noFill/>
              <a:headEnd/>
              <a:tailEnd/>
            </a:ln>
          </p:spPr>
          <p:style>
            <a:lnRef idx="1">
              <a:schemeClr val="accent5"/>
            </a:lnRef>
            <a:fillRef idx="3">
              <a:schemeClr val="accent5"/>
            </a:fillRef>
            <a:effectRef idx="2">
              <a:schemeClr val="accent5"/>
            </a:effectRef>
            <a:fontRef idx="minor">
              <a:schemeClr val="lt1"/>
            </a:fontRef>
          </p:style>
          <p:txBody>
            <a:bodyPr/>
            <a:lstStyle/>
            <a:p>
              <a:pPr eaLnBrk="1" fontAlgn="auto" hangingPunct="1">
                <a:spcBef>
                  <a:spcPts val="0"/>
                </a:spcBef>
                <a:spcAft>
                  <a:spcPts val="0"/>
                </a:spcAft>
                <a:defRPr/>
              </a:pPr>
              <a:endParaRPr lang="en-US">
                <a:solidFill>
                  <a:schemeClr val="bg1"/>
                </a:solidFill>
              </a:endParaRPr>
            </a:p>
          </p:txBody>
        </p:sp>
        <p:sp>
          <p:nvSpPr>
            <p:cNvPr id="8" name="矩形 7">
              <a:extLst>
                <a:ext uri="{FF2B5EF4-FFF2-40B4-BE49-F238E27FC236}">
                  <a16:creationId xmlns:a16="http://schemas.microsoft.com/office/drawing/2014/main" id="{FEBF929D-53D0-4688-834B-7CFF08E61879}"/>
                </a:ext>
              </a:extLst>
            </p:cNvPr>
            <p:cNvSpPr/>
            <p:nvPr/>
          </p:nvSpPr>
          <p:spPr>
            <a:xfrm>
              <a:off x="2263738" y="2560154"/>
              <a:ext cx="402849" cy="635899"/>
            </a:xfrm>
            <a:custGeom>
              <a:avLst/>
              <a:gdLst/>
              <a:ahLst/>
              <a:cxnLst/>
              <a:rect l="l" t="t" r="r" b="b"/>
              <a:pathLst>
                <a:path w="612000" h="972000">
                  <a:moveTo>
                    <a:pt x="306000" y="873069"/>
                  </a:moveTo>
                  <a:cubicBezTo>
                    <a:pt x="281147" y="873069"/>
                    <a:pt x="261000" y="893216"/>
                    <a:pt x="261000" y="918069"/>
                  </a:cubicBezTo>
                  <a:cubicBezTo>
                    <a:pt x="261000" y="942922"/>
                    <a:pt x="281147" y="963069"/>
                    <a:pt x="306000" y="963069"/>
                  </a:cubicBezTo>
                  <a:cubicBezTo>
                    <a:pt x="330853" y="963069"/>
                    <a:pt x="351000" y="942922"/>
                    <a:pt x="351000" y="918069"/>
                  </a:cubicBezTo>
                  <a:cubicBezTo>
                    <a:pt x="351000" y="893216"/>
                    <a:pt x="330853" y="873069"/>
                    <a:pt x="306000" y="873069"/>
                  </a:cubicBezTo>
                  <a:close/>
                  <a:moveTo>
                    <a:pt x="54000" y="130499"/>
                  </a:moveTo>
                  <a:lnTo>
                    <a:pt x="54000" y="841501"/>
                  </a:lnTo>
                  <a:lnTo>
                    <a:pt x="558000" y="841501"/>
                  </a:lnTo>
                  <a:lnTo>
                    <a:pt x="558000" y="130499"/>
                  </a:lnTo>
                  <a:close/>
                  <a:moveTo>
                    <a:pt x="0" y="0"/>
                  </a:moveTo>
                  <a:lnTo>
                    <a:pt x="612000" y="0"/>
                  </a:lnTo>
                  <a:lnTo>
                    <a:pt x="612000" y="972000"/>
                  </a:lnTo>
                  <a:lnTo>
                    <a:pt x="0" y="972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solidFill>
                  <a:schemeClr val="bg1"/>
                </a:solidFill>
              </a:endParaRPr>
            </a:p>
          </p:txBody>
        </p:sp>
      </p:grpSp>
      <p:grpSp>
        <p:nvGrpSpPr>
          <p:cNvPr id="10" name="组合 9">
            <a:extLst>
              <a:ext uri="{FF2B5EF4-FFF2-40B4-BE49-F238E27FC236}">
                <a16:creationId xmlns:a16="http://schemas.microsoft.com/office/drawing/2014/main" id="{63534231-500B-49B4-8394-992083212479}"/>
              </a:ext>
            </a:extLst>
          </p:cNvPr>
          <p:cNvGrpSpPr>
            <a:grpSpLocks/>
          </p:cNvGrpSpPr>
          <p:nvPr/>
        </p:nvGrpSpPr>
        <p:grpSpPr bwMode="auto">
          <a:xfrm>
            <a:off x="6908800" y="3792538"/>
            <a:ext cx="519113" cy="519112"/>
            <a:chOff x="7045657" y="2333459"/>
            <a:chExt cx="1088688" cy="1088688"/>
          </a:xfrm>
        </p:grpSpPr>
        <p:sp>
          <p:nvSpPr>
            <p:cNvPr id="12" name="Freeform 12">
              <a:extLst>
                <a:ext uri="{FF2B5EF4-FFF2-40B4-BE49-F238E27FC236}">
                  <a16:creationId xmlns:a16="http://schemas.microsoft.com/office/drawing/2014/main" id="{C79F6836-6DB6-43C8-884D-CC2103DAD7C5}"/>
                </a:ext>
              </a:extLst>
            </p:cNvPr>
            <p:cNvSpPr>
              <a:spLocks/>
            </p:cNvSpPr>
            <p:nvPr/>
          </p:nvSpPr>
          <p:spPr bwMode="auto">
            <a:xfrm>
              <a:off x="7045657" y="2333459"/>
              <a:ext cx="1088688" cy="1088688"/>
            </a:xfrm>
            <a:prstGeom prst="ellipse">
              <a:avLst/>
            </a:prstGeom>
            <a:solidFill>
              <a:srgbClr val="292929"/>
            </a:solidFill>
            <a:ln>
              <a:noFill/>
              <a:headEnd/>
              <a:tailEnd/>
            </a:ln>
          </p:spPr>
          <p:style>
            <a:lnRef idx="1">
              <a:schemeClr val="accent4"/>
            </a:lnRef>
            <a:fillRef idx="2">
              <a:schemeClr val="accent4"/>
            </a:fillRef>
            <a:effectRef idx="1">
              <a:schemeClr val="accent4"/>
            </a:effectRef>
            <a:fontRef idx="minor">
              <a:schemeClr val="dk1"/>
            </a:fontRef>
          </p:style>
          <p:txBody>
            <a:bodyPr/>
            <a:lstStyle/>
            <a:p>
              <a:pPr eaLnBrk="1" fontAlgn="auto" hangingPunct="1">
                <a:spcBef>
                  <a:spcPts val="0"/>
                </a:spcBef>
                <a:spcAft>
                  <a:spcPts val="0"/>
                </a:spcAft>
                <a:defRPr/>
              </a:pPr>
              <a:endParaRPr lang="en-US"/>
            </a:p>
          </p:txBody>
        </p:sp>
        <p:sp>
          <p:nvSpPr>
            <p:cNvPr id="13" name="椭圆形标注 97">
              <a:extLst>
                <a:ext uri="{FF2B5EF4-FFF2-40B4-BE49-F238E27FC236}">
                  <a16:creationId xmlns:a16="http://schemas.microsoft.com/office/drawing/2014/main" id="{57E9F684-EEBD-4B59-A03E-F221CDD26AA5}"/>
                </a:ext>
              </a:extLst>
            </p:cNvPr>
            <p:cNvSpPr/>
            <p:nvPr/>
          </p:nvSpPr>
          <p:spPr>
            <a:xfrm>
              <a:off x="7278709" y="2586488"/>
              <a:ext cx="625912" cy="585961"/>
            </a:xfrm>
            <a:custGeom>
              <a:avLst/>
              <a:gdLst/>
              <a:ahLst/>
              <a:cxnLst/>
              <a:rect l="l" t="t" r="r" b="b"/>
              <a:pathLst>
                <a:path w="969654" h="903534">
                  <a:moveTo>
                    <a:pt x="813088" y="487443"/>
                  </a:moveTo>
                  <a:cubicBezTo>
                    <a:pt x="793206" y="487443"/>
                    <a:pt x="777088" y="503561"/>
                    <a:pt x="777088" y="523443"/>
                  </a:cubicBezTo>
                  <a:cubicBezTo>
                    <a:pt x="777088" y="543325"/>
                    <a:pt x="793206" y="559443"/>
                    <a:pt x="813088" y="559443"/>
                  </a:cubicBezTo>
                  <a:cubicBezTo>
                    <a:pt x="832970" y="559443"/>
                    <a:pt x="849088" y="543325"/>
                    <a:pt x="849088" y="523443"/>
                  </a:cubicBezTo>
                  <a:cubicBezTo>
                    <a:pt x="849088" y="503561"/>
                    <a:pt x="832970" y="487443"/>
                    <a:pt x="813088" y="487443"/>
                  </a:cubicBezTo>
                  <a:close/>
                  <a:moveTo>
                    <a:pt x="606961" y="487443"/>
                  </a:moveTo>
                  <a:cubicBezTo>
                    <a:pt x="587079" y="487443"/>
                    <a:pt x="570961" y="503561"/>
                    <a:pt x="570961" y="523443"/>
                  </a:cubicBezTo>
                  <a:cubicBezTo>
                    <a:pt x="570961" y="543325"/>
                    <a:pt x="587079" y="559443"/>
                    <a:pt x="606961" y="559443"/>
                  </a:cubicBezTo>
                  <a:cubicBezTo>
                    <a:pt x="626843" y="559443"/>
                    <a:pt x="642961" y="543325"/>
                    <a:pt x="642961" y="523443"/>
                  </a:cubicBezTo>
                  <a:cubicBezTo>
                    <a:pt x="642961" y="503561"/>
                    <a:pt x="626843" y="487443"/>
                    <a:pt x="606961" y="487443"/>
                  </a:cubicBezTo>
                  <a:close/>
                  <a:moveTo>
                    <a:pt x="691345" y="336511"/>
                  </a:moveTo>
                  <a:cubicBezTo>
                    <a:pt x="769490" y="335080"/>
                    <a:pt x="847112" y="364668"/>
                    <a:pt x="901758" y="422110"/>
                  </a:cubicBezTo>
                  <a:cubicBezTo>
                    <a:pt x="999759" y="525126"/>
                    <a:pt x="990612" y="681640"/>
                    <a:pt x="881173" y="774306"/>
                  </a:cubicBezTo>
                  <a:lnTo>
                    <a:pt x="905846" y="903534"/>
                  </a:lnTo>
                  <a:lnTo>
                    <a:pt x="792422" y="824563"/>
                  </a:lnTo>
                  <a:cubicBezTo>
                    <a:pt x="666952" y="867914"/>
                    <a:pt x="525982" y="820668"/>
                    <a:pt x="459770" y="713074"/>
                  </a:cubicBezTo>
                  <a:cubicBezTo>
                    <a:pt x="386891" y="594648"/>
                    <a:pt x="429055" y="444146"/>
                    <a:pt x="554971" y="373268"/>
                  </a:cubicBezTo>
                  <a:cubicBezTo>
                    <a:pt x="597384" y="349394"/>
                    <a:pt x="644458" y="337369"/>
                    <a:pt x="691345" y="336511"/>
                  </a:cubicBezTo>
                  <a:close/>
                  <a:moveTo>
                    <a:pt x="547874" y="187267"/>
                  </a:moveTo>
                  <a:cubicBezTo>
                    <a:pt x="518051" y="187267"/>
                    <a:pt x="493874" y="211444"/>
                    <a:pt x="493874" y="241267"/>
                  </a:cubicBezTo>
                  <a:cubicBezTo>
                    <a:pt x="493874" y="271090"/>
                    <a:pt x="518051" y="295267"/>
                    <a:pt x="547874" y="295267"/>
                  </a:cubicBezTo>
                  <a:cubicBezTo>
                    <a:pt x="577697" y="295267"/>
                    <a:pt x="601874" y="271090"/>
                    <a:pt x="601874" y="241267"/>
                  </a:cubicBezTo>
                  <a:cubicBezTo>
                    <a:pt x="601874" y="211444"/>
                    <a:pt x="577697" y="187267"/>
                    <a:pt x="547874" y="187267"/>
                  </a:cubicBezTo>
                  <a:close/>
                  <a:moveTo>
                    <a:pt x="294449" y="187267"/>
                  </a:moveTo>
                  <a:cubicBezTo>
                    <a:pt x="264626" y="187267"/>
                    <a:pt x="240449" y="211444"/>
                    <a:pt x="240449" y="241267"/>
                  </a:cubicBezTo>
                  <a:cubicBezTo>
                    <a:pt x="240449" y="271090"/>
                    <a:pt x="264626" y="295267"/>
                    <a:pt x="294449" y="295267"/>
                  </a:cubicBezTo>
                  <a:cubicBezTo>
                    <a:pt x="324272" y="295267"/>
                    <a:pt x="348449" y="271090"/>
                    <a:pt x="348449" y="241267"/>
                  </a:cubicBezTo>
                  <a:cubicBezTo>
                    <a:pt x="348449" y="211444"/>
                    <a:pt x="324272" y="187267"/>
                    <a:pt x="294449" y="187267"/>
                  </a:cubicBezTo>
                  <a:close/>
                  <a:moveTo>
                    <a:pt x="408549" y="168"/>
                  </a:moveTo>
                  <a:cubicBezTo>
                    <a:pt x="456533" y="-1113"/>
                    <a:pt x="505397" y="4870"/>
                    <a:pt x="553141" y="18800"/>
                  </a:cubicBezTo>
                  <a:cubicBezTo>
                    <a:pt x="730896" y="70663"/>
                    <a:pt x="843952" y="217556"/>
                    <a:pt x="840274" y="375462"/>
                  </a:cubicBezTo>
                  <a:cubicBezTo>
                    <a:pt x="754752" y="310337"/>
                    <a:pt x="632797" y="302687"/>
                    <a:pt x="535419" y="357502"/>
                  </a:cubicBezTo>
                  <a:cubicBezTo>
                    <a:pt x="409503" y="428380"/>
                    <a:pt x="367339" y="578882"/>
                    <a:pt x="440218" y="697308"/>
                  </a:cubicBezTo>
                  <a:cubicBezTo>
                    <a:pt x="450352" y="713775"/>
                    <a:pt x="462237" y="728829"/>
                    <a:pt x="478397" y="739559"/>
                  </a:cubicBezTo>
                  <a:cubicBezTo>
                    <a:pt x="442192" y="745523"/>
                    <a:pt x="404623" y="745773"/>
                    <a:pt x="366675" y="741395"/>
                  </a:cubicBezTo>
                  <a:lnTo>
                    <a:pt x="245711" y="837584"/>
                  </a:lnTo>
                  <a:lnTo>
                    <a:pt x="214226" y="696474"/>
                  </a:lnTo>
                  <a:cubicBezTo>
                    <a:pt x="11680" y="595442"/>
                    <a:pt x="-59861" y="368389"/>
                    <a:pt x="54436" y="189343"/>
                  </a:cubicBezTo>
                  <a:cubicBezTo>
                    <a:pt x="128564" y="73222"/>
                    <a:pt x="264598" y="4010"/>
                    <a:pt x="408549" y="16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grpSp>
      <p:grpSp>
        <p:nvGrpSpPr>
          <p:cNvPr id="15" name="组合 14">
            <a:extLst>
              <a:ext uri="{FF2B5EF4-FFF2-40B4-BE49-F238E27FC236}">
                <a16:creationId xmlns:a16="http://schemas.microsoft.com/office/drawing/2014/main" id="{724B9A6A-AD3D-4EA1-BA89-67A3796C23E1}"/>
              </a:ext>
            </a:extLst>
          </p:cNvPr>
          <p:cNvGrpSpPr>
            <a:grpSpLocks/>
          </p:cNvGrpSpPr>
          <p:nvPr/>
        </p:nvGrpSpPr>
        <p:grpSpPr bwMode="auto">
          <a:xfrm>
            <a:off x="6908800" y="4540250"/>
            <a:ext cx="519113" cy="517525"/>
            <a:chOff x="1917489" y="4536552"/>
            <a:chExt cx="1088688" cy="1088688"/>
          </a:xfrm>
        </p:grpSpPr>
        <p:sp>
          <p:nvSpPr>
            <p:cNvPr id="17" name="Freeform 12">
              <a:extLst>
                <a:ext uri="{FF2B5EF4-FFF2-40B4-BE49-F238E27FC236}">
                  <a16:creationId xmlns:a16="http://schemas.microsoft.com/office/drawing/2014/main" id="{18087B72-7FCE-4471-A0E4-CF2250535DBA}"/>
                </a:ext>
              </a:extLst>
            </p:cNvPr>
            <p:cNvSpPr>
              <a:spLocks/>
            </p:cNvSpPr>
            <p:nvPr/>
          </p:nvSpPr>
          <p:spPr bwMode="auto">
            <a:xfrm>
              <a:off x="1917489" y="4536552"/>
              <a:ext cx="1088688" cy="1088688"/>
            </a:xfrm>
            <a:prstGeom prst="ellipse">
              <a:avLst/>
            </a:prstGeom>
            <a:solidFill>
              <a:srgbClr val="C20F2A"/>
            </a:solidFill>
            <a:ln>
              <a:noFill/>
              <a:headEnd/>
              <a:tailEnd/>
            </a:ln>
          </p:spPr>
          <p:style>
            <a:lnRef idx="1">
              <a:schemeClr val="accent2"/>
            </a:lnRef>
            <a:fillRef idx="3">
              <a:schemeClr val="accent2"/>
            </a:fillRef>
            <a:effectRef idx="2">
              <a:schemeClr val="accent2"/>
            </a:effectRef>
            <a:fontRef idx="minor">
              <a:schemeClr val="lt1"/>
            </a:fontRef>
          </p:style>
          <p:txBody>
            <a:bodyPr/>
            <a:lstStyle/>
            <a:p>
              <a:pPr eaLnBrk="1" fontAlgn="auto" hangingPunct="1">
                <a:spcBef>
                  <a:spcPts val="0"/>
                </a:spcBef>
                <a:spcAft>
                  <a:spcPts val="0"/>
                </a:spcAft>
                <a:defRPr/>
              </a:pPr>
              <a:endParaRPr lang="en-US"/>
            </a:p>
          </p:txBody>
        </p:sp>
        <p:sp>
          <p:nvSpPr>
            <p:cNvPr id="18" name="矩形 6">
              <a:extLst>
                <a:ext uri="{FF2B5EF4-FFF2-40B4-BE49-F238E27FC236}">
                  <a16:creationId xmlns:a16="http://schemas.microsoft.com/office/drawing/2014/main" id="{04661475-9F06-42E7-AADC-47C83B2C28A4}"/>
                </a:ext>
              </a:extLst>
            </p:cNvPr>
            <p:cNvSpPr/>
            <p:nvPr/>
          </p:nvSpPr>
          <p:spPr>
            <a:xfrm>
              <a:off x="2143883" y="4820413"/>
              <a:ext cx="635901" cy="517627"/>
            </a:xfrm>
            <a:custGeom>
              <a:avLst/>
              <a:gdLst/>
              <a:ahLst/>
              <a:cxnLst/>
              <a:rect l="l" t="t" r="r" b="b"/>
              <a:pathLst>
                <a:path w="684048" h="556307">
                  <a:moveTo>
                    <a:pt x="222901" y="383453"/>
                  </a:moveTo>
                  <a:cubicBezTo>
                    <a:pt x="218315" y="383977"/>
                    <a:pt x="213613" y="385281"/>
                    <a:pt x="209039" y="387420"/>
                  </a:cubicBezTo>
                  <a:cubicBezTo>
                    <a:pt x="190739" y="395979"/>
                    <a:pt x="181407" y="414680"/>
                    <a:pt x="188193" y="429191"/>
                  </a:cubicBezTo>
                  <a:cubicBezTo>
                    <a:pt x="194980" y="443702"/>
                    <a:pt x="215317" y="448527"/>
                    <a:pt x="233616" y="439969"/>
                  </a:cubicBezTo>
                  <a:cubicBezTo>
                    <a:pt x="251915" y="431410"/>
                    <a:pt x="261248" y="412709"/>
                    <a:pt x="254461" y="398198"/>
                  </a:cubicBezTo>
                  <a:cubicBezTo>
                    <a:pt x="249371" y="387315"/>
                    <a:pt x="236659" y="381879"/>
                    <a:pt x="222901" y="383453"/>
                  </a:cubicBezTo>
                  <a:close/>
                  <a:moveTo>
                    <a:pt x="284035" y="369073"/>
                  </a:moveTo>
                  <a:cubicBezTo>
                    <a:pt x="281538" y="368297"/>
                    <a:pt x="278657" y="368441"/>
                    <a:pt x="275985" y="369691"/>
                  </a:cubicBezTo>
                  <a:cubicBezTo>
                    <a:pt x="270641" y="372190"/>
                    <a:pt x="268154" y="378164"/>
                    <a:pt x="270432" y="383034"/>
                  </a:cubicBezTo>
                  <a:cubicBezTo>
                    <a:pt x="272710" y="387904"/>
                    <a:pt x="278888" y="389825"/>
                    <a:pt x="284233" y="387325"/>
                  </a:cubicBezTo>
                  <a:cubicBezTo>
                    <a:pt x="289577" y="384826"/>
                    <a:pt x="292063" y="378852"/>
                    <a:pt x="289785" y="373982"/>
                  </a:cubicBezTo>
                  <a:cubicBezTo>
                    <a:pt x="288647" y="371547"/>
                    <a:pt x="286533" y="369850"/>
                    <a:pt x="284035" y="369073"/>
                  </a:cubicBezTo>
                  <a:close/>
                  <a:moveTo>
                    <a:pt x="266604" y="297070"/>
                  </a:moveTo>
                  <a:cubicBezTo>
                    <a:pt x="319078" y="300338"/>
                    <a:pt x="362309" y="335548"/>
                    <a:pt x="367763" y="383070"/>
                  </a:cubicBezTo>
                  <a:cubicBezTo>
                    <a:pt x="373996" y="437381"/>
                    <a:pt x="328527" y="487207"/>
                    <a:pt x="266205" y="494360"/>
                  </a:cubicBezTo>
                  <a:cubicBezTo>
                    <a:pt x="203883" y="501513"/>
                    <a:pt x="148308" y="463284"/>
                    <a:pt x="142074" y="408972"/>
                  </a:cubicBezTo>
                  <a:cubicBezTo>
                    <a:pt x="135841" y="354661"/>
                    <a:pt x="181310" y="304835"/>
                    <a:pt x="243632" y="297682"/>
                  </a:cubicBezTo>
                  <a:cubicBezTo>
                    <a:pt x="251423" y="296788"/>
                    <a:pt x="259108" y="296603"/>
                    <a:pt x="266604" y="297070"/>
                  </a:cubicBezTo>
                  <a:close/>
                  <a:moveTo>
                    <a:pt x="297042" y="252387"/>
                  </a:moveTo>
                  <a:cubicBezTo>
                    <a:pt x="283618" y="252176"/>
                    <a:pt x="269820" y="252839"/>
                    <a:pt x="255793" y="254449"/>
                  </a:cubicBezTo>
                  <a:cubicBezTo>
                    <a:pt x="143583" y="267328"/>
                    <a:pt x="59288" y="335880"/>
                    <a:pt x="67516" y="407566"/>
                  </a:cubicBezTo>
                  <a:cubicBezTo>
                    <a:pt x="75743" y="479252"/>
                    <a:pt x="173377" y="526925"/>
                    <a:pt x="285587" y="514046"/>
                  </a:cubicBezTo>
                  <a:cubicBezTo>
                    <a:pt x="397797" y="501168"/>
                    <a:pt x="482091" y="432615"/>
                    <a:pt x="473864" y="360929"/>
                  </a:cubicBezTo>
                  <a:cubicBezTo>
                    <a:pt x="466665" y="298204"/>
                    <a:pt x="391015" y="253864"/>
                    <a:pt x="297042" y="252387"/>
                  </a:cubicBezTo>
                  <a:close/>
                  <a:moveTo>
                    <a:pt x="509416" y="97868"/>
                  </a:moveTo>
                  <a:cubicBezTo>
                    <a:pt x="544841" y="99182"/>
                    <a:pt x="588107" y="127580"/>
                    <a:pt x="590257" y="183051"/>
                  </a:cubicBezTo>
                  <a:cubicBezTo>
                    <a:pt x="592352" y="199448"/>
                    <a:pt x="588214" y="215684"/>
                    <a:pt x="579852" y="229407"/>
                  </a:cubicBezTo>
                  <a:lnTo>
                    <a:pt x="580228" y="229581"/>
                  </a:lnTo>
                  <a:cubicBezTo>
                    <a:pt x="580244" y="229743"/>
                    <a:pt x="580186" y="229872"/>
                    <a:pt x="580126" y="230000"/>
                  </a:cubicBezTo>
                  <a:lnTo>
                    <a:pt x="578707" y="232024"/>
                  </a:lnTo>
                  <a:cubicBezTo>
                    <a:pt x="578590" y="232839"/>
                    <a:pt x="578192" y="233485"/>
                    <a:pt x="577787" y="234126"/>
                  </a:cubicBezTo>
                  <a:lnTo>
                    <a:pt x="577385" y="233908"/>
                  </a:lnTo>
                  <a:cubicBezTo>
                    <a:pt x="572286" y="241165"/>
                    <a:pt x="563167" y="244302"/>
                    <a:pt x="554750" y="241632"/>
                  </a:cubicBezTo>
                  <a:lnTo>
                    <a:pt x="548315" y="238643"/>
                  </a:lnTo>
                  <a:cubicBezTo>
                    <a:pt x="539522" y="233101"/>
                    <a:pt x="536249" y="221620"/>
                    <a:pt x="540834" y="211750"/>
                  </a:cubicBezTo>
                  <a:lnTo>
                    <a:pt x="541088" y="211402"/>
                  </a:lnTo>
                  <a:lnTo>
                    <a:pt x="541243" y="211474"/>
                  </a:lnTo>
                  <a:cubicBezTo>
                    <a:pt x="549302" y="193084"/>
                    <a:pt x="546794" y="175359"/>
                    <a:pt x="541863" y="165391"/>
                  </a:cubicBezTo>
                  <a:cubicBezTo>
                    <a:pt x="534763" y="151042"/>
                    <a:pt x="514479" y="135118"/>
                    <a:pt x="480142" y="145181"/>
                  </a:cubicBezTo>
                  <a:lnTo>
                    <a:pt x="480025" y="144483"/>
                  </a:lnTo>
                  <a:cubicBezTo>
                    <a:pt x="471706" y="144624"/>
                    <a:pt x="464282" y="140887"/>
                    <a:pt x="461009" y="134412"/>
                  </a:cubicBezTo>
                  <a:lnTo>
                    <a:pt x="458966" y="128175"/>
                  </a:lnTo>
                  <a:cubicBezTo>
                    <a:pt x="457496" y="119354"/>
                    <a:pt x="463572" y="110158"/>
                    <a:pt x="473636" y="106144"/>
                  </a:cubicBezTo>
                  <a:lnTo>
                    <a:pt x="473571" y="105761"/>
                  </a:lnTo>
                  <a:cubicBezTo>
                    <a:pt x="485121" y="99922"/>
                    <a:pt x="497817" y="97438"/>
                    <a:pt x="509416" y="97868"/>
                  </a:cubicBezTo>
                  <a:close/>
                  <a:moveTo>
                    <a:pt x="286518" y="82088"/>
                  </a:moveTo>
                  <a:cubicBezTo>
                    <a:pt x="376738" y="91976"/>
                    <a:pt x="317665" y="163994"/>
                    <a:pt x="337363" y="184000"/>
                  </a:cubicBezTo>
                  <a:cubicBezTo>
                    <a:pt x="387081" y="179119"/>
                    <a:pt x="437510" y="146098"/>
                    <a:pt x="486517" y="169358"/>
                  </a:cubicBezTo>
                  <a:cubicBezTo>
                    <a:pt x="533076" y="203014"/>
                    <a:pt x="494312" y="233925"/>
                    <a:pt x="501054" y="264835"/>
                  </a:cubicBezTo>
                  <a:cubicBezTo>
                    <a:pt x="649340" y="323962"/>
                    <a:pt x="585744" y="409170"/>
                    <a:pt x="562675" y="436725"/>
                  </a:cubicBezTo>
                  <a:cubicBezTo>
                    <a:pt x="354965" y="648778"/>
                    <a:pt x="45454" y="533772"/>
                    <a:pt x="10807" y="435328"/>
                  </a:cubicBezTo>
                  <a:cubicBezTo>
                    <a:pt x="-41075" y="330306"/>
                    <a:pt x="100878" y="89491"/>
                    <a:pt x="286518" y="82088"/>
                  </a:cubicBezTo>
                  <a:close/>
                  <a:moveTo>
                    <a:pt x="489068" y="0"/>
                  </a:moveTo>
                  <a:cubicBezTo>
                    <a:pt x="596753" y="0"/>
                    <a:pt x="684048" y="87296"/>
                    <a:pt x="684048" y="194980"/>
                  </a:cubicBezTo>
                  <a:cubicBezTo>
                    <a:pt x="684048" y="216847"/>
                    <a:pt x="680448" y="237874"/>
                    <a:pt x="672966" y="257215"/>
                  </a:cubicBezTo>
                  <a:lnTo>
                    <a:pt x="672379" y="257003"/>
                  </a:lnTo>
                  <a:cubicBezTo>
                    <a:pt x="668967" y="265617"/>
                    <a:pt x="657523" y="269364"/>
                    <a:pt x="645725" y="265916"/>
                  </a:cubicBezTo>
                  <a:lnTo>
                    <a:pt x="637884" y="262819"/>
                  </a:lnTo>
                  <a:cubicBezTo>
                    <a:pt x="627530" y="257587"/>
                    <a:pt x="621785" y="247890"/>
                    <a:pt x="624308" y="239644"/>
                  </a:cubicBezTo>
                  <a:lnTo>
                    <a:pt x="623975" y="239524"/>
                  </a:lnTo>
                  <a:cubicBezTo>
                    <a:pt x="629260" y="225659"/>
                    <a:pt x="631774" y="210613"/>
                    <a:pt x="631774" y="194980"/>
                  </a:cubicBezTo>
                  <a:cubicBezTo>
                    <a:pt x="631774" y="116165"/>
                    <a:pt x="567883" y="52274"/>
                    <a:pt x="489068" y="52274"/>
                  </a:cubicBezTo>
                  <a:lnTo>
                    <a:pt x="469942" y="54202"/>
                  </a:lnTo>
                  <a:lnTo>
                    <a:pt x="469951" y="54239"/>
                  </a:lnTo>
                  <a:cubicBezTo>
                    <a:pt x="469861" y="54366"/>
                    <a:pt x="469744" y="54397"/>
                    <a:pt x="469627" y="54427"/>
                  </a:cubicBezTo>
                  <a:cubicBezTo>
                    <a:pt x="460634" y="56697"/>
                    <a:pt x="450861" y="49439"/>
                    <a:pt x="446718" y="37636"/>
                  </a:cubicBezTo>
                  <a:lnTo>
                    <a:pt x="444619" y="29323"/>
                  </a:lnTo>
                  <a:cubicBezTo>
                    <a:pt x="442667" y="16995"/>
                    <a:pt x="447797" y="5987"/>
                    <a:pt x="456757" y="3699"/>
                  </a:cubicBezTo>
                  <a:lnTo>
                    <a:pt x="456661" y="3267"/>
                  </a:lnTo>
                  <a:cubicBezTo>
                    <a:pt x="467135" y="923"/>
                    <a:pt x="477994" y="0"/>
                    <a:pt x="489068"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solidFill>
                  <a:schemeClr val="bg1"/>
                </a:solidFill>
              </a:endParaRPr>
            </a:p>
          </p:txBody>
        </p:sp>
      </p:grpSp>
      <p:grpSp>
        <p:nvGrpSpPr>
          <p:cNvPr id="20" name="组合 19">
            <a:extLst>
              <a:ext uri="{FF2B5EF4-FFF2-40B4-BE49-F238E27FC236}">
                <a16:creationId xmlns:a16="http://schemas.microsoft.com/office/drawing/2014/main" id="{BE4B73E6-A55F-493E-BBE8-2D73A2C7528A}"/>
              </a:ext>
            </a:extLst>
          </p:cNvPr>
          <p:cNvGrpSpPr>
            <a:grpSpLocks/>
          </p:cNvGrpSpPr>
          <p:nvPr/>
        </p:nvGrpSpPr>
        <p:grpSpPr bwMode="auto">
          <a:xfrm>
            <a:off x="6908800" y="5287963"/>
            <a:ext cx="519113" cy="517525"/>
            <a:chOff x="7045657" y="4569128"/>
            <a:chExt cx="1088688" cy="1088688"/>
          </a:xfrm>
        </p:grpSpPr>
        <p:sp>
          <p:nvSpPr>
            <p:cNvPr id="22" name="Freeform 12">
              <a:extLst>
                <a:ext uri="{FF2B5EF4-FFF2-40B4-BE49-F238E27FC236}">
                  <a16:creationId xmlns:a16="http://schemas.microsoft.com/office/drawing/2014/main" id="{523ECF0F-8C1E-4047-8FF9-90F535110066}"/>
                </a:ext>
              </a:extLst>
            </p:cNvPr>
            <p:cNvSpPr>
              <a:spLocks/>
            </p:cNvSpPr>
            <p:nvPr/>
          </p:nvSpPr>
          <p:spPr bwMode="auto">
            <a:xfrm>
              <a:off x="7045657" y="4569128"/>
              <a:ext cx="1088688" cy="1088688"/>
            </a:xfrm>
            <a:prstGeom prst="ellipse">
              <a:avLst/>
            </a:prstGeom>
            <a:solidFill>
              <a:srgbClr val="292929"/>
            </a:solidFill>
            <a:ln>
              <a:noFill/>
              <a:headEnd/>
              <a:tailEnd/>
            </a:ln>
          </p:spPr>
          <p:style>
            <a:lnRef idx="1">
              <a:schemeClr val="accent5"/>
            </a:lnRef>
            <a:fillRef idx="3">
              <a:schemeClr val="accent5"/>
            </a:fillRef>
            <a:effectRef idx="2">
              <a:schemeClr val="accent5"/>
            </a:effectRef>
            <a:fontRef idx="minor">
              <a:schemeClr val="lt1"/>
            </a:fontRef>
          </p:style>
          <p:txBody>
            <a:bodyPr/>
            <a:lstStyle/>
            <a:p>
              <a:pPr eaLnBrk="1" fontAlgn="auto" hangingPunct="1">
                <a:spcBef>
                  <a:spcPts val="0"/>
                </a:spcBef>
                <a:spcAft>
                  <a:spcPts val="0"/>
                </a:spcAft>
                <a:defRPr/>
              </a:pPr>
              <a:endParaRPr lang="en-US"/>
            </a:p>
          </p:txBody>
        </p:sp>
        <p:sp>
          <p:nvSpPr>
            <p:cNvPr id="23" name="圆角矩形 57">
              <a:extLst>
                <a:ext uri="{FF2B5EF4-FFF2-40B4-BE49-F238E27FC236}">
                  <a16:creationId xmlns:a16="http://schemas.microsoft.com/office/drawing/2014/main" id="{65E1CE94-534C-4427-B097-A62C6DD08E61}"/>
                </a:ext>
              </a:extLst>
            </p:cNvPr>
            <p:cNvSpPr/>
            <p:nvPr/>
          </p:nvSpPr>
          <p:spPr>
            <a:xfrm flipV="1">
              <a:off x="7305344" y="4896402"/>
              <a:ext cx="569314" cy="430799"/>
            </a:xfrm>
            <a:custGeom>
              <a:avLst/>
              <a:gdLst/>
              <a:ahLst/>
              <a:cxnLst/>
              <a:rect l="l" t="t" r="r" b="b"/>
              <a:pathLst>
                <a:path w="864096" h="654666">
                  <a:moveTo>
                    <a:pt x="599578" y="334253"/>
                  </a:moveTo>
                  <a:lnTo>
                    <a:pt x="580007" y="314682"/>
                  </a:lnTo>
                  <a:lnTo>
                    <a:pt x="759249" y="135440"/>
                  </a:lnTo>
                  <a:cubicBezTo>
                    <a:pt x="760444" y="134245"/>
                    <a:pt x="761594" y="133023"/>
                    <a:pt x="761940" y="131105"/>
                  </a:cubicBezTo>
                  <a:lnTo>
                    <a:pt x="802727" y="131105"/>
                  </a:lnTo>
                  <a:close/>
                  <a:moveTo>
                    <a:pt x="264518" y="334253"/>
                  </a:moveTo>
                  <a:lnTo>
                    <a:pt x="61370" y="131105"/>
                  </a:lnTo>
                  <a:lnTo>
                    <a:pt x="102156" y="131105"/>
                  </a:lnTo>
                  <a:lnTo>
                    <a:pt x="104846" y="135439"/>
                  </a:lnTo>
                  <a:lnTo>
                    <a:pt x="284089" y="314682"/>
                  </a:lnTo>
                  <a:close/>
                  <a:moveTo>
                    <a:pt x="75663" y="523561"/>
                  </a:moveTo>
                  <a:lnTo>
                    <a:pt x="363701" y="235523"/>
                  </a:lnTo>
                  <a:cubicBezTo>
                    <a:pt x="382052" y="217171"/>
                    <a:pt x="406106" y="207995"/>
                    <a:pt x="430158" y="207995"/>
                  </a:cubicBezTo>
                  <a:cubicBezTo>
                    <a:pt x="430789" y="207995"/>
                    <a:pt x="431421" y="208003"/>
                    <a:pt x="432049" y="208177"/>
                  </a:cubicBezTo>
                  <a:cubicBezTo>
                    <a:pt x="456725" y="207520"/>
                    <a:pt x="481562" y="216690"/>
                    <a:pt x="500395" y="235523"/>
                  </a:cubicBezTo>
                  <a:lnTo>
                    <a:pt x="788434" y="523561"/>
                  </a:lnTo>
                  <a:lnTo>
                    <a:pt x="749291" y="523561"/>
                  </a:lnTo>
                  <a:lnTo>
                    <a:pt x="491219" y="265489"/>
                  </a:lnTo>
                  <a:cubicBezTo>
                    <a:pt x="474915" y="249184"/>
                    <a:pt x="453412" y="241246"/>
                    <a:pt x="432049" y="241814"/>
                  </a:cubicBezTo>
                  <a:cubicBezTo>
                    <a:pt x="431505" y="241664"/>
                    <a:pt x="430958" y="241657"/>
                    <a:pt x="430412" y="241657"/>
                  </a:cubicBezTo>
                  <a:cubicBezTo>
                    <a:pt x="409588" y="241657"/>
                    <a:pt x="388764" y="249602"/>
                    <a:pt x="372877" y="265489"/>
                  </a:cubicBezTo>
                  <a:lnTo>
                    <a:pt x="114805" y="523561"/>
                  </a:lnTo>
                  <a:close/>
                  <a:moveTo>
                    <a:pt x="150213" y="654666"/>
                  </a:moveTo>
                  <a:lnTo>
                    <a:pt x="713883" y="654666"/>
                  </a:lnTo>
                  <a:cubicBezTo>
                    <a:pt x="796843" y="654666"/>
                    <a:pt x="864096" y="587413"/>
                    <a:pt x="864096" y="504453"/>
                  </a:cubicBezTo>
                  <a:lnTo>
                    <a:pt x="864096" y="150213"/>
                  </a:lnTo>
                  <a:cubicBezTo>
                    <a:pt x="864096" y="67253"/>
                    <a:pt x="796843" y="0"/>
                    <a:pt x="713883" y="0"/>
                  </a:cubicBezTo>
                  <a:lnTo>
                    <a:pt x="150213" y="0"/>
                  </a:lnTo>
                  <a:cubicBezTo>
                    <a:pt x="67253" y="0"/>
                    <a:pt x="0" y="67253"/>
                    <a:pt x="0" y="150213"/>
                  </a:cubicBezTo>
                  <a:lnTo>
                    <a:pt x="0" y="504453"/>
                  </a:lnTo>
                  <a:cubicBezTo>
                    <a:pt x="0" y="587413"/>
                    <a:pt x="67253" y="654666"/>
                    <a:pt x="150213" y="65466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pic>
        <p:nvPicPr>
          <p:cNvPr id="24" name="图片 23">
            <a:extLst>
              <a:ext uri="{FF2B5EF4-FFF2-40B4-BE49-F238E27FC236}">
                <a16:creationId xmlns:a16="http://schemas.microsoft.com/office/drawing/2014/main" id="{1F64512F-BBE3-4375-A926-6DC7F575595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38175" y="1806575"/>
            <a:ext cx="6011863" cy="401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pic>
      <p:sp>
        <p:nvSpPr>
          <p:cNvPr id="25" name="文本框 56">
            <a:extLst>
              <a:ext uri="{FF2B5EF4-FFF2-40B4-BE49-F238E27FC236}">
                <a16:creationId xmlns:a16="http://schemas.microsoft.com/office/drawing/2014/main" id="{E571BE2D-29BE-462D-BA82-6D7AE25F7A7B}"/>
              </a:ext>
            </a:extLst>
          </p:cNvPr>
          <p:cNvSpPr txBox="1"/>
          <p:nvPr/>
        </p:nvSpPr>
        <p:spPr>
          <a:xfrm>
            <a:off x="7427913" y="3038475"/>
            <a:ext cx="4445000" cy="522288"/>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l" eaLnBrk="1" fontAlgn="auto" hangingPunct="1">
              <a:lnSpc>
                <a:spcPct val="100000"/>
              </a:lnSpc>
              <a:spcBef>
                <a:spcPts val="0"/>
              </a:spcBef>
              <a:spcAft>
                <a:spcPts val="0"/>
              </a:spcAft>
              <a:defRPr/>
            </a:pPr>
            <a:r>
              <a:rPr lang="en-US" altLang="zh-CN" sz="1600" dirty="0">
                <a:solidFill>
                  <a:schemeClr val="tx1">
                    <a:lumMod val="75000"/>
                    <a:lumOff val="25000"/>
                  </a:schemeClr>
                </a:solidFill>
                <a:latin typeface="Impact" pitchFamily="34" charset="0"/>
                <a:ea typeface="+mn-ea"/>
              </a:rPr>
              <a:t>Click To Add Your Title</a:t>
            </a:r>
          </a:p>
          <a:p>
            <a:pPr algn="l" eaLnBrk="1" fontAlgn="auto" hangingPunct="1">
              <a:lnSpc>
                <a:spcPct val="100000"/>
              </a:lnSpc>
              <a:spcBef>
                <a:spcPts val="0"/>
              </a:spcBef>
              <a:spcAft>
                <a:spcPts val="0"/>
              </a:spcAft>
              <a:defRPr/>
            </a:pPr>
            <a:r>
              <a:rPr lang="en-US" altLang="zh-CN" sz="1200" dirty="0">
                <a:solidFill>
                  <a:schemeClr val="tx1">
                    <a:lumMod val="75000"/>
                    <a:lumOff val="25000"/>
                  </a:schemeClr>
                </a:solidFill>
                <a:latin typeface="+mn-lt"/>
                <a:ea typeface="+mn-ea"/>
              </a:rPr>
              <a:t>click to add subtitle click to add subtitle click to add subtitle</a:t>
            </a:r>
            <a:endParaRPr lang="zh-CN" altLang="en-US" sz="1200" dirty="0">
              <a:solidFill>
                <a:schemeClr val="tx1">
                  <a:lumMod val="75000"/>
                  <a:lumOff val="25000"/>
                </a:schemeClr>
              </a:solidFill>
              <a:latin typeface="+mn-lt"/>
              <a:ea typeface="+mn-ea"/>
            </a:endParaRPr>
          </a:p>
        </p:txBody>
      </p:sp>
      <p:sp>
        <p:nvSpPr>
          <p:cNvPr id="27" name="文本框 56">
            <a:extLst>
              <a:ext uri="{FF2B5EF4-FFF2-40B4-BE49-F238E27FC236}">
                <a16:creationId xmlns:a16="http://schemas.microsoft.com/office/drawing/2014/main" id="{5CC7210F-2597-44E8-91C3-CE3BED057A58}"/>
              </a:ext>
            </a:extLst>
          </p:cNvPr>
          <p:cNvSpPr txBox="1"/>
          <p:nvPr/>
        </p:nvSpPr>
        <p:spPr>
          <a:xfrm>
            <a:off x="7427913" y="5284788"/>
            <a:ext cx="4445000" cy="523875"/>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l" eaLnBrk="1" fontAlgn="auto" hangingPunct="1">
              <a:lnSpc>
                <a:spcPct val="100000"/>
              </a:lnSpc>
              <a:spcBef>
                <a:spcPts val="0"/>
              </a:spcBef>
              <a:spcAft>
                <a:spcPts val="0"/>
              </a:spcAft>
              <a:defRPr/>
            </a:pPr>
            <a:r>
              <a:rPr lang="en-US" altLang="zh-CN" sz="1600" dirty="0">
                <a:solidFill>
                  <a:schemeClr val="tx1">
                    <a:lumMod val="75000"/>
                    <a:lumOff val="25000"/>
                  </a:schemeClr>
                </a:solidFill>
                <a:latin typeface="Impact" pitchFamily="34" charset="0"/>
                <a:ea typeface="+mn-ea"/>
              </a:rPr>
              <a:t>Click To Add Your Title</a:t>
            </a:r>
          </a:p>
          <a:p>
            <a:pPr algn="l" eaLnBrk="1" fontAlgn="auto" hangingPunct="1">
              <a:lnSpc>
                <a:spcPct val="100000"/>
              </a:lnSpc>
              <a:spcBef>
                <a:spcPts val="0"/>
              </a:spcBef>
              <a:spcAft>
                <a:spcPts val="0"/>
              </a:spcAft>
              <a:defRPr/>
            </a:pPr>
            <a:r>
              <a:rPr lang="en-US" altLang="zh-CN" sz="1200" dirty="0">
                <a:solidFill>
                  <a:schemeClr val="tx1">
                    <a:lumMod val="75000"/>
                    <a:lumOff val="25000"/>
                  </a:schemeClr>
                </a:solidFill>
                <a:latin typeface="+mn-lt"/>
                <a:ea typeface="+mn-ea"/>
              </a:rPr>
              <a:t>click to add subtitle click to add subtitle click to add subtitle</a:t>
            </a:r>
            <a:endParaRPr lang="zh-CN" altLang="en-US" sz="1200" dirty="0">
              <a:solidFill>
                <a:schemeClr val="tx1">
                  <a:lumMod val="75000"/>
                  <a:lumOff val="25000"/>
                </a:schemeClr>
              </a:solidFill>
              <a:latin typeface="+mn-lt"/>
              <a:ea typeface="+mn-ea"/>
            </a:endParaRPr>
          </a:p>
        </p:txBody>
      </p:sp>
      <p:sp>
        <p:nvSpPr>
          <p:cNvPr id="29" name="文本框 56">
            <a:extLst>
              <a:ext uri="{FF2B5EF4-FFF2-40B4-BE49-F238E27FC236}">
                <a16:creationId xmlns:a16="http://schemas.microsoft.com/office/drawing/2014/main" id="{6314106F-4731-4EA3-B599-DDFA5D6D4CAC}"/>
              </a:ext>
            </a:extLst>
          </p:cNvPr>
          <p:cNvSpPr txBox="1"/>
          <p:nvPr/>
        </p:nvSpPr>
        <p:spPr>
          <a:xfrm>
            <a:off x="7427913" y="3787775"/>
            <a:ext cx="4445000" cy="522288"/>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l" eaLnBrk="1" fontAlgn="auto" hangingPunct="1">
              <a:lnSpc>
                <a:spcPct val="100000"/>
              </a:lnSpc>
              <a:spcBef>
                <a:spcPts val="0"/>
              </a:spcBef>
              <a:spcAft>
                <a:spcPts val="0"/>
              </a:spcAft>
              <a:defRPr/>
            </a:pPr>
            <a:r>
              <a:rPr lang="en-US" altLang="zh-CN" sz="1600" dirty="0">
                <a:solidFill>
                  <a:schemeClr val="tx1">
                    <a:lumMod val="75000"/>
                    <a:lumOff val="25000"/>
                  </a:schemeClr>
                </a:solidFill>
                <a:latin typeface="Impact" pitchFamily="34" charset="0"/>
                <a:ea typeface="+mn-ea"/>
              </a:rPr>
              <a:t>Click To Add Your Title</a:t>
            </a:r>
          </a:p>
          <a:p>
            <a:pPr algn="l" eaLnBrk="1" fontAlgn="auto" hangingPunct="1">
              <a:lnSpc>
                <a:spcPct val="100000"/>
              </a:lnSpc>
              <a:spcBef>
                <a:spcPts val="0"/>
              </a:spcBef>
              <a:spcAft>
                <a:spcPts val="0"/>
              </a:spcAft>
              <a:defRPr/>
            </a:pPr>
            <a:r>
              <a:rPr lang="en-US" altLang="zh-CN" sz="1200" dirty="0">
                <a:solidFill>
                  <a:schemeClr val="tx1">
                    <a:lumMod val="75000"/>
                    <a:lumOff val="25000"/>
                  </a:schemeClr>
                </a:solidFill>
                <a:latin typeface="+mn-lt"/>
                <a:ea typeface="+mn-ea"/>
              </a:rPr>
              <a:t>click to add subtitle click to add subtitle click to add subtitle</a:t>
            </a:r>
            <a:endParaRPr lang="zh-CN" altLang="en-US" sz="1200" dirty="0">
              <a:solidFill>
                <a:schemeClr val="tx1">
                  <a:lumMod val="75000"/>
                  <a:lumOff val="25000"/>
                </a:schemeClr>
              </a:solidFill>
              <a:latin typeface="+mn-lt"/>
              <a:ea typeface="+mn-ea"/>
            </a:endParaRPr>
          </a:p>
        </p:txBody>
      </p:sp>
      <p:sp>
        <p:nvSpPr>
          <p:cNvPr id="30" name="文本框 56">
            <a:extLst>
              <a:ext uri="{FF2B5EF4-FFF2-40B4-BE49-F238E27FC236}">
                <a16:creationId xmlns:a16="http://schemas.microsoft.com/office/drawing/2014/main" id="{C6DCD924-6016-400A-A901-07FCCC9D463B}"/>
              </a:ext>
            </a:extLst>
          </p:cNvPr>
          <p:cNvSpPr txBox="1"/>
          <p:nvPr/>
        </p:nvSpPr>
        <p:spPr>
          <a:xfrm>
            <a:off x="7427913" y="4535488"/>
            <a:ext cx="4445000" cy="523875"/>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l" eaLnBrk="1" fontAlgn="auto" hangingPunct="1">
              <a:lnSpc>
                <a:spcPct val="100000"/>
              </a:lnSpc>
              <a:spcBef>
                <a:spcPts val="0"/>
              </a:spcBef>
              <a:spcAft>
                <a:spcPts val="0"/>
              </a:spcAft>
              <a:defRPr/>
            </a:pPr>
            <a:r>
              <a:rPr lang="en-US" altLang="zh-CN" sz="1600" dirty="0">
                <a:solidFill>
                  <a:schemeClr val="tx1">
                    <a:lumMod val="75000"/>
                    <a:lumOff val="25000"/>
                  </a:schemeClr>
                </a:solidFill>
                <a:latin typeface="Impact" pitchFamily="34" charset="0"/>
                <a:ea typeface="+mn-ea"/>
              </a:rPr>
              <a:t>Click To Add Your Title</a:t>
            </a:r>
          </a:p>
          <a:p>
            <a:pPr algn="l" eaLnBrk="1" fontAlgn="auto" hangingPunct="1">
              <a:lnSpc>
                <a:spcPct val="100000"/>
              </a:lnSpc>
              <a:spcBef>
                <a:spcPts val="0"/>
              </a:spcBef>
              <a:spcAft>
                <a:spcPts val="0"/>
              </a:spcAft>
              <a:defRPr/>
            </a:pPr>
            <a:r>
              <a:rPr lang="en-US" altLang="zh-CN" sz="1200" dirty="0">
                <a:solidFill>
                  <a:schemeClr val="tx1">
                    <a:lumMod val="75000"/>
                    <a:lumOff val="25000"/>
                  </a:schemeClr>
                </a:solidFill>
                <a:latin typeface="+mn-lt"/>
                <a:ea typeface="+mn-ea"/>
              </a:rPr>
              <a:t>click to add subtitle click to add subtitle click to add subtitle</a:t>
            </a:r>
            <a:endParaRPr lang="zh-CN" altLang="en-US" sz="1200" dirty="0">
              <a:solidFill>
                <a:schemeClr val="tx1">
                  <a:lumMod val="75000"/>
                  <a:lumOff val="25000"/>
                </a:schemeClr>
              </a:solidFill>
              <a:latin typeface="+mn-lt"/>
              <a:ea typeface="+mn-ea"/>
            </a:endParaRPr>
          </a:p>
        </p:txBody>
      </p:sp>
      <p:sp>
        <p:nvSpPr>
          <p:cNvPr id="26635" name="文本框 56">
            <a:extLst>
              <a:ext uri="{FF2B5EF4-FFF2-40B4-BE49-F238E27FC236}">
                <a16:creationId xmlns:a16="http://schemas.microsoft.com/office/drawing/2014/main" id="{76C5AE4D-B637-468A-8D53-1EBAF9189462}"/>
              </a:ext>
            </a:extLst>
          </p:cNvPr>
          <p:cNvSpPr txBox="1">
            <a:spLocks noChangeArrowheads="1"/>
          </p:cNvSpPr>
          <p:nvPr/>
        </p:nvSpPr>
        <p:spPr bwMode="auto">
          <a:xfrm>
            <a:off x="1154113" y="566738"/>
            <a:ext cx="509587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00000"/>
              </a:lnSpc>
              <a:spcBef>
                <a:spcPct val="0"/>
              </a:spcBef>
              <a:buFontTx/>
              <a:buNone/>
            </a:pPr>
            <a:r>
              <a:rPr lang="en-US" altLang="zh-CN" sz="3200" b="1">
                <a:solidFill>
                  <a:srgbClr val="C20F2A"/>
                </a:solidFill>
                <a:latin typeface="Agency FB" panose="020B0503020202020204" pitchFamily="34" charset="0"/>
              </a:rPr>
              <a:t>CLICK TO ADD YOUR TITLE IN HERE</a:t>
            </a: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3" presetClass="entr" presetSubtype="16" fill="hold" nodeType="after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p:cTn id="7" dur="500" fill="hold"/>
                                        <p:tgtEl>
                                          <p:spTgt spid="24"/>
                                        </p:tgtEl>
                                        <p:attrNameLst>
                                          <p:attrName>ppt_w</p:attrName>
                                        </p:attrNameLst>
                                      </p:cBhvr>
                                      <p:tavLst>
                                        <p:tav tm="0">
                                          <p:val>
                                            <p:fltVal val="0"/>
                                          </p:val>
                                        </p:tav>
                                        <p:tav tm="100000">
                                          <p:val>
                                            <p:strVal val="#ppt_w"/>
                                          </p:val>
                                        </p:tav>
                                      </p:tavLst>
                                    </p:anim>
                                    <p:anim calcmode="lin" valueType="num">
                                      <p:cBhvr>
                                        <p:cTn id="8" dur="500" fill="hold"/>
                                        <p:tgtEl>
                                          <p:spTgt spid="24"/>
                                        </p:tgtEl>
                                        <p:attrNameLst>
                                          <p:attrName>ppt_h</p:attrName>
                                        </p:attrNameLst>
                                      </p:cBhvr>
                                      <p:tavLst>
                                        <p:tav tm="0">
                                          <p:val>
                                            <p:fltVal val="0"/>
                                          </p:val>
                                        </p:tav>
                                        <p:tav tm="100000">
                                          <p:val>
                                            <p:strVal val="#ppt_h"/>
                                          </p:val>
                                        </p:tav>
                                      </p:tavLst>
                                    </p:anim>
                                    <p:animEffect transition="in" filter="fade">
                                      <p:cBhvr>
                                        <p:cTn id="9" dur="500"/>
                                        <p:tgtEl>
                                          <p:spTgt spid="24"/>
                                        </p:tgtEl>
                                      </p:cBhvr>
                                    </p:animEffect>
                                  </p:childTnLst>
                                </p:cTn>
                              </p:par>
                            </p:childTnLst>
                          </p:cTn>
                        </p:par>
                        <p:par>
                          <p:cTn id="10" fill="hold" nodeType="afterGroup">
                            <p:stCondLst>
                              <p:cond delay="500"/>
                            </p:stCondLst>
                            <p:childTnLst>
                              <p:par>
                                <p:cTn id="11" presetID="10" presetClass="entr" presetSubtype="0" fill="hold"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250"/>
                                        <p:tgtEl>
                                          <p:spTgt spid="4"/>
                                        </p:tgtEl>
                                      </p:cBhvr>
                                    </p:animEffect>
                                  </p:childTnLst>
                                </p:cTn>
                              </p:par>
                            </p:childTnLst>
                          </p:cTn>
                        </p:par>
                        <p:par>
                          <p:cTn id="14" fill="hold" nodeType="afterGroup">
                            <p:stCondLst>
                              <p:cond delay="750"/>
                            </p:stCondLst>
                            <p:childTnLst>
                              <p:par>
                                <p:cTn id="15" presetID="22" presetClass="entr" presetSubtype="8" fill="hold" grpId="0" nodeType="after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wipe(left)">
                                      <p:cBhvr>
                                        <p:cTn id="17" dur="500"/>
                                        <p:tgtEl>
                                          <p:spTgt spid="25"/>
                                        </p:tgtEl>
                                      </p:cBhvr>
                                    </p:animEffect>
                                  </p:childTnLst>
                                </p:cTn>
                              </p:par>
                            </p:childTnLst>
                          </p:cTn>
                        </p:par>
                        <p:par>
                          <p:cTn id="18" fill="hold" nodeType="afterGroup">
                            <p:stCondLst>
                              <p:cond delay="1250"/>
                            </p:stCondLst>
                            <p:childTnLst>
                              <p:par>
                                <p:cTn id="19" presetID="10" presetClass="entr" presetSubtype="0" fill="hold" nodeType="after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250"/>
                                        <p:tgtEl>
                                          <p:spTgt spid="10"/>
                                        </p:tgtEl>
                                      </p:cBhvr>
                                    </p:animEffect>
                                  </p:childTnLst>
                                </p:cTn>
                              </p:par>
                            </p:childTnLst>
                          </p:cTn>
                        </p:par>
                        <p:par>
                          <p:cTn id="22" fill="hold" nodeType="afterGroup">
                            <p:stCondLst>
                              <p:cond delay="1500"/>
                            </p:stCondLst>
                            <p:childTnLst>
                              <p:par>
                                <p:cTn id="23" presetID="22" presetClass="entr" presetSubtype="8" fill="hold" grpId="0" nodeType="after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wipe(left)">
                                      <p:cBhvr>
                                        <p:cTn id="25" dur="500"/>
                                        <p:tgtEl>
                                          <p:spTgt spid="29"/>
                                        </p:tgtEl>
                                      </p:cBhvr>
                                    </p:animEffect>
                                  </p:childTnLst>
                                </p:cTn>
                              </p:par>
                            </p:childTnLst>
                          </p:cTn>
                        </p:par>
                        <p:par>
                          <p:cTn id="26" fill="hold" nodeType="afterGroup">
                            <p:stCondLst>
                              <p:cond delay="2000"/>
                            </p:stCondLst>
                            <p:childTnLst>
                              <p:par>
                                <p:cTn id="27" presetID="10" presetClass="entr" presetSubtype="0" fill="hold" nodeType="afterEffect">
                                  <p:stCondLst>
                                    <p:cond delay="0"/>
                                  </p:stCondLst>
                                  <p:childTnLst>
                                    <p:set>
                                      <p:cBhvr>
                                        <p:cTn id="28" dur="1" fill="hold">
                                          <p:stCondLst>
                                            <p:cond delay="0"/>
                                          </p:stCondLst>
                                        </p:cTn>
                                        <p:tgtEl>
                                          <p:spTgt spid="15"/>
                                        </p:tgtEl>
                                        <p:attrNameLst>
                                          <p:attrName>style.visibility</p:attrName>
                                        </p:attrNameLst>
                                      </p:cBhvr>
                                      <p:to>
                                        <p:strVal val="visible"/>
                                      </p:to>
                                    </p:set>
                                    <p:animEffect transition="in" filter="fade">
                                      <p:cBhvr>
                                        <p:cTn id="29" dur="250"/>
                                        <p:tgtEl>
                                          <p:spTgt spid="15"/>
                                        </p:tgtEl>
                                      </p:cBhvr>
                                    </p:animEffect>
                                  </p:childTnLst>
                                </p:cTn>
                              </p:par>
                            </p:childTnLst>
                          </p:cTn>
                        </p:par>
                        <p:par>
                          <p:cTn id="30" fill="hold" nodeType="afterGroup">
                            <p:stCondLst>
                              <p:cond delay="2250"/>
                            </p:stCondLst>
                            <p:childTnLst>
                              <p:par>
                                <p:cTn id="31" presetID="22" presetClass="entr" presetSubtype="8" fill="hold" grpId="0" nodeType="afterEffect">
                                  <p:stCondLst>
                                    <p:cond delay="0"/>
                                  </p:stCondLst>
                                  <p:childTnLst>
                                    <p:set>
                                      <p:cBhvr>
                                        <p:cTn id="32" dur="1" fill="hold">
                                          <p:stCondLst>
                                            <p:cond delay="0"/>
                                          </p:stCondLst>
                                        </p:cTn>
                                        <p:tgtEl>
                                          <p:spTgt spid="30"/>
                                        </p:tgtEl>
                                        <p:attrNameLst>
                                          <p:attrName>style.visibility</p:attrName>
                                        </p:attrNameLst>
                                      </p:cBhvr>
                                      <p:to>
                                        <p:strVal val="visible"/>
                                      </p:to>
                                    </p:set>
                                    <p:animEffect transition="in" filter="wipe(left)">
                                      <p:cBhvr>
                                        <p:cTn id="33" dur="500"/>
                                        <p:tgtEl>
                                          <p:spTgt spid="30"/>
                                        </p:tgtEl>
                                      </p:cBhvr>
                                    </p:animEffect>
                                  </p:childTnLst>
                                </p:cTn>
                              </p:par>
                            </p:childTnLst>
                          </p:cTn>
                        </p:par>
                        <p:par>
                          <p:cTn id="34" fill="hold" nodeType="afterGroup">
                            <p:stCondLst>
                              <p:cond delay="2750"/>
                            </p:stCondLst>
                            <p:childTnLst>
                              <p:par>
                                <p:cTn id="35" presetID="10" presetClass="entr" presetSubtype="0" fill="hold" nodeType="afterEffect">
                                  <p:stCondLst>
                                    <p:cond delay="0"/>
                                  </p:stCondLst>
                                  <p:childTnLst>
                                    <p:set>
                                      <p:cBhvr>
                                        <p:cTn id="36" dur="1" fill="hold">
                                          <p:stCondLst>
                                            <p:cond delay="0"/>
                                          </p:stCondLst>
                                        </p:cTn>
                                        <p:tgtEl>
                                          <p:spTgt spid="20"/>
                                        </p:tgtEl>
                                        <p:attrNameLst>
                                          <p:attrName>style.visibility</p:attrName>
                                        </p:attrNameLst>
                                      </p:cBhvr>
                                      <p:to>
                                        <p:strVal val="visible"/>
                                      </p:to>
                                    </p:set>
                                    <p:animEffect transition="in" filter="fade">
                                      <p:cBhvr>
                                        <p:cTn id="37" dur="250"/>
                                        <p:tgtEl>
                                          <p:spTgt spid="20"/>
                                        </p:tgtEl>
                                      </p:cBhvr>
                                    </p:animEffect>
                                  </p:childTnLst>
                                </p:cTn>
                              </p:par>
                            </p:childTnLst>
                          </p:cTn>
                        </p:par>
                        <p:par>
                          <p:cTn id="38" fill="hold" nodeType="afterGroup">
                            <p:stCondLst>
                              <p:cond delay="3000"/>
                            </p:stCondLst>
                            <p:childTnLst>
                              <p:par>
                                <p:cTn id="39" presetID="22" presetClass="entr" presetSubtype="8" fill="hold" grpId="0" nodeType="afterEffect">
                                  <p:stCondLst>
                                    <p:cond delay="0"/>
                                  </p:stCondLst>
                                  <p:childTnLst>
                                    <p:set>
                                      <p:cBhvr>
                                        <p:cTn id="40" dur="1" fill="hold">
                                          <p:stCondLst>
                                            <p:cond delay="0"/>
                                          </p:stCondLst>
                                        </p:cTn>
                                        <p:tgtEl>
                                          <p:spTgt spid="27"/>
                                        </p:tgtEl>
                                        <p:attrNameLst>
                                          <p:attrName>style.visibility</p:attrName>
                                        </p:attrNameLst>
                                      </p:cBhvr>
                                      <p:to>
                                        <p:strVal val="visible"/>
                                      </p:to>
                                    </p:set>
                                    <p:animEffect transition="in" filter="wipe(left)">
                                      <p:cBhvr>
                                        <p:cTn id="41"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7" grpId="0"/>
      <p:bldP spid="29" grpId="0"/>
      <p:bldP spid="30"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15">
            <a:extLst>
              <a:ext uri="{FF2B5EF4-FFF2-40B4-BE49-F238E27FC236}">
                <a16:creationId xmlns:a16="http://schemas.microsoft.com/office/drawing/2014/main" id="{5A741701-8EE6-4BC1-9A05-EB52D2E47579}"/>
              </a:ext>
            </a:extLst>
          </p:cNvPr>
          <p:cNvGrpSpPr>
            <a:grpSpLocks/>
          </p:cNvGrpSpPr>
          <p:nvPr/>
        </p:nvGrpSpPr>
        <p:grpSpPr bwMode="auto">
          <a:xfrm>
            <a:off x="8472488" y="2049463"/>
            <a:ext cx="541337" cy="446087"/>
            <a:chOff x="6457950" y="2114669"/>
            <a:chExt cx="940525" cy="777197"/>
          </a:xfrm>
        </p:grpSpPr>
        <p:sp>
          <p:nvSpPr>
            <p:cNvPr id="4" name="矩形 3">
              <a:extLst>
                <a:ext uri="{FF2B5EF4-FFF2-40B4-BE49-F238E27FC236}">
                  <a16:creationId xmlns:a16="http://schemas.microsoft.com/office/drawing/2014/main" id="{A887E3F3-2C44-4306-B4DA-CCB64A0579C9}"/>
                </a:ext>
              </a:extLst>
            </p:cNvPr>
            <p:cNvSpPr/>
            <p:nvPr/>
          </p:nvSpPr>
          <p:spPr>
            <a:xfrm>
              <a:off x="6457950" y="2114669"/>
              <a:ext cx="940525" cy="777197"/>
            </a:xfrm>
            <a:prstGeom prst="rect">
              <a:avLst/>
            </a:prstGeom>
            <a:solidFill>
              <a:srgbClr val="C20F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27668" name="Freeform 5">
              <a:extLst>
                <a:ext uri="{FF2B5EF4-FFF2-40B4-BE49-F238E27FC236}">
                  <a16:creationId xmlns:a16="http://schemas.microsoft.com/office/drawing/2014/main" id="{307230F9-AC51-4D19-B7BE-854291A1360A}"/>
                </a:ext>
              </a:extLst>
            </p:cNvPr>
            <p:cNvSpPr>
              <a:spLocks/>
            </p:cNvSpPr>
            <p:nvPr/>
          </p:nvSpPr>
          <p:spPr bwMode="auto">
            <a:xfrm>
              <a:off x="6672426" y="2260578"/>
              <a:ext cx="511570" cy="485376"/>
            </a:xfrm>
            <a:custGeom>
              <a:avLst/>
              <a:gdLst>
                <a:gd name="T0" fmla="*/ 255786 w 573088"/>
                <a:gd name="T1" fmla="*/ 59679 h 543745"/>
                <a:gd name="T2" fmla="*/ 292824 w 573088"/>
                <a:gd name="T3" fmla="*/ 74974 h 543745"/>
                <a:gd name="T4" fmla="*/ 448640 w 573088"/>
                <a:gd name="T5" fmla="*/ 225370 h 543745"/>
                <a:gd name="T6" fmla="*/ 456304 w 573088"/>
                <a:gd name="T7" fmla="*/ 245763 h 543745"/>
                <a:gd name="T8" fmla="*/ 456304 w 573088"/>
                <a:gd name="T9" fmla="*/ 317137 h 543745"/>
                <a:gd name="T10" fmla="*/ 456304 w 573088"/>
                <a:gd name="T11" fmla="*/ 322235 h 543745"/>
                <a:gd name="T12" fmla="*/ 456304 w 573088"/>
                <a:gd name="T13" fmla="*/ 429296 h 543745"/>
                <a:gd name="T14" fmla="*/ 456304 w 573088"/>
                <a:gd name="T15" fmla="*/ 431527 h 543745"/>
                <a:gd name="T16" fmla="*/ 456304 w 573088"/>
                <a:gd name="T17" fmla="*/ 447140 h 543745"/>
                <a:gd name="T18" fmla="*/ 417988 w 573088"/>
                <a:gd name="T19" fmla="*/ 485376 h 543745"/>
                <a:gd name="T20" fmla="*/ 310705 w 573088"/>
                <a:gd name="T21" fmla="*/ 485376 h 543745"/>
                <a:gd name="T22" fmla="*/ 310705 w 573088"/>
                <a:gd name="T23" fmla="*/ 363020 h 543745"/>
                <a:gd name="T24" fmla="*/ 290269 w 573088"/>
                <a:gd name="T25" fmla="*/ 345177 h 543745"/>
                <a:gd name="T26" fmla="*/ 221302 w 573088"/>
                <a:gd name="T27" fmla="*/ 345177 h 543745"/>
                <a:gd name="T28" fmla="*/ 200866 w 573088"/>
                <a:gd name="T29" fmla="*/ 363020 h 543745"/>
                <a:gd name="T30" fmla="*/ 200866 w 573088"/>
                <a:gd name="T31" fmla="*/ 485376 h 543745"/>
                <a:gd name="T32" fmla="*/ 93582 w 573088"/>
                <a:gd name="T33" fmla="*/ 485376 h 543745"/>
                <a:gd name="T34" fmla="*/ 55267 w 573088"/>
                <a:gd name="T35" fmla="*/ 447140 h 543745"/>
                <a:gd name="T36" fmla="*/ 55267 w 573088"/>
                <a:gd name="T37" fmla="*/ 291646 h 543745"/>
                <a:gd name="T38" fmla="*/ 55267 w 573088"/>
                <a:gd name="T39" fmla="*/ 245763 h 543745"/>
                <a:gd name="T40" fmla="*/ 65484 w 573088"/>
                <a:gd name="T41" fmla="*/ 225370 h 543745"/>
                <a:gd name="T42" fmla="*/ 218747 w 573088"/>
                <a:gd name="T43" fmla="*/ 74974 h 543745"/>
                <a:gd name="T44" fmla="*/ 255786 w 573088"/>
                <a:gd name="T45" fmla="*/ 59679 h 543745"/>
                <a:gd name="T46" fmla="*/ 79357 w 573088"/>
                <a:gd name="T47" fmla="*/ 54581 h 543745"/>
                <a:gd name="T48" fmla="*/ 127538 w 573088"/>
                <a:gd name="T49" fmla="*/ 54581 h 543745"/>
                <a:gd name="T50" fmla="*/ 127538 w 573088"/>
                <a:gd name="T51" fmla="*/ 95677 h 543745"/>
                <a:gd name="T52" fmla="*/ 79357 w 573088"/>
                <a:gd name="T53" fmla="*/ 141024 h 543745"/>
                <a:gd name="T54" fmla="*/ 79357 w 573088"/>
                <a:gd name="T55" fmla="*/ 54581 h 543745"/>
                <a:gd name="T56" fmla="*/ 255785 w 573088"/>
                <a:gd name="T57" fmla="*/ 0 h 543745"/>
                <a:gd name="T58" fmla="*/ 297780 w 573088"/>
                <a:gd name="T59" fmla="*/ 19062 h 543745"/>
                <a:gd name="T60" fmla="*/ 501389 w 573088"/>
                <a:gd name="T61" fmla="*/ 214758 h 543745"/>
                <a:gd name="T62" fmla="*/ 511570 w 573088"/>
                <a:gd name="T63" fmla="*/ 227466 h 543745"/>
                <a:gd name="T64" fmla="*/ 463213 w 573088"/>
                <a:gd name="T65" fmla="*/ 227466 h 543745"/>
                <a:gd name="T66" fmla="*/ 297780 w 573088"/>
                <a:gd name="T67" fmla="*/ 67350 h 543745"/>
                <a:gd name="T68" fmla="*/ 213790 w 573088"/>
                <a:gd name="T69" fmla="*/ 67350 h 543745"/>
                <a:gd name="T70" fmla="*/ 48357 w 573088"/>
                <a:gd name="T71" fmla="*/ 227466 h 543745"/>
                <a:gd name="T72" fmla="*/ 0 w 573088"/>
                <a:gd name="T73" fmla="*/ 227466 h 543745"/>
                <a:gd name="T74" fmla="*/ 10181 w 573088"/>
                <a:gd name="T75" fmla="*/ 214758 h 543745"/>
                <a:gd name="T76" fmla="*/ 213790 w 573088"/>
                <a:gd name="T77" fmla="*/ 19062 h 543745"/>
                <a:gd name="T78" fmla="*/ 255785 w 573088"/>
                <a:gd name="T79" fmla="*/ 0 h 54374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573088" h="543745">
                  <a:moveTo>
                    <a:pt x="286545" y="66856"/>
                  </a:moveTo>
                  <a:cubicBezTo>
                    <a:pt x="301568" y="66856"/>
                    <a:pt x="316591" y="72568"/>
                    <a:pt x="328037" y="83990"/>
                  </a:cubicBezTo>
                  <a:cubicBezTo>
                    <a:pt x="328037" y="83990"/>
                    <a:pt x="328037" y="83990"/>
                    <a:pt x="502591" y="252472"/>
                  </a:cubicBezTo>
                  <a:cubicBezTo>
                    <a:pt x="508314" y="258183"/>
                    <a:pt x="511176" y="266750"/>
                    <a:pt x="511176" y="275317"/>
                  </a:cubicBezTo>
                  <a:cubicBezTo>
                    <a:pt x="511176" y="275317"/>
                    <a:pt x="511176" y="275317"/>
                    <a:pt x="511176" y="355274"/>
                  </a:cubicBezTo>
                  <a:cubicBezTo>
                    <a:pt x="511176" y="355274"/>
                    <a:pt x="511176" y="355274"/>
                    <a:pt x="511176" y="360985"/>
                  </a:cubicBezTo>
                  <a:cubicBezTo>
                    <a:pt x="511176" y="360985"/>
                    <a:pt x="511176" y="360985"/>
                    <a:pt x="511176" y="480921"/>
                  </a:cubicBezTo>
                  <a:cubicBezTo>
                    <a:pt x="511176" y="480921"/>
                    <a:pt x="511176" y="480921"/>
                    <a:pt x="511176" y="483420"/>
                  </a:cubicBezTo>
                  <a:lnTo>
                    <a:pt x="511176" y="500911"/>
                  </a:lnTo>
                  <a:cubicBezTo>
                    <a:pt x="511176" y="523756"/>
                    <a:pt x="491145" y="543745"/>
                    <a:pt x="468253" y="543745"/>
                  </a:cubicBezTo>
                  <a:cubicBezTo>
                    <a:pt x="468253" y="543745"/>
                    <a:pt x="468253" y="543745"/>
                    <a:pt x="348068" y="543745"/>
                  </a:cubicBezTo>
                  <a:cubicBezTo>
                    <a:pt x="348068" y="543745"/>
                    <a:pt x="348068" y="543745"/>
                    <a:pt x="348068" y="406675"/>
                  </a:cubicBezTo>
                  <a:cubicBezTo>
                    <a:pt x="348068" y="395253"/>
                    <a:pt x="339483" y="386686"/>
                    <a:pt x="325175" y="386686"/>
                  </a:cubicBezTo>
                  <a:cubicBezTo>
                    <a:pt x="325175" y="386686"/>
                    <a:pt x="325175" y="386686"/>
                    <a:pt x="247914" y="386686"/>
                  </a:cubicBezTo>
                  <a:cubicBezTo>
                    <a:pt x="233606" y="386686"/>
                    <a:pt x="225021" y="395253"/>
                    <a:pt x="225021" y="406675"/>
                  </a:cubicBezTo>
                  <a:cubicBezTo>
                    <a:pt x="225021" y="406675"/>
                    <a:pt x="225021" y="406675"/>
                    <a:pt x="225021" y="543745"/>
                  </a:cubicBezTo>
                  <a:cubicBezTo>
                    <a:pt x="225021" y="543745"/>
                    <a:pt x="225021" y="543745"/>
                    <a:pt x="104836" y="543745"/>
                  </a:cubicBezTo>
                  <a:cubicBezTo>
                    <a:pt x="81944" y="543745"/>
                    <a:pt x="61913" y="523756"/>
                    <a:pt x="61913" y="500911"/>
                  </a:cubicBezTo>
                  <a:cubicBezTo>
                    <a:pt x="61913" y="500911"/>
                    <a:pt x="61913" y="500911"/>
                    <a:pt x="61913" y="326718"/>
                  </a:cubicBezTo>
                  <a:cubicBezTo>
                    <a:pt x="61913" y="326718"/>
                    <a:pt x="61913" y="326718"/>
                    <a:pt x="61913" y="275317"/>
                  </a:cubicBezTo>
                  <a:cubicBezTo>
                    <a:pt x="61913" y="266750"/>
                    <a:pt x="64775" y="258183"/>
                    <a:pt x="73359" y="252472"/>
                  </a:cubicBezTo>
                  <a:cubicBezTo>
                    <a:pt x="73359" y="252472"/>
                    <a:pt x="73359" y="252472"/>
                    <a:pt x="245052" y="83990"/>
                  </a:cubicBezTo>
                  <a:cubicBezTo>
                    <a:pt x="256498" y="72568"/>
                    <a:pt x="271521" y="66856"/>
                    <a:pt x="286545" y="66856"/>
                  </a:cubicBezTo>
                  <a:close/>
                  <a:moveTo>
                    <a:pt x="88900" y="61145"/>
                  </a:moveTo>
                  <a:lnTo>
                    <a:pt x="142875" y="61145"/>
                  </a:lnTo>
                  <a:lnTo>
                    <a:pt x="142875" y="107183"/>
                  </a:lnTo>
                  <a:lnTo>
                    <a:pt x="88900" y="157983"/>
                  </a:lnTo>
                  <a:lnTo>
                    <a:pt x="88900" y="61145"/>
                  </a:lnTo>
                  <a:close/>
                  <a:moveTo>
                    <a:pt x="286544" y="0"/>
                  </a:moveTo>
                  <a:cubicBezTo>
                    <a:pt x="302938" y="0"/>
                    <a:pt x="319333" y="7118"/>
                    <a:pt x="333589" y="21354"/>
                  </a:cubicBezTo>
                  <a:cubicBezTo>
                    <a:pt x="333593" y="21358"/>
                    <a:pt x="334605" y="22330"/>
                    <a:pt x="561683" y="240584"/>
                  </a:cubicBezTo>
                  <a:cubicBezTo>
                    <a:pt x="567386" y="246279"/>
                    <a:pt x="570237" y="249126"/>
                    <a:pt x="573088" y="254820"/>
                  </a:cubicBezTo>
                  <a:cubicBezTo>
                    <a:pt x="573085" y="254820"/>
                    <a:pt x="572659" y="254820"/>
                    <a:pt x="518916" y="254820"/>
                  </a:cubicBezTo>
                  <a:cubicBezTo>
                    <a:pt x="518912" y="254817"/>
                    <a:pt x="518106" y="254036"/>
                    <a:pt x="333589" y="75449"/>
                  </a:cubicBezTo>
                  <a:cubicBezTo>
                    <a:pt x="307928" y="49825"/>
                    <a:pt x="265160" y="49825"/>
                    <a:pt x="239499" y="75449"/>
                  </a:cubicBezTo>
                  <a:cubicBezTo>
                    <a:pt x="239496" y="75453"/>
                    <a:pt x="238664" y="76258"/>
                    <a:pt x="54172" y="254820"/>
                  </a:cubicBezTo>
                  <a:lnTo>
                    <a:pt x="0" y="254820"/>
                  </a:lnTo>
                  <a:cubicBezTo>
                    <a:pt x="2851" y="249126"/>
                    <a:pt x="5702" y="246279"/>
                    <a:pt x="11405" y="240584"/>
                  </a:cubicBezTo>
                  <a:cubicBezTo>
                    <a:pt x="11409" y="240580"/>
                    <a:pt x="12424" y="239604"/>
                    <a:pt x="239499" y="21354"/>
                  </a:cubicBezTo>
                  <a:cubicBezTo>
                    <a:pt x="253755" y="7118"/>
                    <a:pt x="270150" y="0"/>
                    <a:pt x="286544"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grpSp>
        <p:nvGrpSpPr>
          <p:cNvPr id="17" name="组合 16">
            <a:extLst>
              <a:ext uri="{FF2B5EF4-FFF2-40B4-BE49-F238E27FC236}">
                <a16:creationId xmlns:a16="http://schemas.microsoft.com/office/drawing/2014/main" id="{05AB37C8-859B-48D4-8F22-9C9856FDE6C2}"/>
              </a:ext>
            </a:extLst>
          </p:cNvPr>
          <p:cNvGrpSpPr>
            <a:grpSpLocks/>
          </p:cNvGrpSpPr>
          <p:nvPr/>
        </p:nvGrpSpPr>
        <p:grpSpPr bwMode="auto">
          <a:xfrm>
            <a:off x="8493125" y="3009900"/>
            <a:ext cx="541338" cy="447675"/>
            <a:chOff x="6478397" y="3073112"/>
            <a:chExt cx="940525" cy="777197"/>
          </a:xfrm>
        </p:grpSpPr>
        <p:sp>
          <p:nvSpPr>
            <p:cNvPr id="7" name="矩形 6">
              <a:extLst>
                <a:ext uri="{FF2B5EF4-FFF2-40B4-BE49-F238E27FC236}">
                  <a16:creationId xmlns:a16="http://schemas.microsoft.com/office/drawing/2014/main" id="{0A3BF967-FC01-43AE-9041-84E177AB5E4D}"/>
                </a:ext>
              </a:extLst>
            </p:cNvPr>
            <p:cNvSpPr/>
            <p:nvPr/>
          </p:nvSpPr>
          <p:spPr>
            <a:xfrm>
              <a:off x="6478397" y="3073112"/>
              <a:ext cx="940525" cy="777197"/>
            </a:xfrm>
            <a:prstGeom prst="rect">
              <a:avLst/>
            </a:prstGeom>
            <a:solidFill>
              <a:srgbClr val="29292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27666" name="Freeform 125">
              <a:extLst>
                <a:ext uri="{FF2B5EF4-FFF2-40B4-BE49-F238E27FC236}">
                  <a16:creationId xmlns:a16="http://schemas.microsoft.com/office/drawing/2014/main" id="{803D86EF-3CE8-405C-9B42-FF15731E740D}"/>
                </a:ext>
              </a:extLst>
            </p:cNvPr>
            <p:cNvSpPr>
              <a:spLocks/>
            </p:cNvSpPr>
            <p:nvPr/>
          </p:nvSpPr>
          <p:spPr bwMode="auto">
            <a:xfrm>
              <a:off x="6682996" y="3284885"/>
              <a:ext cx="531326" cy="353652"/>
            </a:xfrm>
            <a:custGeom>
              <a:avLst/>
              <a:gdLst>
                <a:gd name="T0" fmla="*/ 515176 w 372068"/>
                <a:gd name="T1" fmla="*/ 327203 h 247650"/>
                <a:gd name="T2" fmla="*/ 27161 w 372068"/>
                <a:gd name="T3" fmla="*/ 353652 h 247650"/>
                <a:gd name="T4" fmla="*/ 16435 w 372068"/>
                <a:gd name="T5" fmla="*/ 327203 h 247650"/>
                <a:gd name="T6" fmla="*/ 370088 w 372068"/>
                <a:gd name="T7" fmla="*/ 198135 h 247650"/>
                <a:gd name="T8" fmla="*/ 381171 w 372068"/>
                <a:gd name="T9" fmla="*/ 219898 h 247650"/>
                <a:gd name="T10" fmla="*/ 414421 w 372068"/>
                <a:gd name="T11" fmla="*/ 214457 h 247650"/>
                <a:gd name="T12" fmla="*/ 399874 w 372068"/>
                <a:gd name="T13" fmla="*/ 192694 h 247650"/>
                <a:gd name="T14" fmla="*/ 311146 w 372068"/>
                <a:gd name="T15" fmla="*/ 198135 h 247650"/>
                <a:gd name="T16" fmla="*/ 316531 w 372068"/>
                <a:gd name="T17" fmla="*/ 219898 h 247650"/>
                <a:gd name="T18" fmla="*/ 354220 w 372068"/>
                <a:gd name="T19" fmla="*/ 214457 h 247650"/>
                <a:gd name="T20" fmla="*/ 340086 w 372068"/>
                <a:gd name="T21" fmla="*/ 192694 h 247650"/>
                <a:gd name="T22" fmla="*/ 247670 w 372068"/>
                <a:gd name="T23" fmla="*/ 198135 h 247650"/>
                <a:gd name="T24" fmla="*/ 258439 w 372068"/>
                <a:gd name="T25" fmla="*/ 219898 h 247650"/>
                <a:gd name="T26" fmla="*/ 290744 w 372068"/>
                <a:gd name="T27" fmla="*/ 214457 h 247650"/>
                <a:gd name="T28" fmla="*/ 277283 w 372068"/>
                <a:gd name="T29" fmla="*/ 192694 h 247650"/>
                <a:gd name="T30" fmla="*/ 365554 w 372068"/>
                <a:gd name="T31" fmla="*/ 159597 h 247650"/>
                <a:gd name="T32" fmla="*/ 376323 w 372068"/>
                <a:gd name="T33" fmla="*/ 181360 h 247650"/>
                <a:gd name="T34" fmla="*/ 408628 w 372068"/>
                <a:gd name="T35" fmla="*/ 175919 h 247650"/>
                <a:gd name="T36" fmla="*/ 394495 w 372068"/>
                <a:gd name="T37" fmla="*/ 154156 h 247650"/>
                <a:gd name="T38" fmla="*/ 306612 w 372068"/>
                <a:gd name="T39" fmla="*/ 159597 h 247650"/>
                <a:gd name="T40" fmla="*/ 317381 w 372068"/>
                <a:gd name="T41" fmla="*/ 181360 h 247650"/>
                <a:gd name="T42" fmla="*/ 349686 w 372068"/>
                <a:gd name="T43" fmla="*/ 175919 h 247650"/>
                <a:gd name="T44" fmla="*/ 336225 w 372068"/>
                <a:gd name="T45" fmla="*/ 154156 h 247650"/>
                <a:gd name="T46" fmla="*/ 247670 w 372068"/>
                <a:gd name="T47" fmla="*/ 159597 h 247650"/>
                <a:gd name="T48" fmla="*/ 258439 w 372068"/>
                <a:gd name="T49" fmla="*/ 181360 h 247650"/>
                <a:gd name="T50" fmla="*/ 290744 w 372068"/>
                <a:gd name="T51" fmla="*/ 175919 h 247650"/>
                <a:gd name="T52" fmla="*/ 277283 w 372068"/>
                <a:gd name="T53" fmla="*/ 154156 h 247650"/>
                <a:gd name="T54" fmla="*/ 247670 w 372068"/>
                <a:gd name="T55" fmla="*/ 119798 h 247650"/>
                <a:gd name="T56" fmla="*/ 261435 w 372068"/>
                <a:gd name="T57" fmla="*/ 138288 h 247650"/>
                <a:gd name="T58" fmla="*/ 286210 w 372068"/>
                <a:gd name="T59" fmla="*/ 117884 h 247650"/>
                <a:gd name="T60" fmla="*/ 366405 w 372068"/>
                <a:gd name="T61" fmla="*/ 111082 h 247650"/>
                <a:gd name="T62" fmla="*/ 361020 w 372068"/>
                <a:gd name="T63" fmla="*/ 132845 h 247650"/>
                <a:gd name="T64" fmla="*/ 393325 w 372068"/>
                <a:gd name="T65" fmla="*/ 138286 h 247650"/>
                <a:gd name="T66" fmla="*/ 393325 w 372068"/>
                <a:gd name="T67" fmla="*/ 111082 h 247650"/>
                <a:gd name="T68" fmla="*/ 312118 w 372068"/>
                <a:gd name="T69" fmla="*/ 111082 h 247650"/>
                <a:gd name="T70" fmla="*/ 306612 w 372068"/>
                <a:gd name="T71" fmla="*/ 132845 h 247650"/>
                <a:gd name="T72" fmla="*/ 339647 w 372068"/>
                <a:gd name="T73" fmla="*/ 138286 h 247650"/>
                <a:gd name="T74" fmla="*/ 334140 w 372068"/>
                <a:gd name="T75" fmla="*/ 111082 h 247650"/>
                <a:gd name="T76" fmla="*/ 216137 w 372068"/>
                <a:gd name="T77" fmla="*/ 36272 h 247650"/>
                <a:gd name="T78" fmla="*/ 200062 w 372068"/>
                <a:gd name="T79" fmla="*/ 63800 h 247650"/>
                <a:gd name="T80" fmla="*/ 435830 w 372068"/>
                <a:gd name="T81" fmla="*/ 63800 h 247650"/>
                <a:gd name="T82" fmla="*/ 216137 w 372068"/>
                <a:gd name="T83" fmla="*/ 36272 h 247650"/>
                <a:gd name="T84" fmla="*/ 37724 w 372068"/>
                <a:gd name="T85" fmla="*/ 234091 h 247650"/>
                <a:gd name="T86" fmla="*/ 86515 w 372068"/>
                <a:gd name="T87" fmla="*/ 260704 h 247650"/>
                <a:gd name="T88" fmla="*/ 129884 w 372068"/>
                <a:gd name="T89" fmla="*/ 15868 h 247650"/>
                <a:gd name="T90" fmla="*/ 92592 w 372068"/>
                <a:gd name="T91" fmla="*/ 0 h 247650"/>
                <a:gd name="T92" fmla="*/ 527118 w 372068"/>
                <a:gd name="T93" fmla="*/ 262387 h 247650"/>
                <a:gd name="T94" fmla="*/ 1397 w 372068"/>
                <a:gd name="T95" fmla="*/ 262387 h 24765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2068" h="247650">
                  <a:moveTo>
                    <a:pt x="19020" y="225425"/>
                  </a:moveTo>
                  <a:cubicBezTo>
                    <a:pt x="353248" y="225425"/>
                    <a:pt x="353248" y="225425"/>
                    <a:pt x="353248" y="225425"/>
                  </a:cubicBezTo>
                  <a:cubicBezTo>
                    <a:pt x="357004" y="225425"/>
                    <a:pt x="360759" y="225425"/>
                    <a:pt x="360759" y="229129"/>
                  </a:cubicBezTo>
                  <a:lnTo>
                    <a:pt x="360759" y="240242"/>
                  </a:lnTo>
                  <a:cubicBezTo>
                    <a:pt x="360759" y="243946"/>
                    <a:pt x="357004" y="247650"/>
                    <a:pt x="353248" y="247650"/>
                  </a:cubicBezTo>
                  <a:cubicBezTo>
                    <a:pt x="19020" y="247650"/>
                    <a:pt x="19020" y="247650"/>
                    <a:pt x="19020" y="247650"/>
                  </a:cubicBezTo>
                  <a:cubicBezTo>
                    <a:pt x="15265" y="247650"/>
                    <a:pt x="11509" y="243946"/>
                    <a:pt x="11509" y="240242"/>
                  </a:cubicBezTo>
                  <a:lnTo>
                    <a:pt x="11509" y="230518"/>
                  </a:lnTo>
                  <a:cubicBezTo>
                    <a:pt x="11509" y="229129"/>
                    <a:pt x="11509" y="229129"/>
                    <a:pt x="11509" y="229129"/>
                  </a:cubicBezTo>
                  <a:cubicBezTo>
                    <a:pt x="11509" y="225425"/>
                    <a:pt x="15265" y="225425"/>
                    <a:pt x="19020" y="225425"/>
                  </a:cubicBezTo>
                  <a:close/>
                  <a:moveTo>
                    <a:pt x="263040" y="134937"/>
                  </a:moveTo>
                  <a:lnTo>
                    <a:pt x="259159" y="138747"/>
                  </a:lnTo>
                  <a:cubicBezTo>
                    <a:pt x="259162" y="138756"/>
                    <a:pt x="259198" y="138860"/>
                    <a:pt x="259644" y="140176"/>
                  </a:cubicBezTo>
                  <a:lnTo>
                    <a:pt x="263040" y="150177"/>
                  </a:lnTo>
                  <a:lnTo>
                    <a:pt x="266920" y="153987"/>
                  </a:lnTo>
                  <a:cubicBezTo>
                    <a:pt x="266929" y="153987"/>
                    <a:pt x="267064" y="153987"/>
                    <a:pt x="269346" y="153987"/>
                  </a:cubicBezTo>
                  <a:lnTo>
                    <a:pt x="286323" y="153987"/>
                  </a:lnTo>
                  <a:cubicBezTo>
                    <a:pt x="290204" y="153987"/>
                    <a:pt x="294084" y="150177"/>
                    <a:pt x="290204" y="150177"/>
                  </a:cubicBezTo>
                  <a:lnTo>
                    <a:pt x="290204" y="138747"/>
                  </a:lnTo>
                  <a:lnTo>
                    <a:pt x="282443" y="134937"/>
                  </a:lnTo>
                  <a:cubicBezTo>
                    <a:pt x="282435" y="134937"/>
                    <a:pt x="282298" y="134937"/>
                    <a:pt x="280017" y="134937"/>
                  </a:cubicBezTo>
                  <a:lnTo>
                    <a:pt x="263040" y="134937"/>
                  </a:lnTo>
                  <a:close/>
                  <a:moveTo>
                    <a:pt x="221655" y="134937"/>
                  </a:moveTo>
                  <a:lnTo>
                    <a:pt x="217884" y="138747"/>
                  </a:lnTo>
                  <a:cubicBezTo>
                    <a:pt x="217884" y="138757"/>
                    <a:pt x="217884" y="138867"/>
                    <a:pt x="217884" y="140176"/>
                  </a:cubicBezTo>
                  <a:lnTo>
                    <a:pt x="217884" y="150177"/>
                  </a:lnTo>
                  <a:lnTo>
                    <a:pt x="221655" y="153987"/>
                  </a:lnTo>
                  <a:cubicBezTo>
                    <a:pt x="221665" y="153987"/>
                    <a:pt x="221807" y="153987"/>
                    <a:pt x="224011" y="153987"/>
                  </a:cubicBezTo>
                  <a:lnTo>
                    <a:pt x="240506" y="153987"/>
                  </a:lnTo>
                  <a:cubicBezTo>
                    <a:pt x="244277" y="153987"/>
                    <a:pt x="248047" y="153987"/>
                    <a:pt x="248047" y="150177"/>
                  </a:cubicBezTo>
                  <a:lnTo>
                    <a:pt x="244277" y="138747"/>
                  </a:lnTo>
                  <a:lnTo>
                    <a:pt x="240506" y="134937"/>
                  </a:lnTo>
                  <a:cubicBezTo>
                    <a:pt x="240497" y="134937"/>
                    <a:pt x="240356" y="134937"/>
                    <a:pt x="238150" y="134937"/>
                  </a:cubicBezTo>
                  <a:lnTo>
                    <a:pt x="221655" y="134937"/>
                  </a:lnTo>
                  <a:close/>
                  <a:moveTo>
                    <a:pt x="180975" y="134937"/>
                  </a:moveTo>
                  <a:lnTo>
                    <a:pt x="173434" y="138747"/>
                  </a:lnTo>
                  <a:cubicBezTo>
                    <a:pt x="173434" y="138758"/>
                    <a:pt x="173434" y="138871"/>
                    <a:pt x="173434" y="140176"/>
                  </a:cubicBezTo>
                  <a:lnTo>
                    <a:pt x="173434" y="150177"/>
                  </a:lnTo>
                  <a:cubicBezTo>
                    <a:pt x="173434" y="153987"/>
                    <a:pt x="177205" y="153987"/>
                    <a:pt x="180975" y="153987"/>
                  </a:cubicBezTo>
                  <a:cubicBezTo>
                    <a:pt x="180985" y="153987"/>
                    <a:pt x="181131" y="153987"/>
                    <a:pt x="183332" y="153987"/>
                  </a:cubicBezTo>
                  <a:lnTo>
                    <a:pt x="199827" y="153987"/>
                  </a:lnTo>
                  <a:lnTo>
                    <a:pt x="203597" y="150177"/>
                  </a:lnTo>
                  <a:lnTo>
                    <a:pt x="203597" y="138747"/>
                  </a:lnTo>
                  <a:lnTo>
                    <a:pt x="196056" y="134937"/>
                  </a:lnTo>
                  <a:cubicBezTo>
                    <a:pt x="196042" y="134937"/>
                    <a:pt x="195893" y="134937"/>
                    <a:pt x="194171" y="134937"/>
                  </a:cubicBezTo>
                  <a:lnTo>
                    <a:pt x="180975" y="134937"/>
                  </a:lnTo>
                  <a:close/>
                  <a:moveTo>
                    <a:pt x="259755" y="107950"/>
                  </a:moveTo>
                  <a:lnTo>
                    <a:pt x="255984" y="111760"/>
                  </a:lnTo>
                  <a:cubicBezTo>
                    <a:pt x="255987" y="111769"/>
                    <a:pt x="256020" y="111870"/>
                    <a:pt x="256456" y="113189"/>
                  </a:cubicBezTo>
                  <a:lnTo>
                    <a:pt x="259755" y="123190"/>
                  </a:lnTo>
                  <a:lnTo>
                    <a:pt x="263525" y="127000"/>
                  </a:lnTo>
                  <a:cubicBezTo>
                    <a:pt x="263534" y="127000"/>
                    <a:pt x="263664" y="127000"/>
                    <a:pt x="265882" y="127000"/>
                  </a:cubicBezTo>
                  <a:lnTo>
                    <a:pt x="282377" y="127000"/>
                  </a:lnTo>
                  <a:lnTo>
                    <a:pt x="286147" y="123190"/>
                  </a:lnTo>
                  <a:lnTo>
                    <a:pt x="286147" y="111760"/>
                  </a:lnTo>
                  <a:cubicBezTo>
                    <a:pt x="282377" y="107950"/>
                    <a:pt x="282377" y="107950"/>
                    <a:pt x="278606" y="107950"/>
                  </a:cubicBezTo>
                  <a:cubicBezTo>
                    <a:pt x="278599" y="107950"/>
                    <a:pt x="278465" y="107950"/>
                    <a:pt x="276250" y="107950"/>
                  </a:cubicBezTo>
                  <a:lnTo>
                    <a:pt x="259755" y="107950"/>
                  </a:lnTo>
                  <a:close/>
                  <a:moveTo>
                    <a:pt x="222250" y="107950"/>
                  </a:moveTo>
                  <a:cubicBezTo>
                    <a:pt x="218480" y="107950"/>
                    <a:pt x="214709" y="107950"/>
                    <a:pt x="214709" y="111760"/>
                  </a:cubicBezTo>
                  <a:cubicBezTo>
                    <a:pt x="214709" y="111769"/>
                    <a:pt x="214709" y="111878"/>
                    <a:pt x="214709" y="113189"/>
                  </a:cubicBezTo>
                  <a:lnTo>
                    <a:pt x="214709" y="123190"/>
                  </a:lnTo>
                  <a:lnTo>
                    <a:pt x="222250" y="127000"/>
                  </a:lnTo>
                  <a:cubicBezTo>
                    <a:pt x="222260" y="127000"/>
                    <a:pt x="222400" y="127000"/>
                    <a:pt x="224607" y="127000"/>
                  </a:cubicBezTo>
                  <a:lnTo>
                    <a:pt x="241102" y="127000"/>
                  </a:lnTo>
                  <a:lnTo>
                    <a:pt x="244872" y="123190"/>
                  </a:lnTo>
                  <a:lnTo>
                    <a:pt x="244872" y="111760"/>
                  </a:lnTo>
                  <a:cubicBezTo>
                    <a:pt x="244872" y="107950"/>
                    <a:pt x="241102" y="107950"/>
                    <a:pt x="237331" y="107950"/>
                  </a:cubicBezTo>
                  <a:cubicBezTo>
                    <a:pt x="237319" y="107950"/>
                    <a:pt x="237177" y="107950"/>
                    <a:pt x="235446" y="107950"/>
                  </a:cubicBezTo>
                  <a:lnTo>
                    <a:pt x="222250" y="107950"/>
                  </a:lnTo>
                  <a:close/>
                  <a:moveTo>
                    <a:pt x="180975" y="107950"/>
                  </a:moveTo>
                  <a:lnTo>
                    <a:pt x="173434" y="111760"/>
                  </a:lnTo>
                  <a:cubicBezTo>
                    <a:pt x="173434" y="111770"/>
                    <a:pt x="173434" y="111883"/>
                    <a:pt x="173434" y="113189"/>
                  </a:cubicBezTo>
                  <a:lnTo>
                    <a:pt x="173434" y="123190"/>
                  </a:lnTo>
                  <a:lnTo>
                    <a:pt x="180975" y="127000"/>
                  </a:lnTo>
                  <a:cubicBezTo>
                    <a:pt x="180990" y="127000"/>
                    <a:pt x="181137" y="127000"/>
                    <a:pt x="182860" y="127000"/>
                  </a:cubicBezTo>
                  <a:lnTo>
                    <a:pt x="196056" y="127000"/>
                  </a:lnTo>
                  <a:lnTo>
                    <a:pt x="203597" y="123190"/>
                  </a:lnTo>
                  <a:lnTo>
                    <a:pt x="203597" y="111760"/>
                  </a:lnTo>
                  <a:cubicBezTo>
                    <a:pt x="203597" y="107950"/>
                    <a:pt x="199827" y="107950"/>
                    <a:pt x="196056" y="107950"/>
                  </a:cubicBezTo>
                  <a:cubicBezTo>
                    <a:pt x="196043" y="107950"/>
                    <a:pt x="195894" y="107950"/>
                    <a:pt x="194171" y="107950"/>
                  </a:cubicBezTo>
                  <a:lnTo>
                    <a:pt x="180975" y="107950"/>
                  </a:lnTo>
                  <a:close/>
                  <a:moveTo>
                    <a:pt x="173434" y="82550"/>
                  </a:moveTo>
                  <a:cubicBezTo>
                    <a:pt x="173434" y="82559"/>
                    <a:pt x="173434" y="82665"/>
                    <a:pt x="173434" y="83890"/>
                  </a:cubicBezTo>
                  <a:lnTo>
                    <a:pt x="173434" y="93266"/>
                  </a:lnTo>
                  <a:cubicBezTo>
                    <a:pt x="173434" y="96838"/>
                    <a:pt x="177290" y="96838"/>
                    <a:pt x="181145" y="96838"/>
                  </a:cubicBezTo>
                  <a:cubicBezTo>
                    <a:pt x="181159" y="96838"/>
                    <a:pt x="181309" y="96838"/>
                    <a:pt x="183073" y="96838"/>
                  </a:cubicBezTo>
                  <a:lnTo>
                    <a:pt x="196567" y="96838"/>
                  </a:lnTo>
                  <a:lnTo>
                    <a:pt x="200422" y="93266"/>
                  </a:lnTo>
                  <a:lnTo>
                    <a:pt x="200422" y="82550"/>
                  </a:lnTo>
                  <a:cubicBezTo>
                    <a:pt x="196567" y="82550"/>
                    <a:pt x="196567" y="82550"/>
                    <a:pt x="194157" y="82550"/>
                  </a:cubicBezTo>
                  <a:lnTo>
                    <a:pt x="173434" y="82550"/>
                  </a:lnTo>
                  <a:close/>
                  <a:moveTo>
                    <a:pt x="256580" y="77787"/>
                  </a:moveTo>
                  <a:lnTo>
                    <a:pt x="252809" y="81597"/>
                  </a:lnTo>
                  <a:cubicBezTo>
                    <a:pt x="252809" y="81605"/>
                    <a:pt x="252809" y="81703"/>
                    <a:pt x="252809" y="83026"/>
                  </a:cubicBezTo>
                  <a:lnTo>
                    <a:pt x="252809" y="93027"/>
                  </a:lnTo>
                  <a:cubicBezTo>
                    <a:pt x="256580" y="96837"/>
                    <a:pt x="256580" y="96837"/>
                    <a:pt x="260350" y="96837"/>
                  </a:cubicBezTo>
                  <a:cubicBezTo>
                    <a:pt x="260361" y="96837"/>
                    <a:pt x="260490" y="96837"/>
                    <a:pt x="262235" y="96837"/>
                  </a:cubicBezTo>
                  <a:lnTo>
                    <a:pt x="275431" y="96837"/>
                  </a:lnTo>
                  <a:cubicBezTo>
                    <a:pt x="279202" y="96837"/>
                    <a:pt x="282972" y="96837"/>
                    <a:pt x="282972" y="93027"/>
                  </a:cubicBezTo>
                  <a:lnTo>
                    <a:pt x="279202" y="81597"/>
                  </a:lnTo>
                  <a:lnTo>
                    <a:pt x="275431" y="77787"/>
                  </a:lnTo>
                  <a:cubicBezTo>
                    <a:pt x="275424" y="77787"/>
                    <a:pt x="275296" y="77787"/>
                    <a:pt x="273075" y="77787"/>
                  </a:cubicBezTo>
                  <a:lnTo>
                    <a:pt x="256580" y="77787"/>
                  </a:lnTo>
                  <a:close/>
                  <a:moveTo>
                    <a:pt x="218565" y="77787"/>
                  </a:moveTo>
                  <a:lnTo>
                    <a:pt x="214709" y="81597"/>
                  </a:lnTo>
                  <a:cubicBezTo>
                    <a:pt x="214709" y="81606"/>
                    <a:pt x="214709" y="81713"/>
                    <a:pt x="214709" y="83026"/>
                  </a:cubicBezTo>
                  <a:lnTo>
                    <a:pt x="214709" y="93027"/>
                  </a:lnTo>
                  <a:lnTo>
                    <a:pt x="218565" y="96837"/>
                  </a:lnTo>
                  <a:cubicBezTo>
                    <a:pt x="218574" y="96837"/>
                    <a:pt x="218711" y="96837"/>
                    <a:pt x="220974" y="96837"/>
                  </a:cubicBezTo>
                  <a:lnTo>
                    <a:pt x="237842" y="96837"/>
                  </a:lnTo>
                  <a:lnTo>
                    <a:pt x="241697" y="93027"/>
                  </a:lnTo>
                  <a:lnTo>
                    <a:pt x="241697" y="81597"/>
                  </a:lnTo>
                  <a:lnTo>
                    <a:pt x="233986" y="77787"/>
                  </a:lnTo>
                  <a:cubicBezTo>
                    <a:pt x="233975" y="77787"/>
                    <a:pt x="233834" y="77787"/>
                    <a:pt x="232059" y="77787"/>
                  </a:cubicBezTo>
                  <a:lnTo>
                    <a:pt x="218565" y="77787"/>
                  </a:lnTo>
                  <a:close/>
                  <a:moveTo>
                    <a:pt x="151353" y="25400"/>
                  </a:moveTo>
                  <a:cubicBezTo>
                    <a:pt x="147601" y="25400"/>
                    <a:pt x="140096" y="25400"/>
                    <a:pt x="140096" y="29255"/>
                  </a:cubicBezTo>
                  <a:cubicBezTo>
                    <a:pt x="140096" y="29264"/>
                    <a:pt x="140096" y="29385"/>
                    <a:pt x="140096" y="31183"/>
                  </a:cubicBezTo>
                  <a:lnTo>
                    <a:pt x="140096" y="44677"/>
                  </a:lnTo>
                  <a:cubicBezTo>
                    <a:pt x="140096" y="48533"/>
                    <a:pt x="143849" y="52388"/>
                    <a:pt x="151353" y="52388"/>
                  </a:cubicBezTo>
                  <a:cubicBezTo>
                    <a:pt x="151369" y="52388"/>
                    <a:pt x="152868" y="52388"/>
                    <a:pt x="297692" y="52388"/>
                  </a:cubicBezTo>
                  <a:cubicBezTo>
                    <a:pt x="301444" y="52388"/>
                    <a:pt x="305196" y="48533"/>
                    <a:pt x="305196" y="44677"/>
                  </a:cubicBezTo>
                  <a:lnTo>
                    <a:pt x="301444" y="29255"/>
                  </a:lnTo>
                  <a:cubicBezTo>
                    <a:pt x="301444" y="25400"/>
                    <a:pt x="297692" y="25400"/>
                    <a:pt x="290187" y="25400"/>
                  </a:cubicBezTo>
                  <a:cubicBezTo>
                    <a:pt x="290173" y="25400"/>
                    <a:pt x="288749" y="25400"/>
                    <a:pt x="151353" y="25400"/>
                  </a:cubicBezTo>
                  <a:close/>
                  <a:moveTo>
                    <a:pt x="83361" y="11112"/>
                  </a:moveTo>
                  <a:cubicBezTo>
                    <a:pt x="71972" y="11112"/>
                    <a:pt x="56787" y="22294"/>
                    <a:pt x="56787" y="33475"/>
                  </a:cubicBezTo>
                  <a:cubicBezTo>
                    <a:pt x="56783" y="33497"/>
                    <a:pt x="56395" y="35165"/>
                    <a:pt x="26417" y="163926"/>
                  </a:cubicBezTo>
                  <a:cubicBezTo>
                    <a:pt x="22621" y="175108"/>
                    <a:pt x="34010" y="182562"/>
                    <a:pt x="52991" y="182562"/>
                  </a:cubicBezTo>
                  <a:cubicBezTo>
                    <a:pt x="53004" y="182562"/>
                    <a:pt x="53100" y="182562"/>
                    <a:pt x="53940" y="182562"/>
                  </a:cubicBezTo>
                  <a:lnTo>
                    <a:pt x="60583" y="182562"/>
                  </a:lnTo>
                  <a:cubicBezTo>
                    <a:pt x="75768" y="182562"/>
                    <a:pt x="90953" y="175108"/>
                    <a:pt x="94749" y="163926"/>
                  </a:cubicBezTo>
                  <a:lnTo>
                    <a:pt x="109934" y="29748"/>
                  </a:lnTo>
                  <a:cubicBezTo>
                    <a:pt x="109934" y="22294"/>
                    <a:pt x="102342" y="11112"/>
                    <a:pt x="90953" y="11112"/>
                  </a:cubicBezTo>
                  <a:cubicBezTo>
                    <a:pt x="90941" y="11112"/>
                    <a:pt x="90844" y="11112"/>
                    <a:pt x="90004" y="11112"/>
                  </a:cubicBezTo>
                  <a:lnTo>
                    <a:pt x="83361" y="11112"/>
                  </a:lnTo>
                  <a:close/>
                  <a:moveTo>
                    <a:pt x="64839" y="0"/>
                  </a:moveTo>
                  <a:cubicBezTo>
                    <a:pt x="64880" y="0"/>
                    <a:pt x="67922" y="0"/>
                    <a:pt x="297746" y="0"/>
                  </a:cubicBezTo>
                  <a:cubicBezTo>
                    <a:pt x="309016" y="0"/>
                    <a:pt x="320286" y="14999"/>
                    <a:pt x="324042" y="29998"/>
                  </a:cubicBezTo>
                  <a:cubicBezTo>
                    <a:pt x="324050" y="30025"/>
                    <a:pt x="324637" y="32025"/>
                    <a:pt x="369121" y="183740"/>
                  </a:cubicBezTo>
                  <a:cubicBezTo>
                    <a:pt x="376634" y="198739"/>
                    <a:pt x="369121" y="213738"/>
                    <a:pt x="354095" y="213738"/>
                  </a:cubicBezTo>
                  <a:cubicBezTo>
                    <a:pt x="354049" y="213739"/>
                    <a:pt x="350132" y="213783"/>
                    <a:pt x="16004" y="217488"/>
                  </a:cubicBezTo>
                  <a:cubicBezTo>
                    <a:pt x="4734" y="217488"/>
                    <a:pt x="-2779" y="202489"/>
                    <a:pt x="978" y="183740"/>
                  </a:cubicBezTo>
                  <a:cubicBezTo>
                    <a:pt x="984" y="183713"/>
                    <a:pt x="1472" y="181716"/>
                    <a:pt x="38543" y="29998"/>
                  </a:cubicBezTo>
                  <a:cubicBezTo>
                    <a:pt x="46057" y="14999"/>
                    <a:pt x="57326" y="0"/>
                    <a:pt x="64839"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grpSp>
        <p:nvGrpSpPr>
          <p:cNvPr id="18" name="组合 17">
            <a:extLst>
              <a:ext uri="{FF2B5EF4-FFF2-40B4-BE49-F238E27FC236}">
                <a16:creationId xmlns:a16="http://schemas.microsoft.com/office/drawing/2014/main" id="{FFEF8B44-C69C-4C91-B057-59CE983C60E9}"/>
              </a:ext>
            </a:extLst>
          </p:cNvPr>
          <p:cNvGrpSpPr>
            <a:grpSpLocks/>
          </p:cNvGrpSpPr>
          <p:nvPr/>
        </p:nvGrpSpPr>
        <p:grpSpPr bwMode="auto">
          <a:xfrm>
            <a:off x="8472488" y="3971925"/>
            <a:ext cx="541337" cy="446088"/>
            <a:chOff x="6457950" y="4031556"/>
            <a:chExt cx="940525" cy="777197"/>
          </a:xfrm>
        </p:grpSpPr>
        <p:sp>
          <p:nvSpPr>
            <p:cNvPr id="8" name="矩形 7">
              <a:extLst>
                <a:ext uri="{FF2B5EF4-FFF2-40B4-BE49-F238E27FC236}">
                  <a16:creationId xmlns:a16="http://schemas.microsoft.com/office/drawing/2014/main" id="{F634F6BE-07B3-45A2-A8E5-0D220D98349E}"/>
                </a:ext>
              </a:extLst>
            </p:cNvPr>
            <p:cNvSpPr/>
            <p:nvPr/>
          </p:nvSpPr>
          <p:spPr>
            <a:xfrm>
              <a:off x="6457950" y="4031556"/>
              <a:ext cx="940525" cy="777197"/>
            </a:xfrm>
            <a:prstGeom prst="rect">
              <a:avLst/>
            </a:prstGeom>
            <a:solidFill>
              <a:srgbClr val="C20F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27664" name="Freeform 1533">
              <a:extLst>
                <a:ext uri="{FF2B5EF4-FFF2-40B4-BE49-F238E27FC236}">
                  <a16:creationId xmlns:a16="http://schemas.microsoft.com/office/drawing/2014/main" id="{48937C89-B34A-48EC-8AE0-9EC6D9A29C30}"/>
                </a:ext>
              </a:extLst>
            </p:cNvPr>
            <p:cNvSpPr>
              <a:spLocks/>
            </p:cNvSpPr>
            <p:nvPr/>
          </p:nvSpPr>
          <p:spPr bwMode="auto">
            <a:xfrm>
              <a:off x="6658531" y="4211209"/>
              <a:ext cx="539362" cy="417890"/>
            </a:xfrm>
            <a:custGeom>
              <a:avLst/>
              <a:gdLst>
                <a:gd name="T0" fmla="*/ 184155 w 2417763"/>
                <a:gd name="T1" fmla="*/ 399412 h 1873250"/>
                <a:gd name="T2" fmla="*/ 350108 w 2417763"/>
                <a:gd name="T3" fmla="*/ 404078 h 1873250"/>
                <a:gd name="T4" fmla="*/ 350108 w 2417763"/>
                <a:gd name="T5" fmla="*/ 394162 h 1873250"/>
                <a:gd name="T6" fmla="*/ 187724 w 2417763"/>
                <a:gd name="T7" fmla="*/ 374685 h 1873250"/>
                <a:gd name="T8" fmla="*/ 187724 w 2417763"/>
                <a:gd name="T9" fmla="*/ 384601 h 1873250"/>
                <a:gd name="T10" fmla="*/ 353082 w 2417763"/>
                <a:gd name="T11" fmla="*/ 379934 h 1873250"/>
                <a:gd name="T12" fmla="*/ 187724 w 2417763"/>
                <a:gd name="T13" fmla="*/ 374685 h 1873250"/>
                <a:gd name="T14" fmla="*/ 184155 w 2417763"/>
                <a:gd name="T15" fmla="*/ 360290 h 1873250"/>
                <a:gd name="T16" fmla="*/ 350108 w 2417763"/>
                <a:gd name="T17" fmla="*/ 365123 h 1873250"/>
                <a:gd name="T18" fmla="*/ 350108 w 2417763"/>
                <a:gd name="T19" fmla="*/ 354853 h 1873250"/>
                <a:gd name="T20" fmla="*/ 187724 w 2417763"/>
                <a:gd name="T21" fmla="*/ 337854 h 1873250"/>
                <a:gd name="T22" fmla="*/ 187724 w 2417763"/>
                <a:gd name="T23" fmla="*/ 347061 h 1873250"/>
                <a:gd name="T24" fmla="*/ 353082 w 2417763"/>
                <a:gd name="T25" fmla="*/ 342458 h 1873250"/>
                <a:gd name="T26" fmla="*/ 187724 w 2417763"/>
                <a:gd name="T27" fmla="*/ 337854 h 1873250"/>
                <a:gd name="T28" fmla="*/ 184155 w 2417763"/>
                <a:gd name="T29" fmla="*/ 322803 h 1873250"/>
                <a:gd name="T30" fmla="*/ 350108 w 2417763"/>
                <a:gd name="T31" fmla="*/ 327584 h 1873250"/>
                <a:gd name="T32" fmla="*/ 350108 w 2417763"/>
                <a:gd name="T33" fmla="*/ 318022 h 1873250"/>
                <a:gd name="T34" fmla="*/ 140241 w 2417763"/>
                <a:gd name="T35" fmla="*/ 305626 h 1873250"/>
                <a:gd name="T36" fmla="*/ 397350 w 2417763"/>
                <a:gd name="T37" fmla="*/ 400664 h 1873250"/>
                <a:gd name="T38" fmla="*/ 159836 w 2417763"/>
                <a:gd name="T39" fmla="*/ 417890 h 1873250"/>
                <a:gd name="T40" fmla="*/ 140241 w 2417763"/>
                <a:gd name="T41" fmla="*/ 305626 h 1873250"/>
                <a:gd name="T42" fmla="*/ 49934 w 2417763"/>
                <a:gd name="T43" fmla="*/ 137585 h 1873250"/>
                <a:gd name="T44" fmla="*/ 87474 w 2417763"/>
                <a:gd name="T45" fmla="*/ 137585 h 1873250"/>
                <a:gd name="T46" fmla="*/ 472429 w 2417763"/>
                <a:gd name="T47" fmla="*/ 126430 h 1873250"/>
                <a:gd name="T48" fmla="*/ 472429 w 2417763"/>
                <a:gd name="T49" fmla="*/ 146616 h 1873250"/>
                <a:gd name="T50" fmla="*/ 472429 w 2417763"/>
                <a:gd name="T51" fmla="*/ 126430 h 1873250"/>
                <a:gd name="T52" fmla="*/ 428869 w 2417763"/>
                <a:gd name="T53" fmla="*/ 136523 h 1873250"/>
                <a:gd name="T54" fmla="*/ 451534 w 2417763"/>
                <a:gd name="T55" fmla="*/ 136523 h 1873250"/>
                <a:gd name="T56" fmla="*/ 36829 w 2417763"/>
                <a:gd name="T57" fmla="*/ 112264 h 1873250"/>
                <a:gd name="T58" fmla="*/ 140187 w 2417763"/>
                <a:gd name="T59" fmla="*/ 181689 h 1873250"/>
                <a:gd name="T60" fmla="*/ 377791 w 2417763"/>
                <a:gd name="T61" fmla="*/ 198897 h 1873250"/>
                <a:gd name="T62" fmla="*/ 397393 w 2417763"/>
                <a:gd name="T63" fmla="*/ 112264 h 1873250"/>
                <a:gd name="T64" fmla="*/ 539362 w 2417763"/>
                <a:gd name="T65" fmla="*/ 225599 h 1873250"/>
                <a:gd name="T66" fmla="*/ 447290 w 2417763"/>
                <a:gd name="T67" fmla="*/ 335374 h 1873250"/>
                <a:gd name="T68" fmla="*/ 430064 w 2417763"/>
                <a:gd name="T69" fmla="*/ 279597 h 1873250"/>
                <a:gd name="T70" fmla="*/ 89696 w 2417763"/>
                <a:gd name="T71" fmla="*/ 293838 h 1873250"/>
                <a:gd name="T72" fmla="*/ 36829 w 2417763"/>
                <a:gd name="T73" fmla="*/ 335374 h 1873250"/>
                <a:gd name="T74" fmla="*/ 36829 w 2417763"/>
                <a:gd name="T75" fmla="*/ 112264 h 1873250"/>
                <a:gd name="T76" fmla="*/ 377755 w 2417763"/>
                <a:gd name="T77" fmla="*/ 0 h 1873250"/>
                <a:gd name="T78" fmla="*/ 397350 w 2417763"/>
                <a:gd name="T79" fmla="*/ 112264 h 1873250"/>
                <a:gd name="T80" fmla="*/ 140241 w 2417763"/>
                <a:gd name="T81" fmla="*/ 17226 h 187325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417763" h="1873250">
                  <a:moveTo>
                    <a:pt x="841498" y="1766888"/>
                  </a:moveTo>
                  <a:cubicBezTo>
                    <a:pt x="833499" y="1766888"/>
                    <a:pt x="825500" y="1777347"/>
                    <a:pt x="825500" y="1790421"/>
                  </a:cubicBezTo>
                  <a:cubicBezTo>
                    <a:pt x="825500" y="1800879"/>
                    <a:pt x="833499" y="1811338"/>
                    <a:pt x="841498" y="1811338"/>
                  </a:cubicBezTo>
                  <a:cubicBezTo>
                    <a:pt x="841520" y="1811338"/>
                    <a:pt x="845511" y="1811338"/>
                    <a:pt x="1569407" y="1811338"/>
                  </a:cubicBezTo>
                  <a:cubicBezTo>
                    <a:pt x="1577406" y="1811338"/>
                    <a:pt x="1582738" y="1800879"/>
                    <a:pt x="1582738" y="1790421"/>
                  </a:cubicBezTo>
                  <a:cubicBezTo>
                    <a:pt x="1582738" y="1777347"/>
                    <a:pt x="1577406" y="1766888"/>
                    <a:pt x="1569407" y="1766888"/>
                  </a:cubicBezTo>
                  <a:cubicBezTo>
                    <a:pt x="1569389" y="1766888"/>
                    <a:pt x="1565817" y="1766888"/>
                    <a:pt x="841498" y="1766888"/>
                  </a:cubicBezTo>
                  <a:close/>
                  <a:moveTo>
                    <a:pt x="841498" y="1679576"/>
                  </a:moveTo>
                  <a:cubicBezTo>
                    <a:pt x="833499" y="1679576"/>
                    <a:pt x="825500" y="1690035"/>
                    <a:pt x="825500" y="1703109"/>
                  </a:cubicBezTo>
                  <a:cubicBezTo>
                    <a:pt x="825500" y="1713567"/>
                    <a:pt x="833499" y="1724026"/>
                    <a:pt x="841498" y="1724026"/>
                  </a:cubicBezTo>
                  <a:cubicBezTo>
                    <a:pt x="841523" y="1724026"/>
                    <a:pt x="845780" y="1724026"/>
                    <a:pt x="1569407" y="1724026"/>
                  </a:cubicBezTo>
                  <a:cubicBezTo>
                    <a:pt x="1577406" y="1724026"/>
                    <a:pt x="1582738" y="1713567"/>
                    <a:pt x="1582738" y="1703109"/>
                  </a:cubicBezTo>
                  <a:cubicBezTo>
                    <a:pt x="1582738" y="1690035"/>
                    <a:pt x="1577406" y="1679576"/>
                    <a:pt x="1569407" y="1679576"/>
                  </a:cubicBezTo>
                  <a:cubicBezTo>
                    <a:pt x="1569387" y="1679576"/>
                    <a:pt x="1565629" y="1679576"/>
                    <a:pt x="841498" y="1679576"/>
                  </a:cubicBezTo>
                  <a:close/>
                  <a:moveTo>
                    <a:pt x="841498" y="1590676"/>
                  </a:moveTo>
                  <a:cubicBezTo>
                    <a:pt x="833499" y="1590676"/>
                    <a:pt x="825500" y="1601509"/>
                    <a:pt x="825500" y="1615049"/>
                  </a:cubicBezTo>
                  <a:cubicBezTo>
                    <a:pt x="825500" y="1625882"/>
                    <a:pt x="833499" y="1636714"/>
                    <a:pt x="841498" y="1636714"/>
                  </a:cubicBezTo>
                  <a:cubicBezTo>
                    <a:pt x="841526" y="1636714"/>
                    <a:pt x="845993" y="1636714"/>
                    <a:pt x="1569407" y="1636714"/>
                  </a:cubicBezTo>
                  <a:cubicBezTo>
                    <a:pt x="1577406" y="1636714"/>
                    <a:pt x="1582738" y="1625882"/>
                    <a:pt x="1582738" y="1615049"/>
                  </a:cubicBezTo>
                  <a:cubicBezTo>
                    <a:pt x="1582738" y="1601509"/>
                    <a:pt x="1577406" y="1590676"/>
                    <a:pt x="1569407" y="1590676"/>
                  </a:cubicBezTo>
                  <a:cubicBezTo>
                    <a:pt x="1569385" y="1590676"/>
                    <a:pt x="1565495" y="1590676"/>
                    <a:pt x="841498" y="1590676"/>
                  </a:cubicBezTo>
                  <a:close/>
                  <a:moveTo>
                    <a:pt x="841498" y="1514476"/>
                  </a:moveTo>
                  <a:cubicBezTo>
                    <a:pt x="833499" y="1514476"/>
                    <a:pt x="825500" y="1522215"/>
                    <a:pt x="825500" y="1535114"/>
                  </a:cubicBezTo>
                  <a:cubicBezTo>
                    <a:pt x="825500" y="1545432"/>
                    <a:pt x="833499" y="1555751"/>
                    <a:pt x="841498" y="1555751"/>
                  </a:cubicBezTo>
                  <a:cubicBezTo>
                    <a:pt x="841528" y="1555751"/>
                    <a:pt x="846170" y="1555751"/>
                    <a:pt x="1569407" y="1555751"/>
                  </a:cubicBezTo>
                  <a:cubicBezTo>
                    <a:pt x="1577406" y="1555751"/>
                    <a:pt x="1582738" y="1545432"/>
                    <a:pt x="1582738" y="1535114"/>
                  </a:cubicBezTo>
                  <a:cubicBezTo>
                    <a:pt x="1582738" y="1522215"/>
                    <a:pt x="1577406" y="1514476"/>
                    <a:pt x="1569407" y="1514476"/>
                  </a:cubicBezTo>
                  <a:cubicBezTo>
                    <a:pt x="1569384" y="1514476"/>
                    <a:pt x="1565394" y="1514476"/>
                    <a:pt x="841498" y="1514476"/>
                  </a:cubicBezTo>
                  <a:close/>
                  <a:moveTo>
                    <a:pt x="841498" y="1425576"/>
                  </a:moveTo>
                  <a:cubicBezTo>
                    <a:pt x="833499" y="1425576"/>
                    <a:pt x="825500" y="1433613"/>
                    <a:pt x="825500" y="1447008"/>
                  </a:cubicBezTo>
                  <a:cubicBezTo>
                    <a:pt x="825500" y="1457723"/>
                    <a:pt x="833499" y="1468439"/>
                    <a:pt x="841498" y="1468439"/>
                  </a:cubicBezTo>
                  <a:cubicBezTo>
                    <a:pt x="841530" y="1468439"/>
                    <a:pt x="846323" y="1468439"/>
                    <a:pt x="1569407" y="1468439"/>
                  </a:cubicBezTo>
                  <a:cubicBezTo>
                    <a:pt x="1577406" y="1468439"/>
                    <a:pt x="1582738" y="1457723"/>
                    <a:pt x="1582738" y="1447008"/>
                  </a:cubicBezTo>
                  <a:cubicBezTo>
                    <a:pt x="1582738" y="1433613"/>
                    <a:pt x="1577406" y="1425576"/>
                    <a:pt x="1569407" y="1425576"/>
                  </a:cubicBezTo>
                  <a:cubicBezTo>
                    <a:pt x="1569383" y="1425576"/>
                    <a:pt x="1565311" y="1425576"/>
                    <a:pt x="841498" y="1425576"/>
                  </a:cubicBezTo>
                  <a:close/>
                  <a:moveTo>
                    <a:pt x="628650" y="1370012"/>
                  </a:moveTo>
                  <a:cubicBezTo>
                    <a:pt x="628689" y="1370012"/>
                    <a:pt x="635362" y="1370012"/>
                    <a:pt x="1781175" y="1370012"/>
                  </a:cubicBezTo>
                  <a:cubicBezTo>
                    <a:pt x="1781175" y="1370046"/>
                    <a:pt x="1781175" y="1373798"/>
                    <a:pt x="1781175" y="1796034"/>
                  </a:cubicBezTo>
                  <a:cubicBezTo>
                    <a:pt x="1781175" y="1838636"/>
                    <a:pt x="1741249" y="1873250"/>
                    <a:pt x="1693338" y="1873250"/>
                  </a:cubicBezTo>
                  <a:cubicBezTo>
                    <a:pt x="1693301" y="1873250"/>
                    <a:pt x="1687336" y="1873250"/>
                    <a:pt x="716487" y="1873250"/>
                  </a:cubicBezTo>
                  <a:cubicBezTo>
                    <a:pt x="665914" y="1873250"/>
                    <a:pt x="628650" y="1838636"/>
                    <a:pt x="628650" y="1796034"/>
                  </a:cubicBezTo>
                  <a:lnTo>
                    <a:pt x="628650" y="1370012"/>
                  </a:lnTo>
                  <a:close/>
                  <a:moveTo>
                    <a:pt x="307976" y="587376"/>
                  </a:moveTo>
                  <a:cubicBezTo>
                    <a:pt x="261508" y="587376"/>
                    <a:pt x="223838" y="600525"/>
                    <a:pt x="223838" y="616745"/>
                  </a:cubicBezTo>
                  <a:cubicBezTo>
                    <a:pt x="223838" y="632965"/>
                    <a:pt x="261508" y="646114"/>
                    <a:pt x="307976" y="646114"/>
                  </a:cubicBezTo>
                  <a:cubicBezTo>
                    <a:pt x="354444" y="646114"/>
                    <a:pt x="392114" y="632965"/>
                    <a:pt x="392114" y="616745"/>
                  </a:cubicBezTo>
                  <a:cubicBezTo>
                    <a:pt x="392114" y="600525"/>
                    <a:pt x="354444" y="587376"/>
                    <a:pt x="307976" y="587376"/>
                  </a:cubicBezTo>
                  <a:close/>
                  <a:moveTo>
                    <a:pt x="2117725" y="566738"/>
                  </a:moveTo>
                  <a:cubicBezTo>
                    <a:pt x="2089669" y="566738"/>
                    <a:pt x="2066925" y="586994"/>
                    <a:pt x="2066925" y="611982"/>
                  </a:cubicBezTo>
                  <a:cubicBezTo>
                    <a:pt x="2066925" y="636970"/>
                    <a:pt x="2089669" y="657226"/>
                    <a:pt x="2117725" y="657226"/>
                  </a:cubicBezTo>
                  <a:cubicBezTo>
                    <a:pt x="2145781" y="657226"/>
                    <a:pt x="2168525" y="636970"/>
                    <a:pt x="2168525" y="611982"/>
                  </a:cubicBezTo>
                  <a:cubicBezTo>
                    <a:pt x="2168525" y="586994"/>
                    <a:pt x="2145781" y="566738"/>
                    <a:pt x="2117725" y="566738"/>
                  </a:cubicBezTo>
                  <a:close/>
                  <a:moveTo>
                    <a:pt x="1973263" y="566738"/>
                  </a:moveTo>
                  <a:cubicBezTo>
                    <a:pt x="1945207" y="566738"/>
                    <a:pt x="1922463" y="586994"/>
                    <a:pt x="1922463" y="611982"/>
                  </a:cubicBezTo>
                  <a:cubicBezTo>
                    <a:pt x="1922463" y="636970"/>
                    <a:pt x="1945207" y="657226"/>
                    <a:pt x="1973263" y="657226"/>
                  </a:cubicBezTo>
                  <a:cubicBezTo>
                    <a:pt x="2001319" y="657226"/>
                    <a:pt x="2024063" y="636970"/>
                    <a:pt x="2024063" y="611982"/>
                  </a:cubicBezTo>
                  <a:cubicBezTo>
                    <a:pt x="2024063" y="586994"/>
                    <a:pt x="2001319" y="566738"/>
                    <a:pt x="1973263" y="566738"/>
                  </a:cubicBezTo>
                  <a:close/>
                  <a:moveTo>
                    <a:pt x="165090" y="503237"/>
                  </a:moveTo>
                  <a:cubicBezTo>
                    <a:pt x="165124" y="503237"/>
                    <a:pt x="169064" y="503237"/>
                    <a:pt x="628406" y="503237"/>
                  </a:cubicBezTo>
                  <a:cubicBezTo>
                    <a:pt x="628406" y="503269"/>
                    <a:pt x="628406" y="506376"/>
                    <a:pt x="628406" y="814446"/>
                  </a:cubicBezTo>
                  <a:cubicBezTo>
                    <a:pt x="628406" y="857005"/>
                    <a:pt x="665684" y="891584"/>
                    <a:pt x="716276" y="891584"/>
                  </a:cubicBezTo>
                  <a:cubicBezTo>
                    <a:pt x="716324" y="891584"/>
                    <a:pt x="723085" y="891584"/>
                    <a:pt x="1693499" y="891584"/>
                  </a:cubicBezTo>
                  <a:cubicBezTo>
                    <a:pt x="1741429" y="891584"/>
                    <a:pt x="1781370" y="857005"/>
                    <a:pt x="1781370" y="814446"/>
                  </a:cubicBezTo>
                  <a:cubicBezTo>
                    <a:pt x="1781370" y="814417"/>
                    <a:pt x="1781370" y="811418"/>
                    <a:pt x="1781370" y="503237"/>
                  </a:cubicBezTo>
                  <a:cubicBezTo>
                    <a:pt x="1781399" y="503237"/>
                    <a:pt x="1785017" y="503237"/>
                    <a:pt x="2244685" y="503237"/>
                  </a:cubicBezTo>
                  <a:cubicBezTo>
                    <a:pt x="2292615" y="503237"/>
                    <a:pt x="2417763" y="670811"/>
                    <a:pt x="2417763" y="1011279"/>
                  </a:cubicBezTo>
                  <a:cubicBezTo>
                    <a:pt x="2417763" y="1354407"/>
                    <a:pt x="2297940" y="1503362"/>
                    <a:pt x="2250011" y="1503362"/>
                  </a:cubicBezTo>
                  <a:cubicBezTo>
                    <a:pt x="2249986" y="1503362"/>
                    <a:pt x="2247537" y="1503362"/>
                    <a:pt x="2005039" y="1503362"/>
                  </a:cubicBezTo>
                  <a:cubicBezTo>
                    <a:pt x="2005039" y="1503183"/>
                    <a:pt x="2005039" y="1362358"/>
                    <a:pt x="2005039" y="1317169"/>
                  </a:cubicBezTo>
                  <a:cubicBezTo>
                    <a:pt x="2005039" y="1271950"/>
                    <a:pt x="1986400" y="1253331"/>
                    <a:pt x="1927820" y="1253331"/>
                  </a:cubicBezTo>
                  <a:cubicBezTo>
                    <a:pt x="1605629" y="1253331"/>
                    <a:pt x="734915" y="1253331"/>
                    <a:pt x="476630" y="1253331"/>
                  </a:cubicBezTo>
                  <a:cubicBezTo>
                    <a:pt x="428700" y="1253331"/>
                    <a:pt x="402073" y="1285250"/>
                    <a:pt x="402073" y="1317169"/>
                  </a:cubicBezTo>
                  <a:cubicBezTo>
                    <a:pt x="402073" y="1362383"/>
                    <a:pt x="402073" y="1503334"/>
                    <a:pt x="402073" y="1503362"/>
                  </a:cubicBezTo>
                  <a:cubicBezTo>
                    <a:pt x="402056" y="1503362"/>
                    <a:pt x="400083" y="1503362"/>
                    <a:pt x="165090" y="1503362"/>
                  </a:cubicBezTo>
                  <a:cubicBezTo>
                    <a:pt x="117160" y="1503362"/>
                    <a:pt x="0" y="1335788"/>
                    <a:pt x="0" y="995320"/>
                  </a:cubicBezTo>
                  <a:cubicBezTo>
                    <a:pt x="0" y="652192"/>
                    <a:pt x="117160" y="503237"/>
                    <a:pt x="165090" y="503237"/>
                  </a:cubicBezTo>
                  <a:close/>
                  <a:moveTo>
                    <a:pt x="716487" y="0"/>
                  </a:moveTo>
                  <a:cubicBezTo>
                    <a:pt x="716522" y="0"/>
                    <a:pt x="722407" y="0"/>
                    <a:pt x="1693338" y="0"/>
                  </a:cubicBezTo>
                  <a:cubicBezTo>
                    <a:pt x="1741249" y="0"/>
                    <a:pt x="1781175" y="34614"/>
                    <a:pt x="1781175" y="77216"/>
                  </a:cubicBezTo>
                  <a:lnTo>
                    <a:pt x="1781175" y="503238"/>
                  </a:lnTo>
                  <a:cubicBezTo>
                    <a:pt x="1781132" y="503238"/>
                    <a:pt x="1774086" y="503238"/>
                    <a:pt x="628650" y="503238"/>
                  </a:cubicBezTo>
                  <a:cubicBezTo>
                    <a:pt x="628650" y="503203"/>
                    <a:pt x="628650" y="499377"/>
                    <a:pt x="628650" y="77216"/>
                  </a:cubicBezTo>
                  <a:cubicBezTo>
                    <a:pt x="628650" y="34614"/>
                    <a:pt x="665914" y="0"/>
                    <a:pt x="716487"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grpSp>
        <p:nvGrpSpPr>
          <p:cNvPr id="19" name="组合 18">
            <a:extLst>
              <a:ext uri="{FF2B5EF4-FFF2-40B4-BE49-F238E27FC236}">
                <a16:creationId xmlns:a16="http://schemas.microsoft.com/office/drawing/2014/main" id="{9F521BA0-18E0-4DD9-9EC4-C26BAEF2B020}"/>
              </a:ext>
            </a:extLst>
          </p:cNvPr>
          <p:cNvGrpSpPr>
            <a:grpSpLocks/>
          </p:cNvGrpSpPr>
          <p:nvPr/>
        </p:nvGrpSpPr>
        <p:grpSpPr bwMode="auto">
          <a:xfrm>
            <a:off x="8472488" y="4933950"/>
            <a:ext cx="541337" cy="446088"/>
            <a:chOff x="6457950" y="4990000"/>
            <a:chExt cx="940525" cy="777197"/>
          </a:xfrm>
        </p:grpSpPr>
        <p:sp>
          <p:nvSpPr>
            <p:cNvPr id="9" name="矩形 8">
              <a:extLst>
                <a:ext uri="{FF2B5EF4-FFF2-40B4-BE49-F238E27FC236}">
                  <a16:creationId xmlns:a16="http://schemas.microsoft.com/office/drawing/2014/main" id="{5A96FD02-0FE3-4F13-8D8F-284F31D4B951}"/>
                </a:ext>
              </a:extLst>
            </p:cNvPr>
            <p:cNvSpPr/>
            <p:nvPr/>
          </p:nvSpPr>
          <p:spPr>
            <a:xfrm>
              <a:off x="6457950" y="4990000"/>
              <a:ext cx="940525" cy="777197"/>
            </a:xfrm>
            <a:prstGeom prst="rect">
              <a:avLst/>
            </a:prstGeom>
            <a:solidFill>
              <a:srgbClr val="29292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27662" name="Freeform 1690">
              <a:extLst>
                <a:ext uri="{FF2B5EF4-FFF2-40B4-BE49-F238E27FC236}">
                  <a16:creationId xmlns:a16="http://schemas.microsoft.com/office/drawing/2014/main" id="{363E421D-381A-4142-A57E-ED379D928527}"/>
                </a:ext>
              </a:extLst>
            </p:cNvPr>
            <p:cNvSpPr>
              <a:spLocks/>
            </p:cNvSpPr>
            <p:nvPr/>
          </p:nvSpPr>
          <p:spPr bwMode="auto">
            <a:xfrm>
              <a:off x="6694781" y="5170255"/>
              <a:ext cx="466862" cy="416688"/>
            </a:xfrm>
            <a:custGeom>
              <a:avLst/>
              <a:gdLst>
                <a:gd name="T0" fmla="*/ 291979 w 487363"/>
                <a:gd name="T1" fmla="*/ 282864 h 434985"/>
                <a:gd name="T2" fmla="*/ 294989 w 487363"/>
                <a:gd name="T3" fmla="*/ 295030 h 434985"/>
                <a:gd name="T4" fmla="*/ 427448 w 487363"/>
                <a:gd name="T5" fmla="*/ 389315 h 434985"/>
                <a:gd name="T6" fmla="*/ 433468 w 487363"/>
                <a:gd name="T7" fmla="*/ 389315 h 434985"/>
                <a:gd name="T8" fmla="*/ 436478 w 487363"/>
                <a:gd name="T9" fmla="*/ 377149 h 434985"/>
                <a:gd name="T10" fmla="*/ 301010 w 487363"/>
                <a:gd name="T11" fmla="*/ 282864 h 434985"/>
                <a:gd name="T12" fmla="*/ 291979 w 487363"/>
                <a:gd name="T13" fmla="*/ 282864 h 434985"/>
                <a:gd name="T14" fmla="*/ 164238 w 487363"/>
                <a:gd name="T15" fmla="*/ 282864 h 434985"/>
                <a:gd name="T16" fmla="*/ 30414 w 487363"/>
                <a:gd name="T17" fmla="*/ 377149 h 434985"/>
                <a:gd name="T18" fmla="*/ 30414 w 487363"/>
                <a:gd name="T19" fmla="*/ 386274 h 434985"/>
                <a:gd name="T20" fmla="*/ 39539 w 487363"/>
                <a:gd name="T21" fmla="*/ 389315 h 434985"/>
                <a:gd name="T22" fmla="*/ 173362 w 487363"/>
                <a:gd name="T23" fmla="*/ 295030 h 434985"/>
                <a:gd name="T24" fmla="*/ 176404 w 487363"/>
                <a:gd name="T25" fmla="*/ 282864 h 434985"/>
                <a:gd name="T26" fmla="*/ 164238 w 487363"/>
                <a:gd name="T27" fmla="*/ 282864 h 434985"/>
                <a:gd name="T28" fmla="*/ 24253 w 487363"/>
                <a:gd name="T29" fmla="*/ 136875 h 434985"/>
                <a:gd name="T30" fmla="*/ 233431 w 487363"/>
                <a:gd name="T31" fmla="*/ 279823 h 434985"/>
                <a:gd name="T32" fmla="*/ 439578 w 487363"/>
                <a:gd name="T33" fmla="*/ 136875 h 434985"/>
                <a:gd name="T34" fmla="*/ 466862 w 487363"/>
                <a:gd name="T35" fmla="*/ 158165 h 434985"/>
                <a:gd name="T36" fmla="*/ 466862 w 487363"/>
                <a:gd name="T37" fmla="*/ 392356 h 434985"/>
                <a:gd name="T38" fmla="*/ 442610 w 487363"/>
                <a:gd name="T39" fmla="*/ 416688 h 434985"/>
                <a:gd name="T40" fmla="*/ 24253 w 487363"/>
                <a:gd name="T41" fmla="*/ 416688 h 434985"/>
                <a:gd name="T42" fmla="*/ 0 w 487363"/>
                <a:gd name="T43" fmla="*/ 392356 h 434985"/>
                <a:gd name="T44" fmla="*/ 0 w 487363"/>
                <a:gd name="T45" fmla="*/ 158165 h 434985"/>
                <a:gd name="T46" fmla="*/ 24253 w 487363"/>
                <a:gd name="T47" fmla="*/ 136875 h 434985"/>
                <a:gd name="T48" fmla="*/ 233431 w 487363"/>
                <a:gd name="T49" fmla="*/ 0 h 434985"/>
                <a:gd name="T50" fmla="*/ 248577 w 487363"/>
                <a:gd name="T51" fmla="*/ 4535 h 434985"/>
                <a:gd name="T52" fmla="*/ 412152 w 487363"/>
                <a:gd name="T53" fmla="*/ 110344 h 434985"/>
                <a:gd name="T54" fmla="*/ 412152 w 487363"/>
                <a:gd name="T55" fmla="*/ 128483 h 434985"/>
                <a:gd name="T56" fmla="*/ 248577 w 487363"/>
                <a:gd name="T57" fmla="*/ 243362 h 434985"/>
                <a:gd name="T58" fmla="*/ 218286 w 487363"/>
                <a:gd name="T59" fmla="*/ 243362 h 434985"/>
                <a:gd name="T60" fmla="*/ 54710 w 487363"/>
                <a:gd name="T61" fmla="*/ 128483 h 434985"/>
                <a:gd name="T62" fmla="*/ 54710 w 487363"/>
                <a:gd name="T63" fmla="*/ 110344 h 434985"/>
                <a:gd name="T64" fmla="*/ 218286 w 487363"/>
                <a:gd name="T65" fmla="*/ 4535 h 434985"/>
                <a:gd name="T66" fmla="*/ 233431 w 487363"/>
                <a:gd name="T67" fmla="*/ 0 h 43498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87363" h="434985">
                  <a:moveTo>
                    <a:pt x="304800" y="295285"/>
                  </a:moveTo>
                  <a:lnTo>
                    <a:pt x="307943" y="307985"/>
                  </a:lnTo>
                  <a:cubicBezTo>
                    <a:pt x="307952" y="307991"/>
                    <a:pt x="309043" y="308768"/>
                    <a:pt x="446218" y="406410"/>
                  </a:cubicBezTo>
                  <a:cubicBezTo>
                    <a:pt x="449360" y="406410"/>
                    <a:pt x="449360" y="406410"/>
                    <a:pt x="452503" y="406410"/>
                  </a:cubicBezTo>
                  <a:lnTo>
                    <a:pt x="455645" y="393710"/>
                  </a:lnTo>
                  <a:cubicBezTo>
                    <a:pt x="455636" y="393704"/>
                    <a:pt x="454532" y="392935"/>
                    <a:pt x="314228" y="295285"/>
                  </a:cubicBezTo>
                  <a:cubicBezTo>
                    <a:pt x="311085" y="292110"/>
                    <a:pt x="307943" y="292110"/>
                    <a:pt x="304800" y="295285"/>
                  </a:cubicBezTo>
                  <a:close/>
                  <a:moveTo>
                    <a:pt x="171450" y="295285"/>
                  </a:moveTo>
                  <a:cubicBezTo>
                    <a:pt x="171443" y="295290"/>
                    <a:pt x="170485" y="295965"/>
                    <a:pt x="31750" y="393710"/>
                  </a:cubicBezTo>
                  <a:cubicBezTo>
                    <a:pt x="28575" y="396885"/>
                    <a:pt x="28575" y="400060"/>
                    <a:pt x="31750" y="403235"/>
                  </a:cubicBezTo>
                  <a:cubicBezTo>
                    <a:pt x="38100" y="406410"/>
                    <a:pt x="38100" y="406410"/>
                    <a:pt x="41275" y="406410"/>
                  </a:cubicBezTo>
                  <a:cubicBezTo>
                    <a:pt x="41288" y="406402"/>
                    <a:pt x="42592" y="405482"/>
                    <a:pt x="180975" y="307985"/>
                  </a:cubicBezTo>
                  <a:lnTo>
                    <a:pt x="184150" y="295285"/>
                  </a:lnTo>
                  <a:cubicBezTo>
                    <a:pt x="180975" y="292110"/>
                    <a:pt x="177800" y="292110"/>
                    <a:pt x="171450" y="295285"/>
                  </a:cubicBezTo>
                  <a:close/>
                  <a:moveTo>
                    <a:pt x="25318" y="142885"/>
                  </a:moveTo>
                  <a:cubicBezTo>
                    <a:pt x="28482" y="142885"/>
                    <a:pt x="28482" y="142885"/>
                    <a:pt x="243682" y="292110"/>
                  </a:cubicBezTo>
                  <a:cubicBezTo>
                    <a:pt x="243693" y="292103"/>
                    <a:pt x="245225" y="291041"/>
                    <a:pt x="458881" y="142885"/>
                  </a:cubicBezTo>
                  <a:cubicBezTo>
                    <a:pt x="474704" y="142885"/>
                    <a:pt x="487363" y="152410"/>
                    <a:pt x="487363" y="165110"/>
                  </a:cubicBezTo>
                  <a:cubicBezTo>
                    <a:pt x="487363" y="165122"/>
                    <a:pt x="487363" y="166805"/>
                    <a:pt x="487363" y="409585"/>
                  </a:cubicBezTo>
                  <a:cubicBezTo>
                    <a:pt x="487363" y="422285"/>
                    <a:pt x="474704" y="434985"/>
                    <a:pt x="462046" y="434985"/>
                  </a:cubicBezTo>
                  <a:cubicBezTo>
                    <a:pt x="462028" y="434985"/>
                    <a:pt x="459294" y="434985"/>
                    <a:pt x="25318" y="434985"/>
                  </a:cubicBezTo>
                  <a:cubicBezTo>
                    <a:pt x="12659" y="434985"/>
                    <a:pt x="0" y="422285"/>
                    <a:pt x="0" y="409585"/>
                  </a:cubicBezTo>
                  <a:cubicBezTo>
                    <a:pt x="0" y="409573"/>
                    <a:pt x="0" y="407876"/>
                    <a:pt x="0" y="165110"/>
                  </a:cubicBezTo>
                  <a:cubicBezTo>
                    <a:pt x="0" y="152410"/>
                    <a:pt x="12659" y="142885"/>
                    <a:pt x="25318" y="142885"/>
                  </a:cubicBezTo>
                  <a:close/>
                  <a:moveTo>
                    <a:pt x="243682" y="0"/>
                  </a:moveTo>
                  <a:cubicBezTo>
                    <a:pt x="249215" y="0"/>
                    <a:pt x="254749" y="1578"/>
                    <a:pt x="259493" y="4734"/>
                  </a:cubicBezTo>
                  <a:cubicBezTo>
                    <a:pt x="259493" y="4734"/>
                    <a:pt x="259493" y="4734"/>
                    <a:pt x="430251" y="115189"/>
                  </a:cubicBezTo>
                  <a:cubicBezTo>
                    <a:pt x="436576" y="121501"/>
                    <a:pt x="439738" y="130969"/>
                    <a:pt x="430251" y="134125"/>
                  </a:cubicBezTo>
                  <a:lnTo>
                    <a:pt x="259493" y="254048"/>
                  </a:lnTo>
                  <a:cubicBezTo>
                    <a:pt x="250006" y="260360"/>
                    <a:pt x="237357" y="260360"/>
                    <a:pt x="227871" y="254048"/>
                  </a:cubicBezTo>
                  <a:cubicBezTo>
                    <a:pt x="227871" y="254048"/>
                    <a:pt x="227871" y="254048"/>
                    <a:pt x="57112" y="134125"/>
                  </a:cubicBezTo>
                  <a:cubicBezTo>
                    <a:pt x="47625" y="130969"/>
                    <a:pt x="47625" y="121501"/>
                    <a:pt x="57112" y="115189"/>
                  </a:cubicBezTo>
                  <a:cubicBezTo>
                    <a:pt x="57112" y="115189"/>
                    <a:pt x="57112" y="115189"/>
                    <a:pt x="227871" y="4734"/>
                  </a:cubicBezTo>
                  <a:cubicBezTo>
                    <a:pt x="232614" y="1578"/>
                    <a:pt x="238148" y="0"/>
                    <a:pt x="243682"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grpSp>
        <p:nvGrpSpPr>
          <p:cNvPr id="20" name="组合 19">
            <a:extLst>
              <a:ext uri="{FF2B5EF4-FFF2-40B4-BE49-F238E27FC236}">
                <a16:creationId xmlns:a16="http://schemas.microsoft.com/office/drawing/2014/main" id="{C79CF7F7-C57B-4204-A4D9-F1F6F1729301}"/>
              </a:ext>
            </a:extLst>
          </p:cNvPr>
          <p:cNvGrpSpPr/>
          <p:nvPr/>
        </p:nvGrpSpPr>
        <p:grpSpPr>
          <a:xfrm>
            <a:off x="754529" y="2041000"/>
            <a:ext cx="7280908" cy="3444524"/>
            <a:chOff x="1648185" y="1123951"/>
            <a:chExt cx="6117256" cy="2894012"/>
          </a:xfrm>
          <a:solidFill>
            <a:schemeClr val="bg2">
              <a:lumMod val="90000"/>
            </a:schemeClr>
          </a:solidFill>
        </p:grpSpPr>
        <p:sp>
          <p:nvSpPr>
            <p:cNvPr id="21" name="Freeform 6">
              <a:extLst>
                <a:ext uri="{FF2B5EF4-FFF2-40B4-BE49-F238E27FC236}">
                  <a16:creationId xmlns:a16="http://schemas.microsoft.com/office/drawing/2014/main" id="{55F666E0-5849-4DBD-8FD2-9F93C5592B04}"/>
                </a:ext>
              </a:extLst>
            </p:cNvPr>
            <p:cNvSpPr>
              <a:spLocks/>
            </p:cNvSpPr>
            <p:nvPr/>
          </p:nvSpPr>
          <p:spPr bwMode="auto">
            <a:xfrm>
              <a:off x="2837189" y="1217456"/>
              <a:ext cx="46175" cy="24242"/>
            </a:xfrm>
            <a:custGeom>
              <a:avLst/>
              <a:gdLst>
                <a:gd name="T0" fmla="*/ 9 w 17"/>
                <a:gd name="T1" fmla="*/ 1 h 9"/>
                <a:gd name="T2" fmla="*/ 10 w 17"/>
                <a:gd name="T3" fmla="*/ 2 h 9"/>
                <a:gd name="T4" fmla="*/ 13 w 17"/>
                <a:gd name="T5" fmla="*/ 8 h 9"/>
                <a:gd name="T6" fmla="*/ 6 w 17"/>
                <a:gd name="T7" fmla="*/ 5 h 9"/>
                <a:gd name="T8" fmla="*/ 9 w 17"/>
                <a:gd name="T9" fmla="*/ 1 h 9"/>
              </a:gdLst>
              <a:ahLst/>
              <a:cxnLst>
                <a:cxn ang="0">
                  <a:pos x="T0" y="T1"/>
                </a:cxn>
                <a:cxn ang="0">
                  <a:pos x="T2" y="T3"/>
                </a:cxn>
                <a:cxn ang="0">
                  <a:pos x="T4" y="T5"/>
                </a:cxn>
                <a:cxn ang="0">
                  <a:pos x="T6" y="T7"/>
                </a:cxn>
                <a:cxn ang="0">
                  <a:pos x="T8" y="T9"/>
                </a:cxn>
              </a:cxnLst>
              <a:rect l="0" t="0" r="r" b="b"/>
              <a:pathLst>
                <a:path w="17" h="9">
                  <a:moveTo>
                    <a:pt x="9" y="1"/>
                  </a:moveTo>
                  <a:cubicBezTo>
                    <a:pt x="10" y="0"/>
                    <a:pt x="10" y="1"/>
                    <a:pt x="10" y="2"/>
                  </a:cubicBezTo>
                  <a:cubicBezTo>
                    <a:pt x="12" y="5"/>
                    <a:pt x="17" y="5"/>
                    <a:pt x="13" y="8"/>
                  </a:cubicBezTo>
                  <a:cubicBezTo>
                    <a:pt x="9" y="9"/>
                    <a:pt x="11" y="3"/>
                    <a:pt x="6" y="5"/>
                  </a:cubicBezTo>
                  <a:cubicBezTo>
                    <a:pt x="0" y="3"/>
                    <a:pt x="12" y="5"/>
                    <a:pt x="9" y="1"/>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22" name="Freeform 7">
              <a:extLst>
                <a:ext uri="{FF2B5EF4-FFF2-40B4-BE49-F238E27FC236}">
                  <a16:creationId xmlns:a16="http://schemas.microsoft.com/office/drawing/2014/main" id="{BE54CD73-44D2-4BB9-84BD-448174A61437}"/>
                </a:ext>
              </a:extLst>
            </p:cNvPr>
            <p:cNvSpPr>
              <a:spLocks/>
            </p:cNvSpPr>
            <p:nvPr/>
          </p:nvSpPr>
          <p:spPr bwMode="auto">
            <a:xfrm>
              <a:off x="3455933" y="1217456"/>
              <a:ext cx="84270" cy="46175"/>
            </a:xfrm>
            <a:custGeom>
              <a:avLst/>
              <a:gdLst>
                <a:gd name="T0" fmla="*/ 29 w 31"/>
                <a:gd name="T1" fmla="*/ 12 h 17"/>
                <a:gd name="T2" fmla="*/ 18 w 31"/>
                <a:gd name="T3" fmla="*/ 15 h 17"/>
                <a:gd name="T4" fmla="*/ 3 w 31"/>
                <a:gd name="T5" fmla="*/ 15 h 17"/>
                <a:gd name="T6" fmla="*/ 0 w 31"/>
                <a:gd name="T7" fmla="*/ 12 h 17"/>
                <a:gd name="T8" fmla="*/ 23 w 31"/>
                <a:gd name="T9" fmla="*/ 1 h 17"/>
                <a:gd name="T10" fmla="*/ 28 w 31"/>
                <a:gd name="T11" fmla="*/ 4 h 17"/>
                <a:gd name="T12" fmla="*/ 25 w 31"/>
                <a:gd name="T13" fmla="*/ 5 h 17"/>
                <a:gd name="T14" fmla="*/ 29 w 31"/>
                <a:gd name="T15" fmla="*/ 12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17">
                  <a:moveTo>
                    <a:pt x="29" y="12"/>
                  </a:moveTo>
                  <a:cubicBezTo>
                    <a:pt x="25" y="13"/>
                    <a:pt x="18" y="11"/>
                    <a:pt x="18" y="15"/>
                  </a:cubicBezTo>
                  <a:cubicBezTo>
                    <a:pt x="15" y="13"/>
                    <a:pt x="9" y="17"/>
                    <a:pt x="3" y="15"/>
                  </a:cubicBezTo>
                  <a:cubicBezTo>
                    <a:pt x="3" y="13"/>
                    <a:pt x="2" y="13"/>
                    <a:pt x="0" y="12"/>
                  </a:cubicBezTo>
                  <a:cubicBezTo>
                    <a:pt x="3" y="4"/>
                    <a:pt x="11" y="0"/>
                    <a:pt x="23" y="1"/>
                  </a:cubicBezTo>
                  <a:cubicBezTo>
                    <a:pt x="22" y="5"/>
                    <a:pt x="27" y="2"/>
                    <a:pt x="28" y="4"/>
                  </a:cubicBezTo>
                  <a:cubicBezTo>
                    <a:pt x="29" y="5"/>
                    <a:pt x="25" y="5"/>
                    <a:pt x="25" y="5"/>
                  </a:cubicBezTo>
                  <a:cubicBezTo>
                    <a:pt x="25" y="7"/>
                    <a:pt x="31" y="6"/>
                    <a:pt x="29" y="12"/>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23" name="Freeform 8">
              <a:extLst>
                <a:ext uri="{FF2B5EF4-FFF2-40B4-BE49-F238E27FC236}">
                  <a16:creationId xmlns:a16="http://schemas.microsoft.com/office/drawing/2014/main" id="{BC92E1D3-9A81-419E-8002-DFD681B8D22D}"/>
                </a:ext>
              </a:extLst>
            </p:cNvPr>
            <p:cNvSpPr>
              <a:spLocks/>
            </p:cNvSpPr>
            <p:nvPr/>
          </p:nvSpPr>
          <p:spPr bwMode="auto">
            <a:xfrm>
              <a:off x="2973405" y="1222073"/>
              <a:ext cx="40403" cy="25396"/>
            </a:xfrm>
            <a:custGeom>
              <a:avLst/>
              <a:gdLst>
                <a:gd name="T0" fmla="*/ 15 w 15"/>
                <a:gd name="T1" fmla="*/ 2 h 9"/>
                <a:gd name="T2" fmla="*/ 14 w 15"/>
                <a:gd name="T3" fmla="*/ 7 h 9"/>
                <a:gd name="T4" fmla="*/ 8 w 15"/>
                <a:gd name="T5" fmla="*/ 9 h 9"/>
                <a:gd name="T6" fmla="*/ 0 w 15"/>
                <a:gd name="T7" fmla="*/ 5 h 9"/>
                <a:gd name="T8" fmla="*/ 9 w 15"/>
                <a:gd name="T9" fmla="*/ 5 h 9"/>
                <a:gd name="T10" fmla="*/ 15 w 15"/>
                <a:gd name="T11" fmla="*/ 2 h 9"/>
              </a:gdLst>
              <a:ahLst/>
              <a:cxnLst>
                <a:cxn ang="0">
                  <a:pos x="T0" y="T1"/>
                </a:cxn>
                <a:cxn ang="0">
                  <a:pos x="T2" y="T3"/>
                </a:cxn>
                <a:cxn ang="0">
                  <a:pos x="T4" y="T5"/>
                </a:cxn>
                <a:cxn ang="0">
                  <a:pos x="T6" y="T7"/>
                </a:cxn>
                <a:cxn ang="0">
                  <a:pos x="T8" y="T9"/>
                </a:cxn>
                <a:cxn ang="0">
                  <a:pos x="T10" y="T11"/>
                </a:cxn>
              </a:cxnLst>
              <a:rect l="0" t="0" r="r" b="b"/>
              <a:pathLst>
                <a:path w="15" h="9">
                  <a:moveTo>
                    <a:pt x="15" y="2"/>
                  </a:moveTo>
                  <a:cubicBezTo>
                    <a:pt x="14" y="3"/>
                    <a:pt x="14" y="5"/>
                    <a:pt x="14" y="7"/>
                  </a:cubicBezTo>
                  <a:cubicBezTo>
                    <a:pt x="11" y="7"/>
                    <a:pt x="10" y="8"/>
                    <a:pt x="8" y="9"/>
                  </a:cubicBezTo>
                  <a:cubicBezTo>
                    <a:pt x="5" y="8"/>
                    <a:pt x="0" y="9"/>
                    <a:pt x="0" y="5"/>
                  </a:cubicBezTo>
                  <a:cubicBezTo>
                    <a:pt x="5" y="5"/>
                    <a:pt x="6" y="1"/>
                    <a:pt x="9" y="5"/>
                  </a:cubicBezTo>
                  <a:cubicBezTo>
                    <a:pt x="12" y="4"/>
                    <a:pt x="11" y="0"/>
                    <a:pt x="15" y="2"/>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24" name="Freeform 9">
              <a:extLst>
                <a:ext uri="{FF2B5EF4-FFF2-40B4-BE49-F238E27FC236}">
                  <a16:creationId xmlns:a16="http://schemas.microsoft.com/office/drawing/2014/main" id="{D914F425-2A84-4BAB-A4B7-CAAAF6BA7065}"/>
                </a:ext>
              </a:extLst>
            </p:cNvPr>
            <p:cNvSpPr>
              <a:spLocks/>
            </p:cNvSpPr>
            <p:nvPr/>
          </p:nvSpPr>
          <p:spPr bwMode="auto">
            <a:xfrm>
              <a:off x="2713671" y="1235925"/>
              <a:ext cx="51947" cy="27705"/>
            </a:xfrm>
            <a:custGeom>
              <a:avLst/>
              <a:gdLst>
                <a:gd name="T0" fmla="*/ 18 w 19"/>
                <a:gd name="T1" fmla="*/ 0 h 10"/>
                <a:gd name="T2" fmla="*/ 15 w 19"/>
                <a:gd name="T3" fmla="*/ 4 h 10"/>
                <a:gd name="T4" fmla="*/ 11 w 19"/>
                <a:gd name="T5" fmla="*/ 8 h 10"/>
                <a:gd name="T6" fmla="*/ 8 w 19"/>
                <a:gd name="T7" fmla="*/ 5 h 10"/>
                <a:gd name="T8" fmla="*/ 3 w 19"/>
                <a:gd name="T9" fmla="*/ 7 h 10"/>
                <a:gd name="T10" fmla="*/ 1 w 19"/>
                <a:gd name="T11" fmla="*/ 4 h 10"/>
                <a:gd name="T12" fmla="*/ 8 w 19"/>
                <a:gd name="T13" fmla="*/ 2 h 10"/>
                <a:gd name="T14" fmla="*/ 8 w 19"/>
                <a:gd name="T15" fmla="*/ 1 h 10"/>
                <a:gd name="T16" fmla="*/ 18 w 19"/>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0">
                  <a:moveTo>
                    <a:pt x="18" y="0"/>
                  </a:moveTo>
                  <a:cubicBezTo>
                    <a:pt x="19" y="3"/>
                    <a:pt x="15" y="2"/>
                    <a:pt x="15" y="4"/>
                  </a:cubicBezTo>
                  <a:cubicBezTo>
                    <a:pt x="15" y="5"/>
                    <a:pt x="13" y="8"/>
                    <a:pt x="11" y="8"/>
                  </a:cubicBezTo>
                  <a:cubicBezTo>
                    <a:pt x="8" y="10"/>
                    <a:pt x="9" y="6"/>
                    <a:pt x="8" y="5"/>
                  </a:cubicBezTo>
                  <a:cubicBezTo>
                    <a:pt x="7" y="5"/>
                    <a:pt x="5" y="7"/>
                    <a:pt x="3" y="7"/>
                  </a:cubicBezTo>
                  <a:cubicBezTo>
                    <a:pt x="3" y="7"/>
                    <a:pt x="2" y="3"/>
                    <a:pt x="1" y="4"/>
                  </a:cubicBezTo>
                  <a:cubicBezTo>
                    <a:pt x="0" y="0"/>
                    <a:pt x="6" y="4"/>
                    <a:pt x="8" y="2"/>
                  </a:cubicBezTo>
                  <a:cubicBezTo>
                    <a:pt x="8" y="2"/>
                    <a:pt x="8" y="1"/>
                    <a:pt x="8" y="1"/>
                  </a:cubicBezTo>
                  <a:cubicBezTo>
                    <a:pt x="12" y="0"/>
                    <a:pt x="13" y="1"/>
                    <a:pt x="18" y="0"/>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25" name="Freeform 10">
              <a:extLst>
                <a:ext uri="{FF2B5EF4-FFF2-40B4-BE49-F238E27FC236}">
                  <a16:creationId xmlns:a16="http://schemas.microsoft.com/office/drawing/2014/main" id="{B76BF7AF-286B-4F51-9F71-909F127F3A91}"/>
                </a:ext>
              </a:extLst>
            </p:cNvPr>
            <p:cNvSpPr>
              <a:spLocks/>
            </p:cNvSpPr>
            <p:nvPr/>
          </p:nvSpPr>
          <p:spPr bwMode="auto">
            <a:xfrm>
              <a:off x="2923767" y="1233617"/>
              <a:ext cx="41557" cy="13852"/>
            </a:xfrm>
            <a:custGeom>
              <a:avLst/>
              <a:gdLst>
                <a:gd name="T0" fmla="*/ 14 w 15"/>
                <a:gd name="T1" fmla="*/ 5 h 5"/>
                <a:gd name="T2" fmla="*/ 2 w 15"/>
                <a:gd name="T3" fmla="*/ 5 h 5"/>
                <a:gd name="T4" fmla="*/ 6 w 15"/>
                <a:gd name="T5" fmla="*/ 1 h 5"/>
                <a:gd name="T6" fmla="*/ 14 w 15"/>
                <a:gd name="T7" fmla="*/ 5 h 5"/>
              </a:gdLst>
              <a:ahLst/>
              <a:cxnLst>
                <a:cxn ang="0">
                  <a:pos x="T0" y="T1"/>
                </a:cxn>
                <a:cxn ang="0">
                  <a:pos x="T2" y="T3"/>
                </a:cxn>
                <a:cxn ang="0">
                  <a:pos x="T4" y="T5"/>
                </a:cxn>
                <a:cxn ang="0">
                  <a:pos x="T6" y="T7"/>
                </a:cxn>
              </a:cxnLst>
              <a:rect l="0" t="0" r="r" b="b"/>
              <a:pathLst>
                <a:path w="15" h="5">
                  <a:moveTo>
                    <a:pt x="14" y="5"/>
                  </a:moveTo>
                  <a:cubicBezTo>
                    <a:pt x="10" y="5"/>
                    <a:pt x="6" y="5"/>
                    <a:pt x="2" y="5"/>
                  </a:cubicBezTo>
                  <a:cubicBezTo>
                    <a:pt x="0" y="0"/>
                    <a:pt x="7" y="4"/>
                    <a:pt x="6" y="1"/>
                  </a:cubicBezTo>
                  <a:cubicBezTo>
                    <a:pt x="8" y="3"/>
                    <a:pt x="15" y="0"/>
                    <a:pt x="14" y="5"/>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26" name="Freeform 11">
              <a:extLst>
                <a:ext uri="{FF2B5EF4-FFF2-40B4-BE49-F238E27FC236}">
                  <a16:creationId xmlns:a16="http://schemas.microsoft.com/office/drawing/2014/main" id="{06A418AB-23C0-4E4D-B66D-EBCF8F6AAEF8}"/>
                </a:ext>
              </a:extLst>
            </p:cNvPr>
            <p:cNvSpPr>
              <a:spLocks/>
            </p:cNvSpPr>
            <p:nvPr/>
          </p:nvSpPr>
          <p:spPr bwMode="auto">
            <a:xfrm>
              <a:off x="2861431" y="1249778"/>
              <a:ext cx="51947" cy="19625"/>
            </a:xfrm>
            <a:custGeom>
              <a:avLst/>
              <a:gdLst>
                <a:gd name="T0" fmla="*/ 13 w 19"/>
                <a:gd name="T1" fmla="*/ 0 h 7"/>
                <a:gd name="T2" fmla="*/ 13 w 19"/>
                <a:gd name="T3" fmla="*/ 6 h 7"/>
                <a:gd name="T4" fmla="*/ 0 w 19"/>
                <a:gd name="T5" fmla="*/ 5 h 7"/>
                <a:gd name="T6" fmla="*/ 13 w 19"/>
                <a:gd name="T7" fmla="*/ 0 h 7"/>
              </a:gdLst>
              <a:ahLst/>
              <a:cxnLst>
                <a:cxn ang="0">
                  <a:pos x="T0" y="T1"/>
                </a:cxn>
                <a:cxn ang="0">
                  <a:pos x="T2" y="T3"/>
                </a:cxn>
                <a:cxn ang="0">
                  <a:pos x="T4" y="T5"/>
                </a:cxn>
                <a:cxn ang="0">
                  <a:pos x="T6" y="T7"/>
                </a:cxn>
              </a:cxnLst>
              <a:rect l="0" t="0" r="r" b="b"/>
              <a:pathLst>
                <a:path w="19" h="7">
                  <a:moveTo>
                    <a:pt x="13" y="0"/>
                  </a:moveTo>
                  <a:cubicBezTo>
                    <a:pt x="19" y="3"/>
                    <a:pt x="13" y="2"/>
                    <a:pt x="13" y="6"/>
                  </a:cubicBezTo>
                  <a:cubicBezTo>
                    <a:pt x="9" y="6"/>
                    <a:pt x="2" y="7"/>
                    <a:pt x="0" y="5"/>
                  </a:cubicBezTo>
                  <a:cubicBezTo>
                    <a:pt x="2" y="1"/>
                    <a:pt x="10" y="4"/>
                    <a:pt x="13" y="0"/>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27" name="Freeform 12">
              <a:extLst>
                <a:ext uri="{FF2B5EF4-FFF2-40B4-BE49-F238E27FC236}">
                  <a16:creationId xmlns:a16="http://schemas.microsoft.com/office/drawing/2014/main" id="{343642FB-18C1-4647-82EF-7CA7CBCE4DFF}"/>
                </a:ext>
              </a:extLst>
            </p:cNvPr>
            <p:cNvSpPr>
              <a:spLocks/>
            </p:cNvSpPr>
            <p:nvPr/>
          </p:nvSpPr>
          <p:spPr bwMode="auto">
            <a:xfrm>
              <a:off x="6320166" y="1265939"/>
              <a:ext cx="25396" cy="16161"/>
            </a:xfrm>
            <a:custGeom>
              <a:avLst/>
              <a:gdLst>
                <a:gd name="T0" fmla="*/ 0 w 9"/>
                <a:gd name="T1" fmla="*/ 0 h 6"/>
                <a:gd name="T2" fmla="*/ 8 w 9"/>
                <a:gd name="T3" fmla="*/ 6 h 6"/>
                <a:gd name="T4" fmla="*/ 0 w 9"/>
                <a:gd name="T5" fmla="*/ 0 h 6"/>
              </a:gdLst>
              <a:ahLst/>
              <a:cxnLst>
                <a:cxn ang="0">
                  <a:pos x="T0" y="T1"/>
                </a:cxn>
                <a:cxn ang="0">
                  <a:pos x="T2" y="T3"/>
                </a:cxn>
                <a:cxn ang="0">
                  <a:pos x="T4" y="T5"/>
                </a:cxn>
              </a:cxnLst>
              <a:rect l="0" t="0" r="r" b="b"/>
              <a:pathLst>
                <a:path w="9" h="6">
                  <a:moveTo>
                    <a:pt x="0" y="0"/>
                  </a:moveTo>
                  <a:cubicBezTo>
                    <a:pt x="5" y="0"/>
                    <a:pt x="9" y="1"/>
                    <a:pt x="8" y="6"/>
                  </a:cubicBezTo>
                  <a:cubicBezTo>
                    <a:pt x="6" y="4"/>
                    <a:pt x="0" y="5"/>
                    <a:pt x="0" y="0"/>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28" name="Freeform 13">
              <a:extLst>
                <a:ext uri="{FF2B5EF4-FFF2-40B4-BE49-F238E27FC236}">
                  <a16:creationId xmlns:a16="http://schemas.microsoft.com/office/drawing/2014/main" id="{2E75489C-972B-4DEF-B9C7-813BD61448F9}"/>
                </a:ext>
              </a:extLst>
            </p:cNvPr>
            <p:cNvSpPr>
              <a:spLocks/>
            </p:cNvSpPr>
            <p:nvPr/>
          </p:nvSpPr>
          <p:spPr bwMode="auto">
            <a:xfrm>
              <a:off x="3482484" y="1263630"/>
              <a:ext cx="95813" cy="48484"/>
            </a:xfrm>
            <a:custGeom>
              <a:avLst/>
              <a:gdLst>
                <a:gd name="T0" fmla="*/ 31 w 35"/>
                <a:gd name="T1" fmla="*/ 4 h 18"/>
                <a:gd name="T2" fmla="*/ 34 w 35"/>
                <a:gd name="T3" fmla="*/ 12 h 18"/>
                <a:gd name="T4" fmla="*/ 19 w 35"/>
                <a:gd name="T5" fmla="*/ 16 h 18"/>
                <a:gd name="T6" fmla="*/ 16 w 35"/>
                <a:gd name="T7" fmla="*/ 15 h 18"/>
                <a:gd name="T8" fmla="*/ 10 w 35"/>
                <a:gd name="T9" fmla="*/ 15 h 18"/>
                <a:gd name="T10" fmla="*/ 10 w 35"/>
                <a:gd name="T11" fmla="*/ 12 h 18"/>
                <a:gd name="T12" fmla="*/ 6 w 35"/>
                <a:gd name="T13" fmla="*/ 13 h 18"/>
                <a:gd name="T14" fmla="*/ 8 w 35"/>
                <a:gd name="T15" fmla="*/ 10 h 18"/>
                <a:gd name="T16" fmla="*/ 2 w 35"/>
                <a:gd name="T17" fmla="*/ 9 h 18"/>
                <a:gd name="T18" fmla="*/ 5 w 35"/>
                <a:gd name="T19" fmla="*/ 6 h 18"/>
                <a:gd name="T20" fmla="*/ 9 w 35"/>
                <a:gd name="T21" fmla="*/ 3 h 18"/>
                <a:gd name="T22" fmla="*/ 22 w 35"/>
                <a:gd name="T23" fmla="*/ 1 h 18"/>
                <a:gd name="T24" fmla="*/ 22 w 35"/>
                <a:gd name="T25" fmla="*/ 4 h 18"/>
                <a:gd name="T26" fmla="*/ 31 w 35"/>
                <a:gd name="T27"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18">
                  <a:moveTo>
                    <a:pt x="31" y="4"/>
                  </a:moveTo>
                  <a:cubicBezTo>
                    <a:pt x="30" y="9"/>
                    <a:pt x="26" y="12"/>
                    <a:pt x="34" y="12"/>
                  </a:cubicBezTo>
                  <a:cubicBezTo>
                    <a:pt x="35" y="18"/>
                    <a:pt x="25" y="17"/>
                    <a:pt x="19" y="16"/>
                  </a:cubicBezTo>
                  <a:cubicBezTo>
                    <a:pt x="17" y="16"/>
                    <a:pt x="18" y="16"/>
                    <a:pt x="16" y="15"/>
                  </a:cubicBezTo>
                  <a:cubicBezTo>
                    <a:pt x="13" y="12"/>
                    <a:pt x="14" y="17"/>
                    <a:pt x="10" y="15"/>
                  </a:cubicBezTo>
                  <a:cubicBezTo>
                    <a:pt x="10" y="15"/>
                    <a:pt x="11" y="12"/>
                    <a:pt x="10" y="12"/>
                  </a:cubicBezTo>
                  <a:cubicBezTo>
                    <a:pt x="10" y="11"/>
                    <a:pt x="8" y="14"/>
                    <a:pt x="6" y="13"/>
                  </a:cubicBezTo>
                  <a:cubicBezTo>
                    <a:pt x="6" y="13"/>
                    <a:pt x="8" y="11"/>
                    <a:pt x="8" y="10"/>
                  </a:cubicBezTo>
                  <a:cubicBezTo>
                    <a:pt x="7" y="9"/>
                    <a:pt x="1" y="12"/>
                    <a:pt x="2" y="9"/>
                  </a:cubicBezTo>
                  <a:cubicBezTo>
                    <a:pt x="0" y="6"/>
                    <a:pt x="3" y="7"/>
                    <a:pt x="5" y="6"/>
                  </a:cubicBezTo>
                  <a:cubicBezTo>
                    <a:pt x="6" y="4"/>
                    <a:pt x="6" y="4"/>
                    <a:pt x="9" y="3"/>
                  </a:cubicBezTo>
                  <a:cubicBezTo>
                    <a:pt x="10" y="3"/>
                    <a:pt x="17" y="0"/>
                    <a:pt x="22" y="1"/>
                  </a:cubicBezTo>
                  <a:cubicBezTo>
                    <a:pt x="23" y="1"/>
                    <a:pt x="22" y="4"/>
                    <a:pt x="22" y="4"/>
                  </a:cubicBezTo>
                  <a:cubicBezTo>
                    <a:pt x="24" y="6"/>
                    <a:pt x="30" y="3"/>
                    <a:pt x="31" y="4"/>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29" name="Freeform 14">
              <a:extLst>
                <a:ext uri="{FF2B5EF4-FFF2-40B4-BE49-F238E27FC236}">
                  <a16:creationId xmlns:a16="http://schemas.microsoft.com/office/drawing/2014/main" id="{3E83356F-B5E0-4DDF-8EC3-D32952E3CFB9}"/>
                </a:ext>
              </a:extLst>
            </p:cNvPr>
            <p:cNvSpPr>
              <a:spLocks/>
            </p:cNvSpPr>
            <p:nvPr/>
          </p:nvSpPr>
          <p:spPr bwMode="auto">
            <a:xfrm>
              <a:off x="3447852" y="1265939"/>
              <a:ext cx="34631" cy="24242"/>
            </a:xfrm>
            <a:custGeom>
              <a:avLst/>
              <a:gdLst>
                <a:gd name="T0" fmla="*/ 13 w 13"/>
                <a:gd name="T1" fmla="*/ 5 h 9"/>
                <a:gd name="T2" fmla="*/ 9 w 13"/>
                <a:gd name="T3" fmla="*/ 5 h 9"/>
                <a:gd name="T4" fmla="*/ 7 w 13"/>
                <a:gd name="T5" fmla="*/ 8 h 9"/>
                <a:gd name="T6" fmla="*/ 0 w 13"/>
                <a:gd name="T7" fmla="*/ 5 h 9"/>
                <a:gd name="T8" fmla="*/ 13 w 13"/>
                <a:gd name="T9" fmla="*/ 5 h 9"/>
              </a:gdLst>
              <a:ahLst/>
              <a:cxnLst>
                <a:cxn ang="0">
                  <a:pos x="T0" y="T1"/>
                </a:cxn>
                <a:cxn ang="0">
                  <a:pos x="T2" y="T3"/>
                </a:cxn>
                <a:cxn ang="0">
                  <a:pos x="T4" y="T5"/>
                </a:cxn>
                <a:cxn ang="0">
                  <a:pos x="T6" y="T7"/>
                </a:cxn>
                <a:cxn ang="0">
                  <a:pos x="T8" y="T9"/>
                </a:cxn>
              </a:cxnLst>
              <a:rect l="0" t="0" r="r" b="b"/>
              <a:pathLst>
                <a:path w="13" h="9">
                  <a:moveTo>
                    <a:pt x="13" y="5"/>
                  </a:moveTo>
                  <a:cubicBezTo>
                    <a:pt x="12" y="7"/>
                    <a:pt x="10" y="5"/>
                    <a:pt x="9" y="5"/>
                  </a:cubicBezTo>
                  <a:cubicBezTo>
                    <a:pt x="7" y="5"/>
                    <a:pt x="7" y="7"/>
                    <a:pt x="7" y="8"/>
                  </a:cubicBezTo>
                  <a:cubicBezTo>
                    <a:pt x="3" y="9"/>
                    <a:pt x="4" y="4"/>
                    <a:pt x="0" y="5"/>
                  </a:cubicBezTo>
                  <a:cubicBezTo>
                    <a:pt x="2" y="0"/>
                    <a:pt x="9" y="3"/>
                    <a:pt x="13" y="5"/>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30" name="Freeform 15">
              <a:extLst>
                <a:ext uri="{FF2B5EF4-FFF2-40B4-BE49-F238E27FC236}">
                  <a16:creationId xmlns:a16="http://schemas.microsoft.com/office/drawing/2014/main" id="{0911E68E-48D5-4968-BD20-90A7151A03A2}"/>
                </a:ext>
              </a:extLst>
            </p:cNvPr>
            <p:cNvSpPr>
              <a:spLocks/>
            </p:cNvSpPr>
            <p:nvPr/>
          </p:nvSpPr>
          <p:spPr bwMode="auto">
            <a:xfrm>
              <a:off x="6235897" y="1293644"/>
              <a:ext cx="95813" cy="51947"/>
            </a:xfrm>
            <a:custGeom>
              <a:avLst/>
              <a:gdLst>
                <a:gd name="T0" fmla="*/ 25 w 35"/>
                <a:gd name="T1" fmla="*/ 5 h 19"/>
                <a:gd name="T2" fmla="*/ 30 w 35"/>
                <a:gd name="T3" fmla="*/ 11 h 19"/>
                <a:gd name="T4" fmla="*/ 34 w 35"/>
                <a:gd name="T5" fmla="*/ 19 h 19"/>
                <a:gd name="T6" fmla="*/ 30 w 35"/>
                <a:gd name="T7" fmla="*/ 19 h 19"/>
                <a:gd name="T8" fmla="*/ 30 w 35"/>
                <a:gd name="T9" fmla="*/ 16 h 19"/>
                <a:gd name="T10" fmla="*/ 27 w 35"/>
                <a:gd name="T11" fmla="*/ 14 h 19"/>
                <a:gd name="T12" fmla="*/ 8 w 35"/>
                <a:gd name="T13" fmla="*/ 13 h 19"/>
                <a:gd name="T14" fmla="*/ 12 w 35"/>
                <a:gd name="T15" fmla="*/ 10 h 19"/>
                <a:gd name="T16" fmla="*/ 9 w 35"/>
                <a:gd name="T17" fmla="*/ 7 h 19"/>
                <a:gd name="T18" fmla="*/ 0 w 35"/>
                <a:gd name="T19" fmla="*/ 2 h 19"/>
                <a:gd name="T20" fmla="*/ 12 w 35"/>
                <a:gd name="T21" fmla="*/ 2 h 19"/>
                <a:gd name="T22" fmla="*/ 15 w 35"/>
                <a:gd name="T23" fmla="*/ 5 h 19"/>
                <a:gd name="T24" fmla="*/ 21 w 35"/>
                <a:gd name="T25" fmla="*/ 5 h 19"/>
                <a:gd name="T26" fmla="*/ 25 w 35"/>
                <a:gd name="T27" fmla="*/ 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19">
                  <a:moveTo>
                    <a:pt x="25" y="5"/>
                  </a:moveTo>
                  <a:cubicBezTo>
                    <a:pt x="27" y="7"/>
                    <a:pt x="28" y="9"/>
                    <a:pt x="30" y="11"/>
                  </a:cubicBezTo>
                  <a:cubicBezTo>
                    <a:pt x="31" y="13"/>
                    <a:pt x="35" y="15"/>
                    <a:pt x="34" y="19"/>
                  </a:cubicBezTo>
                  <a:cubicBezTo>
                    <a:pt x="33" y="18"/>
                    <a:pt x="30" y="19"/>
                    <a:pt x="30" y="19"/>
                  </a:cubicBezTo>
                  <a:cubicBezTo>
                    <a:pt x="29" y="18"/>
                    <a:pt x="30" y="16"/>
                    <a:pt x="30" y="16"/>
                  </a:cubicBezTo>
                  <a:cubicBezTo>
                    <a:pt x="29" y="15"/>
                    <a:pt x="26" y="18"/>
                    <a:pt x="27" y="14"/>
                  </a:cubicBezTo>
                  <a:cubicBezTo>
                    <a:pt x="18" y="14"/>
                    <a:pt x="12" y="14"/>
                    <a:pt x="8" y="13"/>
                  </a:cubicBezTo>
                  <a:cubicBezTo>
                    <a:pt x="7" y="9"/>
                    <a:pt x="10" y="10"/>
                    <a:pt x="12" y="10"/>
                  </a:cubicBezTo>
                  <a:cubicBezTo>
                    <a:pt x="12" y="8"/>
                    <a:pt x="9" y="9"/>
                    <a:pt x="9" y="7"/>
                  </a:cubicBezTo>
                  <a:cubicBezTo>
                    <a:pt x="3" y="5"/>
                    <a:pt x="1" y="9"/>
                    <a:pt x="0" y="2"/>
                  </a:cubicBezTo>
                  <a:cubicBezTo>
                    <a:pt x="4" y="0"/>
                    <a:pt x="8" y="1"/>
                    <a:pt x="12" y="2"/>
                  </a:cubicBezTo>
                  <a:cubicBezTo>
                    <a:pt x="14" y="3"/>
                    <a:pt x="15" y="3"/>
                    <a:pt x="15" y="5"/>
                  </a:cubicBezTo>
                  <a:cubicBezTo>
                    <a:pt x="17" y="7"/>
                    <a:pt x="21" y="1"/>
                    <a:pt x="21" y="5"/>
                  </a:cubicBezTo>
                  <a:cubicBezTo>
                    <a:pt x="21" y="7"/>
                    <a:pt x="26" y="7"/>
                    <a:pt x="25" y="5"/>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31" name="Freeform 16">
              <a:extLst>
                <a:ext uri="{FF2B5EF4-FFF2-40B4-BE49-F238E27FC236}">
                  <a16:creationId xmlns:a16="http://schemas.microsoft.com/office/drawing/2014/main" id="{7F5378F2-908F-4BCD-A041-345AAFEBB604}"/>
                </a:ext>
              </a:extLst>
            </p:cNvPr>
            <p:cNvSpPr>
              <a:spLocks/>
            </p:cNvSpPr>
            <p:nvPr/>
          </p:nvSpPr>
          <p:spPr bwMode="auto">
            <a:xfrm>
              <a:off x="3580605" y="1293644"/>
              <a:ext cx="95813" cy="48484"/>
            </a:xfrm>
            <a:custGeom>
              <a:avLst/>
              <a:gdLst>
                <a:gd name="T0" fmla="*/ 14 w 35"/>
                <a:gd name="T1" fmla="*/ 1 h 18"/>
                <a:gd name="T2" fmla="*/ 20 w 35"/>
                <a:gd name="T3" fmla="*/ 5 h 18"/>
                <a:gd name="T4" fmla="*/ 22 w 35"/>
                <a:gd name="T5" fmla="*/ 2 h 18"/>
                <a:gd name="T6" fmla="*/ 25 w 35"/>
                <a:gd name="T7" fmla="*/ 5 h 18"/>
                <a:gd name="T8" fmla="*/ 28 w 35"/>
                <a:gd name="T9" fmla="*/ 5 h 18"/>
                <a:gd name="T10" fmla="*/ 28 w 35"/>
                <a:gd name="T11" fmla="*/ 7 h 18"/>
                <a:gd name="T12" fmla="*/ 34 w 35"/>
                <a:gd name="T13" fmla="*/ 8 h 18"/>
                <a:gd name="T14" fmla="*/ 23 w 35"/>
                <a:gd name="T15" fmla="*/ 11 h 18"/>
                <a:gd name="T16" fmla="*/ 22 w 35"/>
                <a:gd name="T17" fmla="*/ 14 h 18"/>
                <a:gd name="T18" fmla="*/ 9 w 35"/>
                <a:gd name="T19" fmla="*/ 14 h 18"/>
                <a:gd name="T20" fmla="*/ 7 w 35"/>
                <a:gd name="T21" fmla="*/ 17 h 18"/>
                <a:gd name="T22" fmla="*/ 1 w 35"/>
                <a:gd name="T23" fmla="*/ 16 h 18"/>
                <a:gd name="T24" fmla="*/ 1 w 35"/>
                <a:gd name="T25" fmla="*/ 11 h 18"/>
                <a:gd name="T26" fmla="*/ 4 w 35"/>
                <a:gd name="T27" fmla="*/ 11 h 18"/>
                <a:gd name="T28" fmla="*/ 6 w 35"/>
                <a:gd name="T29" fmla="*/ 7 h 18"/>
                <a:gd name="T30" fmla="*/ 9 w 35"/>
                <a:gd name="T31" fmla="*/ 7 h 18"/>
                <a:gd name="T32" fmla="*/ 14 w 35"/>
                <a:gd name="T33"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18">
                  <a:moveTo>
                    <a:pt x="14" y="1"/>
                  </a:moveTo>
                  <a:cubicBezTo>
                    <a:pt x="16" y="3"/>
                    <a:pt x="22" y="0"/>
                    <a:pt x="20" y="5"/>
                  </a:cubicBezTo>
                  <a:cubicBezTo>
                    <a:pt x="22" y="6"/>
                    <a:pt x="22" y="2"/>
                    <a:pt x="22" y="2"/>
                  </a:cubicBezTo>
                  <a:cubicBezTo>
                    <a:pt x="24" y="2"/>
                    <a:pt x="24" y="4"/>
                    <a:pt x="25" y="5"/>
                  </a:cubicBezTo>
                  <a:cubicBezTo>
                    <a:pt x="25" y="6"/>
                    <a:pt x="27" y="5"/>
                    <a:pt x="28" y="5"/>
                  </a:cubicBezTo>
                  <a:cubicBezTo>
                    <a:pt x="28" y="5"/>
                    <a:pt x="28" y="7"/>
                    <a:pt x="28" y="7"/>
                  </a:cubicBezTo>
                  <a:cubicBezTo>
                    <a:pt x="30" y="7"/>
                    <a:pt x="34" y="5"/>
                    <a:pt x="34" y="8"/>
                  </a:cubicBezTo>
                  <a:cubicBezTo>
                    <a:pt x="35" y="14"/>
                    <a:pt x="27" y="10"/>
                    <a:pt x="23" y="11"/>
                  </a:cubicBezTo>
                  <a:cubicBezTo>
                    <a:pt x="22" y="11"/>
                    <a:pt x="23" y="14"/>
                    <a:pt x="22" y="14"/>
                  </a:cubicBezTo>
                  <a:cubicBezTo>
                    <a:pt x="19" y="16"/>
                    <a:pt x="10" y="15"/>
                    <a:pt x="9" y="14"/>
                  </a:cubicBezTo>
                  <a:cubicBezTo>
                    <a:pt x="7" y="14"/>
                    <a:pt x="7" y="16"/>
                    <a:pt x="7" y="17"/>
                  </a:cubicBezTo>
                  <a:cubicBezTo>
                    <a:pt x="4" y="14"/>
                    <a:pt x="4" y="18"/>
                    <a:pt x="1" y="16"/>
                  </a:cubicBezTo>
                  <a:cubicBezTo>
                    <a:pt x="2" y="15"/>
                    <a:pt x="0" y="12"/>
                    <a:pt x="1" y="11"/>
                  </a:cubicBezTo>
                  <a:cubicBezTo>
                    <a:pt x="2" y="11"/>
                    <a:pt x="4" y="12"/>
                    <a:pt x="4" y="11"/>
                  </a:cubicBezTo>
                  <a:cubicBezTo>
                    <a:pt x="5" y="10"/>
                    <a:pt x="4" y="8"/>
                    <a:pt x="6" y="7"/>
                  </a:cubicBezTo>
                  <a:cubicBezTo>
                    <a:pt x="6" y="6"/>
                    <a:pt x="8" y="7"/>
                    <a:pt x="9" y="7"/>
                  </a:cubicBezTo>
                  <a:cubicBezTo>
                    <a:pt x="10" y="5"/>
                    <a:pt x="12" y="4"/>
                    <a:pt x="14" y="1"/>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32" name="Freeform 17">
              <a:extLst>
                <a:ext uri="{FF2B5EF4-FFF2-40B4-BE49-F238E27FC236}">
                  <a16:creationId xmlns:a16="http://schemas.microsoft.com/office/drawing/2014/main" id="{966F99B3-F4B2-4196-B27C-D543FCF6B480}"/>
                </a:ext>
              </a:extLst>
            </p:cNvPr>
            <p:cNvSpPr>
              <a:spLocks/>
            </p:cNvSpPr>
            <p:nvPr/>
          </p:nvSpPr>
          <p:spPr bwMode="auto">
            <a:xfrm>
              <a:off x="6069667" y="1328275"/>
              <a:ext cx="16161" cy="27705"/>
            </a:xfrm>
            <a:custGeom>
              <a:avLst/>
              <a:gdLst>
                <a:gd name="T0" fmla="*/ 6 w 6"/>
                <a:gd name="T1" fmla="*/ 6 h 10"/>
                <a:gd name="T2" fmla="*/ 6 w 6"/>
                <a:gd name="T3" fmla="*/ 6 h 10"/>
              </a:gdLst>
              <a:ahLst/>
              <a:cxnLst>
                <a:cxn ang="0">
                  <a:pos x="T0" y="T1"/>
                </a:cxn>
                <a:cxn ang="0">
                  <a:pos x="T2" y="T3"/>
                </a:cxn>
              </a:cxnLst>
              <a:rect l="0" t="0" r="r" b="b"/>
              <a:pathLst>
                <a:path w="6" h="10">
                  <a:moveTo>
                    <a:pt x="6" y="6"/>
                  </a:moveTo>
                  <a:cubicBezTo>
                    <a:pt x="3" y="10"/>
                    <a:pt x="0" y="0"/>
                    <a:pt x="6" y="6"/>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33" name="Freeform 18">
              <a:extLst>
                <a:ext uri="{FF2B5EF4-FFF2-40B4-BE49-F238E27FC236}">
                  <a16:creationId xmlns:a16="http://schemas.microsoft.com/office/drawing/2014/main" id="{E66A627F-A225-4E74-BA00-87F33EEAFD50}"/>
                </a:ext>
              </a:extLst>
            </p:cNvPr>
            <p:cNvSpPr>
              <a:spLocks/>
            </p:cNvSpPr>
            <p:nvPr/>
          </p:nvSpPr>
          <p:spPr bwMode="auto">
            <a:xfrm>
              <a:off x="6107762" y="1334047"/>
              <a:ext cx="51947" cy="33477"/>
            </a:xfrm>
            <a:custGeom>
              <a:avLst/>
              <a:gdLst>
                <a:gd name="T0" fmla="*/ 18 w 19"/>
                <a:gd name="T1" fmla="*/ 4 h 12"/>
                <a:gd name="T2" fmla="*/ 4 w 19"/>
                <a:gd name="T3" fmla="*/ 11 h 12"/>
                <a:gd name="T4" fmla="*/ 0 w 19"/>
                <a:gd name="T5" fmla="*/ 7 h 12"/>
                <a:gd name="T6" fmla="*/ 9 w 19"/>
                <a:gd name="T7" fmla="*/ 4 h 12"/>
                <a:gd name="T8" fmla="*/ 18 w 19"/>
                <a:gd name="T9" fmla="*/ 4 h 12"/>
              </a:gdLst>
              <a:ahLst/>
              <a:cxnLst>
                <a:cxn ang="0">
                  <a:pos x="T0" y="T1"/>
                </a:cxn>
                <a:cxn ang="0">
                  <a:pos x="T2" y="T3"/>
                </a:cxn>
                <a:cxn ang="0">
                  <a:pos x="T4" y="T5"/>
                </a:cxn>
                <a:cxn ang="0">
                  <a:pos x="T6" y="T7"/>
                </a:cxn>
                <a:cxn ang="0">
                  <a:pos x="T8" y="T9"/>
                </a:cxn>
              </a:cxnLst>
              <a:rect l="0" t="0" r="r" b="b"/>
              <a:pathLst>
                <a:path w="19" h="12">
                  <a:moveTo>
                    <a:pt x="18" y="4"/>
                  </a:moveTo>
                  <a:cubicBezTo>
                    <a:pt x="19" y="12"/>
                    <a:pt x="8" y="8"/>
                    <a:pt x="4" y="11"/>
                  </a:cubicBezTo>
                  <a:cubicBezTo>
                    <a:pt x="1" y="11"/>
                    <a:pt x="3" y="6"/>
                    <a:pt x="0" y="7"/>
                  </a:cubicBezTo>
                  <a:cubicBezTo>
                    <a:pt x="0" y="2"/>
                    <a:pt x="8" y="8"/>
                    <a:pt x="9" y="4"/>
                  </a:cubicBezTo>
                  <a:cubicBezTo>
                    <a:pt x="9" y="0"/>
                    <a:pt x="12" y="5"/>
                    <a:pt x="18" y="4"/>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34" name="Freeform 19">
              <a:extLst>
                <a:ext uri="{FF2B5EF4-FFF2-40B4-BE49-F238E27FC236}">
                  <a16:creationId xmlns:a16="http://schemas.microsoft.com/office/drawing/2014/main" id="{C6E993AB-D4A6-4586-A771-373B28F880BF}"/>
                </a:ext>
              </a:extLst>
            </p:cNvPr>
            <p:cNvSpPr>
              <a:spLocks/>
            </p:cNvSpPr>
            <p:nvPr/>
          </p:nvSpPr>
          <p:spPr bwMode="auto">
            <a:xfrm>
              <a:off x="6394046" y="1339819"/>
              <a:ext cx="46175" cy="24242"/>
            </a:xfrm>
            <a:custGeom>
              <a:avLst/>
              <a:gdLst>
                <a:gd name="T0" fmla="*/ 15 w 17"/>
                <a:gd name="T1" fmla="*/ 3 h 9"/>
                <a:gd name="T2" fmla="*/ 15 w 17"/>
                <a:gd name="T3" fmla="*/ 6 h 9"/>
                <a:gd name="T4" fmla="*/ 10 w 17"/>
                <a:gd name="T5" fmla="*/ 7 h 9"/>
                <a:gd name="T6" fmla="*/ 9 w 17"/>
                <a:gd name="T7" fmla="*/ 9 h 9"/>
                <a:gd name="T8" fmla="*/ 4 w 17"/>
                <a:gd name="T9" fmla="*/ 7 h 9"/>
                <a:gd name="T10" fmla="*/ 3 w 17"/>
                <a:gd name="T11" fmla="*/ 9 h 9"/>
                <a:gd name="T12" fmla="*/ 1 w 17"/>
                <a:gd name="T13" fmla="*/ 7 h 9"/>
                <a:gd name="T14" fmla="*/ 15 w 17"/>
                <a:gd name="T15" fmla="*/ 3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9">
                  <a:moveTo>
                    <a:pt x="15" y="3"/>
                  </a:moveTo>
                  <a:cubicBezTo>
                    <a:pt x="17" y="4"/>
                    <a:pt x="16" y="5"/>
                    <a:pt x="15" y="6"/>
                  </a:cubicBezTo>
                  <a:cubicBezTo>
                    <a:pt x="13" y="7"/>
                    <a:pt x="12" y="7"/>
                    <a:pt x="10" y="7"/>
                  </a:cubicBezTo>
                  <a:cubicBezTo>
                    <a:pt x="9" y="8"/>
                    <a:pt x="9" y="9"/>
                    <a:pt x="9" y="9"/>
                  </a:cubicBezTo>
                  <a:cubicBezTo>
                    <a:pt x="8" y="9"/>
                    <a:pt x="6" y="7"/>
                    <a:pt x="4" y="7"/>
                  </a:cubicBezTo>
                  <a:cubicBezTo>
                    <a:pt x="5" y="7"/>
                    <a:pt x="4" y="9"/>
                    <a:pt x="3" y="9"/>
                  </a:cubicBezTo>
                  <a:cubicBezTo>
                    <a:pt x="2" y="9"/>
                    <a:pt x="2" y="9"/>
                    <a:pt x="1" y="7"/>
                  </a:cubicBezTo>
                  <a:cubicBezTo>
                    <a:pt x="0" y="0"/>
                    <a:pt x="14" y="8"/>
                    <a:pt x="15" y="3"/>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35" name="Freeform 20">
              <a:extLst>
                <a:ext uri="{FF2B5EF4-FFF2-40B4-BE49-F238E27FC236}">
                  <a16:creationId xmlns:a16="http://schemas.microsoft.com/office/drawing/2014/main" id="{B8FA9C8A-9BB3-409B-9443-61A225E4E018}"/>
                </a:ext>
              </a:extLst>
            </p:cNvPr>
            <p:cNvSpPr>
              <a:spLocks/>
            </p:cNvSpPr>
            <p:nvPr/>
          </p:nvSpPr>
          <p:spPr bwMode="auto">
            <a:xfrm>
              <a:off x="6222044" y="1350208"/>
              <a:ext cx="27705" cy="13852"/>
            </a:xfrm>
            <a:custGeom>
              <a:avLst/>
              <a:gdLst>
                <a:gd name="T0" fmla="*/ 1 w 10"/>
                <a:gd name="T1" fmla="*/ 3 h 5"/>
                <a:gd name="T2" fmla="*/ 8 w 10"/>
                <a:gd name="T3" fmla="*/ 5 h 5"/>
                <a:gd name="T4" fmla="*/ 1 w 10"/>
                <a:gd name="T5" fmla="*/ 3 h 5"/>
              </a:gdLst>
              <a:ahLst/>
              <a:cxnLst>
                <a:cxn ang="0">
                  <a:pos x="T0" y="T1"/>
                </a:cxn>
                <a:cxn ang="0">
                  <a:pos x="T2" y="T3"/>
                </a:cxn>
                <a:cxn ang="0">
                  <a:pos x="T4" y="T5"/>
                </a:cxn>
              </a:cxnLst>
              <a:rect l="0" t="0" r="r" b="b"/>
              <a:pathLst>
                <a:path w="10" h="5">
                  <a:moveTo>
                    <a:pt x="1" y="3"/>
                  </a:moveTo>
                  <a:cubicBezTo>
                    <a:pt x="0" y="1"/>
                    <a:pt x="10" y="0"/>
                    <a:pt x="8" y="5"/>
                  </a:cubicBezTo>
                  <a:cubicBezTo>
                    <a:pt x="5" y="3"/>
                    <a:pt x="5" y="5"/>
                    <a:pt x="1" y="3"/>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36" name="Freeform 21">
              <a:extLst>
                <a:ext uri="{FF2B5EF4-FFF2-40B4-BE49-F238E27FC236}">
                  <a16:creationId xmlns:a16="http://schemas.microsoft.com/office/drawing/2014/main" id="{33FEED31-C997-4B1F-8F22-7BD262274827}"/>
                </a:ext>
              </a:extLst>
            </p:cNvPr>
            <p:cNvSpPr>
              <a:spLocks/>
            </p:cNvSpPr>
            <p:nvPr/>
          </p:nvSpPr>
          <p:spPr bwMode="auto">
            <a:xfrm>
              <a:off x="6478315" y="1355980"/>
              <a:ext cx="13852" cy="11544"/>
            </a:xfrm>
            <a:custGeom>
              <a:avLst/>
              <a:gdLst>
                <a:gd name="T0" fmla="*/ 0 w 5"/>
                <a:gd name="T1" fmla="*/ 0 h 4"/>
                <a:gd name="T2" fmla="*/ 5 w 5"/>
                <a:gd name="T3" fmla="*/ 4 h 4"/>
                <a:gd name="T4" fmla="*/ 0 w 5"/>
                <a:gd name="T5" fmla="*/ 4 h 4"/>
                <a:gd name="T6" fmla="*/ 0 w 5"/>
                <a:gd name="T7" fmla="*/ 0 h 4"/>
              </a:gdLst>
              <a:ahLst/>
              <a:cxnLst>
                <a:cxn ang="0">
                  <a:pos x="T0" y="T1"/>
                </a:cxn>
                <a:cxn ang="0">
                  <a:pos x="T2" y="T3"/>
                </a:cxn>
                <a:cxn ang="0">
                  <a:pos x="T4" y="T5"/>
                </a:cxn>
                <a:cxn ang="0">
                  <a:pos x="T6" y="T7"/>
                </a:cxn>
              </a:cxnLst>
              <a:rect l="0" t="0" r="r" b="b"/>
              <a:pathLst>
                <a:path w="5" h="4">
                  <a:moveTo>
                    <a:pt x="0" y="0"/>
                  </a:moveTo>
                  <a:cubicBezTo>
                    <a:pt x="3" y="0"/>
                    <a:pt x="5" y="1"/>
                    <a:pt x="5" y="4"/>
                  </a:cubicBezTo>
                  <a:cubicBezTo>
                    <a:pt x="3" y="4"/>
                    <a:pt x="2" y="4"/>
                    <a:pt x="0" y="4"/>
                  </a:cubicBezTo>
                  <a:cubicBezTo>
                    <a:pt x="0" y="3"/>
                    <a:pt x="0" y="1"/>
                    <a:pt x="0" y="0"/>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37" name="Freeform 22">
              <a:extLst>
                <a:ext uri="{FF2B5EF4-FFF2-40B4-BE49-F238E27FC236}">
                  <a16:creationId xmlns:a16="http://schemas.microsoft.com/office/drawing/2014/main" id="{26E53CAB-5688-4C28-95D4-11F49850F14B}"/>
                </a:ext>
              </a:extLst>
            </p:cNvPr>
            <p:cNvSpPr>
              <a:spLocks/>
            </p:cNvSpPr>
            <p:nvPr/>
          </p:nvSpPr>
          <p:spPr bwMode="auto">
            <a:xfrm>
              <a:off x="6369804" y="1375604"/>
              <a:ext cx="286284" cy="86578"/>
            </a:xfrm>
            <a:custGeom>
              <a:avLst/>
              <a:gdLst>
                <a:gd name="T0" fmla="*/ 105 w 105"/>
                <a:gd name="T1" fmla="*/ 18 h 32"/>
                <a:gd name="T2" fmla="*/ 105 w 105"/>
                <a:gd name="T3" fmla="*/ 26 h 32"/>
                <a:gd name="T4" fmla="*/ 101 w 105"/>
                <a:gd name="T5" fmla="*/ 29 h 32"/>
                <a:gd name="T6" fmla="*/ 83 w 105"/>
                <a:gd name="T7" fmla="*/ 29 h 32"/>
                <a:gd name="T8" fmla="*/ 77 w 105"/>
                <a:gd name="T9" fmla="*/ 32 h 32"/>
                <a:gd name="T10" fmla="*/ 73 w 105"/>
                <a:gd name="T11" fmla="*/ 30 h 32"/>
                <a:gd name="T12" fmla="*/ 71 w 105"/>
                <a:gd name="T13" fmla="*/ 32 h 32"/>
                <a:gd name="T14" fmla="*/ 65 w 105"/>
                <a:gd name="T15" fmla="*/ 32 h 32"/>
                <a:gd name="T16" fmla="*/ 65 w 105"/>
                <a:gd name="T17" fmla="*/ 30 h 32"/>
                <a:gd name="T18" fmla="*/ 62 w 105"/>
                <a:gd name="T19" fmla="*/ 32 h 32"/>
                <a:gd name="T20" fmla="*/ 56 w 105"/>
                <a:gd name="T21" fmla="*/ 29 h 32"/>
                <a:gd name="T22" fmla="*/ 34 w 105"/>
                <a:gd name="T23" fmla="*/ 29 h 32"/>
                <a:gd name="T24" fmla="*/ 36 w 105"/>
                <a:gd name="T25" fmla="*/ 26 h 32"/>
                <a:gd name="T26" fmla="*/ 33 w 105"/>
                <a:gd name="T27" fmla="*/ 24 h 32"/>
                <a:gd name="T28" fmla="*/ 30 w 105"/>
                <a:gd name="T29" fmla="*/ 18 h 32"/>
                <a:gd name="T30" fmla="*/ 33 w 105"/>
                <a:gd name="T31" fmla="*/ 15 h 32"/>
                <a:gd name="T32" fmla="*/ 30 w 105"/>
                <a:gd name="T33" fmla="*/ 9 h 32"/>
                <a:gd name="T34" fmla="*/ 16 w 105"/>
                <a:gd name="T35" fmla="*/ 11 h 32"/>
                <a:gd name="T36" fmla="*/ 13 w 105"/>
                <a:gd name="T37" fmla="*/ 8 h 32"/>
                <a:gd name="T38" fmla="*/ 10 w 105"/>
                <a:gd name="T39" fmla="*/ 6 h 32"/>
                <a:gd name="T40" fmla="*/ 4 w 105"/>
                <a:gd name="T41" fmla="*/ 8 h 32"/>
                <a:gd name="T42" fmla="*/ 2 w 105"/>
                <a:gd name="T43" fmla="*/ 2 h 32"/>
                <a:gd name="T44" fmla="*/ 18 w 105"/>
                <a:gd name="T45" fmla="*/ 0 h 32"/>
                <a:gd name="T46" fmla="*/ 21 w 105"/>
                <a:gd name="T47" fmla="*/ 2 h 32"/>
                <a:gd name="T48" fmla="*/ 21 w 105"/>
                <a:gd name="T49" fmla="*/ 5 h 32"/>
                <a:gd name="T50" fmla="*/ 25 w 105"/>
                <a:gd name="T51" fmla="*/ 8 h 32"/>
                <a:gd name="T52" fmla="*/ 39 w 105"/>
                <a:gd name="T53" fmla="*/ 8 h 32"/>
                <a:gd name="T54" fmla="*/ 39 w 105"/>
                <a:gd name="T55" fmla="*/ 15 h 32"/>
                <a:gd name="T56" fmla="*/ 49 w 105"/>
                <a:gd name="T57" fmla="*/ 17 h 32"/>
                <a:gd name="T58" fmla="*/ 49 w 105"/>
                <a:gd name="T59" fmla="*/ 20 h 32"/>
                <a:gd name="T60" fmla="*/ 52 w 105"/>
                <a:gd name="T61" fmla="*/ 18 h 32"/>
                <a:gd name="T62" fmla="*/ 70 w 105"/>
                <a:gd name="T63" fmla="*/ 18 h 32"/>
                <a:gd name="T64" fmla="*/ 73 w 105"/>
                <a:gd name="T65" fmla="*/ 20 h 32"/>
                <a:gd name="T66" fmla="*/ 77 w 105"/>
                <a:gd name="T67" fmla="*/ 17 h 32"/>
                <a:gd name="T68" fmla="*/ 82 w 105"/>
                <a:gd name="T69" fmla="*/ 17 h 32"/>
                <a:gd name="T70" fmla="*/ 105 w 105"/>
                <a:gd name="T71"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5" h="32">
                  <a:moveTo>
                    <a:pt x="105" y="18"/>
                  </a:moveTo>
                  <a:cubicBezTo>
                    <a:pt x="105" y="21"/>
                    <a:pt x="105" y="23"/>
                    <a:pt x="105" y="26"/>
                  </a:cubicBezTo>
                  <a:cubicBezTo>
                    <a:pt x="103" y="26"/>
                    <a:pt x="101" y="27"/>
                    <a:pt x="101" y="29"/>
                  </a:cubicBezTo>
                  <a:cubicBezTo>
                    <a:pt x="94" y="29"/>
                    <a:pt x="88" y="28"/>
                    <a:pt x="83" y="29"/>
                  </a:cubicBezTo>
                  <a:cubicBezTo>
                    <a:pt x="81" y="29"/>
                    <a:pt x="79" y="31"/>
                    <a:pt x="77" y="32"/>
                  </a:cubicBezTo>
                  <a:cubicBezTo>
                    <a:pt x="75" y="32"/>
                    <a:pt x="75" y="30"/>
                    <a:pt x="73" y="30"/>
                  </a:cubicBezTo>
                  <a:cubicBezTo>
                    <a:pt x="73" y="30"/>
                    <a:pt x="72" y="31"/>
                    <a:pt x="71" y="32"/>
                  </a:cubicBezTo>
                  <a:cubicBezTo>
                    <a:pt x="71" y="32"/>
                    <a:pt x="66" y="32"/>
                    <a:pt x="65" y="32"/>
                  </a:cubicBezTo>
                  <a:cubicBezTo>
                    <a:pt x="65" y="31"/>
                    <a:pt x="65" y="30"/>
                    <a:pt x="65" y="30"/>
                  </a:cubicBezTo>
                  <a:cubicBezTo>
                    <a:pt x="64" y="30"/>
                    <a:pt x="62" y="32"/>
                    <a:pt x="62" y="32"/>
                  </a:cubicBezTo>
                  <a:cubicBezTo>
                    <a:pt x="59" y="31"/>
                    <a:pt x="59" y="29"/>
                    <a:pt x="56" y="29"/>
                  </a:cubicBezTo>
                  <a:cubicBezTo>
                    <a:pt x="50" y="28"/>
                    <a:pt x="43" y="32"/>
                    <a:pt x="34" y="29"/>
                  </a:cubicBezTo>
                  <a:cubicBezTo>
                    <a:pt x="34" y="27"/>
                    <a:pt x="36" y="27"/>
                    <a:pt x="36" y="26"/>
                  </a:cubicBezTo>
                  <a:cubicBezTo>
                    <a:pt x="35" y="24"/>
                    <a:pt x="34" y="25"/>
                    <a:pt x="33" y="24"/>
                  </a:cubicBezTo>
                  <a:cubicBezTo>
                    <a:pt x="31" y="22"/>
                    <a:pt x="33" y="19"/>
                    <a:pt x="30" y="18"/>
                  </a:cubicBezTo>
                  <a:cubicBezTo>
                    <a:pt x="30" y="17"/>
                    <a:pt x="33" y="17"/>
                    <a:pt x="33" y="15"/>
                  </a:cubicBezTo>
                  <a:cubicBezTo>
                    <a:pt x="33" y="12"/>
                    <a:pt x="29" y="13"/>
                    <a:pt x="30" y="9"/>
                  </a:cubicBezTo>
                  <a:cubicBezTo>
                    <a:pt x="27" y="12"/>
                    <a:pt x="21" y="10"/>
                    <a:pt x="16" y="11"/>
                  </a:cubicBezTo>
                  <a:cubicBezTo>
                    <a:pt x="13" y="12"/>
                    <a:pt x="14" y="9"/>
                    <a:pt x="13" y="8"/>
                  </a:cubicBezTo>
                  <a:cubicBezTo>
                    <a:pt x="13" y="7"/>
                    <a:pt x="10" y="8"/>
                    <a:pt x="10" y="6"/>
                  </a:cubicBezTo>
                  <a:cubicBezTo>
                    <a:pt x="9" y="7"/>
                    <a:pt x="7" y="8"/>
                    <a:pt x="4" y="8"/>
                  </a:cubicBezTo>
                  <a:cubicBezTo>
                    <a:pt x="9" y="3"/>
                    <a:pt x="0" y="7"/>
                    <a:pt x="2" y="2"/>
                  </a:cubicBezTo>
                  <a:cubicBezTo>
                    <a:pt x="8" y="3"/>
                    <a:pt x="13" y="1"/>
                    <a:pt x="18" y="0"/>
                  </a:cubicBezTo>
                  <a:cubicBezTo>
                    <a:pt x="17" y="2"/>
                    <a:pt x="20" y="1"/>
                    <a:pt x="21" y="2"/>
                  </a:cubicBezTo>
                  <a:cubicBezTo>
                    <a:pt x="21" y="2"/>
                    <a:pt x="20" y="4"/>
                    <a:pt x="21" y="5"/>
                  </a:cubicBezTo>
                  <a:cubicBezTo>
                    <a:pt x="22" y="6"/>
                    <a:pt x="26" y="4"/>
                    <a:pt x="25" y="8"/>
                  </a:cubicBezTo>
                  <a:cubicBezTo>
                    <a:pt x="29" y="4"/>
                    <a:pt x="33" y="9"/>
                    <a:pt x="39" y="8"/>
                  </a:cubicBezTo>
                  <a:cubicBezTo>
                    <a:pt x="38" y="13"/>
                    <a:pt x="41" y="12"/>
                    <a:pt x="39" y="15"/>
                  </a:cubicBezTo>
                  <a:cubicBezTo>
                    <a:pt x="41" y="16"/>
                    <a:pt x="45" y="15"/>
                    <a:pt x="49" y="17"/>
                  </a:cubicBezTo>
                  <a:cubicBezTo>
                    <a:pt x="50" y="17"/>
                    <a:pt x="42" y="20"/>
                    <a:pt x="49" y="20"/>
                  </a:cubicBezTo>
                  <a:cubicBezTo>
                    <a:pt x="50" y="20"/>
                    <a:pt x="50" y="18"/>
                    <a:pt x="52" y="18"/>
                  </a:cubicBezTo>
                  <a:cubicBezTo>
                    <a:pt x="56" y="18"/>
                    <a:pt x="64" y="17"/>
                    <a:pt x="70" y="18"/>
                  </a:cubicBezTo>
                  <a:cubicBezTo>
                    <a:pt x="71" y="18"/>
                    <a:pt x="73" y="20"/>
                    <a:pt x="73" y="20"/>
                  </a:cubicBezTo>
                  <a:cubicBezTo>
                    <a:pt x="76" y="19"/>
                    <a:pt x="70" y="17"/>
                    <a:pt x="77" y="17"/>
                  </a:cubicBezTo>
                  <a:cubicBezTo>
                    <a:pt x="79" y="17"/>
                    <a:pt x="80" y="17"/>
                    <a:pt x="82" y="17"/>
                  </a:cubicBezTo>
                  <a:cubicBezTo>
                    <a:pt x="88" y="16"/>
                    <a:pt x="97" y="16"/>
                    <a:pt x="105" y="18"/>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38" name="Freeform 23">
              <a:extLst>
                <a:ext uri="{FF2B5EF4-FFF2-40B4-BE49-F238E27FC236}">
                  <a16:creationId xmlns:a16="http://schemas.microsoft.com/office/drawing/2014/main" id="{7B4B2775-2DCE-4E27-BE66-D3FC29D367C7}"/>
                </a:ext>
              </a:extLst>
            </p:cNvPr>
            <p:cNvSpPr>
              <a:spLocks/>
            </p:cNvSpPr>
            <p:nvPr/>
          </p:nvSpPr>
          <p:spPr bwMode="auto">
            <a:xfrm>
              <a:off x="2789860" y="1375604"/>
              <a:ext cx="289748" cy="206633"/>
            </a:xfrm>
            <a:custGeom>
              <a:avLst/>
              <a:gdLst>
                <a:gd name="T0" fmla="*/ 87 w 106"/>
                <a:gd name="T1" fmla="*/ 2 h 76"/>
                <a:gd name="T2" fmla="*/ 104 w 106"/>
                <a:gd name="T3" fmla="*/ 0 h 76"/>
                <a:gd name="T4" fmla="*/ 103 w 106"/>
                <a:gd name="T5" fmla="*/ 8 h 76"/>
                <a:gd name="T6" fmla="*/ 84 w 106"/>
                <a:gd name="T7" fmla="*/ 11 h 76"/>
                <a:gd name="T8" fmla="*/ 81 w 106"/>
                <a:gd name="T9" fmla="*/ 14 h 76"/>
                <a:gd name="T10" fmla="*/ 78 w 106"/>
                <a:gd name="T11" fmla="*/ 14 h 76"/>
                <a:gd name="T12" fmla="*/ 75 w 106"/>
                <a:gd name="T13" fmla="*/ 17 h 76"/>
                <a:gd name="T14" fmla="*/ 72 w 106"/>
                <a:gd name="T15" fmla="*/ 15 h 76"/>
                <a:gd name="T16" fmla="*/ 66 w 106"/>
                <a:gd name="T17" fmla="*/ 17 h 76"/>
                <a:gd name="T18" fmla="*/ 60 w 106"/>
                <a:gd name="T19" fmla="*/ 18 h 76"/>
                <a:gd name="T20" fmla="*/ 58 w 106"/>
                <a:gd name="T21" fmla="*/ 21 h 76"/>
                <a:gd name="T22" fmla="*/ 51 w 106"/>
                <a:gd name="T23" fmla="*/ 26 h 76"/>
                <a:gd name="T24" fmla="*/ 47 w 106"/>
                <a:gd name="T25" fmla="*/ 29 h 76"/>
                <a:gd name="T26" fmla="*/ 44 w 106"/>
                <a:gd name="T27" fmla="*/ 32 h 76"/>
                <a:gd name="T28" fmla="*/ 42 w 106"/>
                <a:gd name="T29" fmla="*/ 34 h 76"/>
                <a:gd name="T30" fmla="*/ 35 w 106"/>
                <a:gd name="T31" fmla="*/ 37 h 76"/>
                <a:gd name="T32" fmla="*/ 33 w 106"/>
                <a:gd name="T33" fmla="*/ 39 h 76"/>
                <a:gd name="T34" fmla="*/ 27 w 106"/>
                <a:gd name="T35" fmla="*/ 42 h 76"/>
                <a:gd name="T36" fmla="*/ 24 w 106"/>
                <a:gd name="T37" fmla="*/ 48 h 76"/>
                <a:gd name="T38" fmla="*/ 26 w 106"/>
                <a:gd name="T39" fmla="*/ 57 h 76"/>
                <a:gd name="T40" fmla="*/ 21 w 106"/>
                <a:gd name="T41" fmla="*/ 60 h 76"/>
                <a:gd name="T42" fmla="*/ 24 w 106"/>
                <a:gd name="T43" fmla="*/ 66 h 76"/>
                <a:gd name="T44" fmla="*/ 23 w 106"/>
                <a:gd name="T45" fmla="*/ 67 h 76"/>
                <a:gd name="T46" fmla="*/ 24 w 106"/>
                <a:gd name="T47" fmla="*/ 69 h 76"/>
                <a:gd name="T48" fmla="*/ 26 w 106"/>
                <a:gd name="T49" fmla="*/ 67 h 76"/>
                <a:gd name="T50" fmla="*/ 30 w 106"/>
                <a:gd name="T51" fmla="*/ 70 h 76"/>
                <a:gd name="T52" fmla="*/ 29 w 106"/>
                <a:gd name="T53" fmla="*/ 76 h 76"/>
                <a:gd name="T54" fmla="*/ 15 w 106"/>
                <a:gd name="T55" fmla="*/ 76 h 76"/>
                <a:gd name="T56" fmla="*/ 17 w 106"/>
                <a:gd name="T57" fmla="*/ 73 h 76"/>
                <a:gd name="T58" fmla="*/ 13 w 106"/>
                <a:gd name="T59" fmla="*/ 72 h 76"/>
                <a:gd name="T60" fmla="*/ 10 w 106"/>
                <a:gd name="T61" fmla="*/ 69 h 76"/>
                <a:gd name="T62" fmla="*/ 7 w 106"/>
                <a:gd name="T63" fmla="*/ 69 h 76"/>
                <a:gd name="T64" fmla="*/ 2 w 106"/>
                <a:gd name="T65" fmla="*/ 69 h 76"/>
                <a:gd name="T66" fmla="*/ 1 w 106"/>
                <a:gd name="T67" fmla="*/ 58 h 76"/>
                <a:gd name="T68" fmla="*/ 8 w 106"/>
                <a:gd name="T69" fmla="*/ 55 h 76"/>
                <a:gd name="T70" fmla="*/ 7 w 106"/>
                <a:gd name="T71" fmla="*/ 54 h 76"/>
                <a:gd name="T72" fmla="*/ 8 w 106"/>
                <a:gd name="T73" fmla="*/ 51 h 76"/>
                <a:gd name="T74" fmla="*/ 15 w 106"/>
                <a:gd name="T75" fmla="*/ 48 h 76"/>
                <a:gd name="T76" fmla="*/ 15 w 106"/>
                <a:gd name="T77" fmla="*/ 42 h 76"/>
                <a:gd name="T78" fmla="*/ 20 w 106"/>
                <a:gd name="T79" fmla="*/ 40 h 76"/>
                <a:gd name="T80" fmla="*/ 23 w 106"/>
                <a:gd name="T81" fmla="*/ 36 h 76"/>
                <a:gd name="T82" fmla="*/ 23 w 106"/>
                <a:gd name="T83" fmla="*/ 29 h 76"/>
                <a:gd name="T84" fmla="*/ 35 w 106"/>
                <a:gd name="T85" fmla="*/ 24 h 76"/>
                <a:gd name="T86" fmla="*/ 36 w 106"/>
                <a:gd name="T87" fmla="*/ 21 h 76"/>
                <a:gd name="T88" fmla="*/ 38 w 106"/>
                <a:gd name="T89" fmla="*/ 23 h 76"/>
                <a:gd name="T90" fmla="*/ 41 w 106"/>
                <a:gd name="T91" fmla="*/ 20 h 76"/>
                <a:gd name="T92" fmla="*/ 42 w 106"/>
                <a:gd name="T93" fmla="*/ 17 h 76"/>
                <a:gd name="T94" fmla="*/ 50 w 106"/>
                <a:gd name="T95" fmla="*/ 15 h 76"/>
                <a:gd name="T96" fmla="*/ 58 w 106"/>
                <a:gd name="T97" fmla="*/ 14 h 76"/>
                <a:gd name="T98" fmla="*/ 60 w 106"/>
                <a:gd name="T99" fmla="*/ 12 h 76"/>
                <a:gd name="T100" fmla="*/ 63 w 106"/>
                <a:gd name="T101" fmla="*/ 14 h 76"/>
                <a:gd name="T102" fmla="*/ 64 w 106"/>
                <a:gd name="T103" fmla="*/ 11 h 76"/>
                <a:gd name="T104" fmla="*/ 66 w 106"/>
                <a:gd name="T105" fmla="*/ 11 h 76"/>
                <a:gd name="T106" fmla="*/ 76 w 106"/>
                <a:gd name="T107" fmla="*/ 9 h 76"/>
                <a:gd name="T108" fmla="*/ 79 w 106"/>
                <a:gd name="T109" fmla="*/ 8 h 76"/>
                <a:gd name="T110" fmla="*/ 81 w 106"/>
                <a:gd name="T111" fmla="*/ 6 h 76"/>
                <a:gd name="T112" fmla="*/ 87 w 106"/>
                <a:gd name="T113" fmla="*/ 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6" h="76">
                  <a:moveTo>
                    <a:pt x="87" y="2"/>
                  </a:moveTo>
                  <a:cubicBezTo>
                    <a:pt x="91" y="5"/>
                    <a:pt x="98" y="0"/>
                    <a:pt x="104" y="0"/>
                  </a:cubicBezTo>
                  <a:cubicBezTo>
                    <a:pt x="106" y="5"/>
                    <a:pt x="102" y="4"/>
                    <a:pt x="103" y="8"/>
                  </a:cubicBezTo>
                  <a:cubicBezTo>
                    <a:pt x="98" y="5"/>
                    <a:pt x="90" y="10"/>
                    <a:pt x="84" y="11"/>
                  </a:cubicBezTo>
                  <a:cubicBezTo>
                    <a:pt x="82" y="11"/>
                    <a:pt x="82" y="13"/>
                    <a:pt x="81" y="14"/>
                  </a:cubicBezTo>
                  <a:cubicBezTo>
                    <a:pt x="80" y="14"/>
                    <a:pt x="78" y="13"/>
                    <a:pt x="78" y="14"/>
                  </a:cubicBezTo>
                  <a:cubicBezTo>
                    <a:pt x="78" y="14"/>
                    <a:pt x="75" y="17"/>
                    <a:pt x="75" y="17"/>
                  </a:cubicBezTo>
                  <a:cubicBezTo>
                    <a:pt x="74" y="17"/>
                    <a:pt x="73" y="15"/>
                    <a:pt x="72" y="15"/>
                  </a:cubicBezTo>
                  <a:cubicBezTo>
                    <a:pt x="70" y="16"/>
                    <a:pt x="68" y="16"/>
                    <a:pt x="66" y="17"/>
                  </a:cubicBezTo>
                  <a:cubicBezTo>
                    <a:pt x="65" y="17"/>
                    <a:pt x="62" y="17"/>
                    <a:pt x="60" y="18"/>
                  </a:cubicBezTo>
                  <a:cubicBezTo>
                    <a:pt x="58" y="19"/>
                    <a:pt x="60" y="20"/>
                    <a:pt x="58" y="21"/>
                  </a:cubicBezTo>
                  <a:cubicBezTo>
                    <a:pt x="57" y="22"/>
                    <a:pt x="51" y="21"/>
                    <a:pt x="51" y="26"/>
                  </a:cubicBezTo>
                  <a:cubicBezTo>
                    <a:pt x="51" y="27"/>
                    <a:pt x="48" y="28"/>
                    <a:pt x="47" y="29"/>
                  </a:cubicBezTo>
                  <a:cubicBezTo>
                    <a:pt x="46" y="29"/>
                    <a:pt x="44" y="31"/>
                    <a:pt x="44" y="32"/>
                  </a:cubicBezTo>
                  <a:cubicBezTo>
                    <a:pt x="43" y="32"/>
                    <a:pt x="42" y="33"/>
                    <a:pt x="42" y="34"/>
                  </a:cubicBezTo>
                  <a:cubicBezTo>
                    <a:pt x="37" y="36"/>
                    <a:pt x="38" y="33"/>
                    <a:pt x="35" y="37"/>
                  </a:cubicBezTo>
                  <a:cubicBezTo>
                    <a:pt x="34" y="38"/>
                    <a:pt x="33" y="37"/>
                    <a:pt x="33" y="39"/>
                  </a:cubicBezTo>
                  <a:cubicBezTo>
                    <a:pt x="33" y="41"/>
                    <a:pt x="30" y="40"/>
                    <a:pt x="27" y="42"/>
                  </a:cubicBezTo>
                  <a:cubicBezTo>
                    <a:pt x="27" y="45"/>
                    <a:pt x="29" y="49"/>
                    <a:pt x="24" y="48"/>
                  </a:cubicBezTo>
                  <a:cubicBezTo>
                    <a:pt x="25" y="50"/>
                    <a:pt x="23" y="57"/>
                    <a:pt x="26" y="57"/>
                  </a:cubicBezTo>
                  <a:cubicBezTo>
                    <a:pt x="25" y="58"/>
                    <a:pt x="23" y="59"/>
                    <a:pt x="21" y="60"/>
                  </a:cubicBezTo>
                  <a:cubicBezTo>
                    <a:pt x="20" y="63"/>
                    <a:pt x="25" y="63"/>
                    <a:pt x="24" y="66"/>
                  </a:cubicBezTo>
                  <a:cubicBezTo>
                    <a:pt x="24" y="66"/>
                    <a:pt x="22" y="66"/>
                    <a:pt x="23" y="67"/>
                  </a:cubicBezTo>
                  <a:cubicBezTo>
                    <a:pt x="23" y="67"/>
                    <a:pt x="25" y="69"/>
                    <a:pt x="24" y="69"/>
                  </a:cubicBezTo>
                  <a:cubicBezTo>
                    <a:pt x="25" y="69"/>
                    <a:pt x="26" y="67"/>
                    <a:pt x="26" y="67"/>
                  </a:cubicBezTo>
                  <a:cubicBezTo>
                    <a:pt x="27" y="68"/>
                    <a:pt x="27" y="71"/>
                    <a:pt x="30" y="70"/>
                  </a:cubicBezTo>
                  <a:cubicBezTo>
                    <a:pt x="31" y="73"/>
                    <a:pt x="28" y="73"/>
                    <a:pt x="29" y="76"/>
                  </a:cubicBezTo>
                  <a:cubicBezTo>
                    <a:pt x="24" y="76"/>
                    <a:pt x="20" y="76"/>
                    <a:pt x="15" y="76"/>
                  </a:cubicBezTo>
                  <a:cubicBezTo>
                    <a:pt x="15" y="75"/>
                    <a:pt x="18" y="74"/>
                    <a:pt x="17" y="73"/>
                  </a:cubicBezTo>
                  <a:cubicBezTo>
                    <a:pt x="16" y="72"/>
                    <a:pt x="14" y="72"/>
                    <a:pt x="13" y="72"/>
                  </a:cubicBezTo>
                  <a:cubicBezTo>
                    <a:pt x="12" y="71"/>
                    <a:pt x="10" y="69"/>
                    <a:pt x="10" y="69"/>
                  </a:cubicBezTo>
                  <a:cubicBezTo>
                    <a:pt x="9" y="68"/>
                    <a:pt x="7" y="69"/>
                    <a:pt x="7" y="69"/>
                  </a:cubicBezTo>
                  <a:cubicBezTo>
                    <a:pt x="5" y="67"/>
                    <a:pt x="5" y="69"/>
                    <a:pt x="2" y="69"/>
                  </a:cubicBezTo>
                  <a:cubicBezTo>
                    <a:pt x="2" y="65"/>
                    <a:pt x="0" y="63"/>
                    <a:pt x="1" y="58"/>
                  </a:cubicBezTo>
                  <a:cubicBezTo>
                    <a:pt x="5" y="63"/>
                    <a:pt x="1" y="53"/>
                    <a:pt x="8" y="55"/>
                  </a:cubicBezTo>
                  <a:cubicBezTo>
                    <a:pt x="9" y="54"/>
                    <a:pt x="7" y="54"/>
                    <a:pt x="7" y="54"/>
                  </a:cubicBezTo>
                  <a:cubicBezTo>
                    <a:pt x="7" y="52"/>
                    <a:pt x="11" y="52"/>
                    <a:pt x="8" y="51"/>
                  </a:cubicBezTo>
                  <a:cubicBezTo>
                    <a:pt x="9" y="49"/>
                    <a:pt x="13" y="49"/>
                    <a:pt x="15" y="48"/>
                  </a:cubicBezTo>
                  <a:cubicBezTo>
                    <a:pt x="14" y="45"/>
                    <a:pt x="20" y="43"/>
                    <a:pt x="15" y="42"/>
                  </a:cubicBezTo>
                  <a:cubicBezTo>
                    <a:pt x="16" y="40"/>
                    <a:pt x="18" y="41"/>
                    <a:pt x="20" y="40"/>
                  </a:cubicBezTo>
                  <a:cubicBezTo>
                    <a:pt x="20" y="38"/>
                    <a:pt x="21" y="37"/>
                    <a:pt x="23" y="36"/>
                  </a:cubicBezTo>
                  <a:cubicBezTo>
                    <a:pt x="20" y="33"/>
                    <a:pt x="24" y="33"/>
                    <a:pt x="23" y="29"/>
                  </a:cubicBezTo>
                  <a:cubicBezTo>
                    <a:pt x="29" y="29"/>
                    <a:pt x="31" y="25"/>
                    <a:pt x="35" y="24"/>
                  </a:cubicBezTo>
                  <a:cubicBezTo>
                    <a:pt x="37" y="25"/>
                    <a:pt x="35" y="22"/>
                    <a:pt x="36" y="21"/>
                  </a:cubicBezTo>
                  <a:cubicBezTo>
                    <a:pt x="37" y="21"/>
                    <a:pt x="38" y="22"/>
                    <a:pt x="38" y="23"/>
                  </a:cubicBezTo>
                  <a:cubicBezTo>
                    <a:pt x="39" y="22"/>
                    <a:pt x="40" y="20"/>
                    <a:pt x="41" y="20"/>
                  </a:cubicBezTo>
                  <a:cubicBezTo>
                    <a:pt x="41" y="19"/>
                    <a:pt x="43" y="18"/>
                    <a:pt x="42" y="17"/>
                  </a:cubicBezTo>
                  <a:cubicBezTo>
                    <a:pt x="45" y="17"/>
                    <a:pt x="47" y="17"/>
                    <a:pt x="50" y="15"/>
                  </a:cubicBezTo>
                  <a:cubicBezTo>
                    <a:pt x="52" y="14"/>
                    <a:pt x="53" y="15"/>
                    <a:pt x="58" y="14"/>
                  </a:cubicBezTo>
                  <a:cubicBezTo>
                    <a:pt x="60" y="13"/>
                    <a:pt x="59" y="13"/>
                    <a:pt x="60" y="12"/>
                  </a:cubicBezTo>
                  <a:cubicBezTo>
                    <a:pt x="62" y="12"/>
                    <a:pt x="63" y="14"/>
                    <a:pt x="63" y="14"/>
                  </a:cubicBezTo>
                  <a:cubicBezTo>
                    <a:pt x="65" y="13"/>
                    <a:pt x="62" y="11"/>
                    <a:pt x="64" y="11"/>
                  </a:cubicBezTo>
                  <a:cubicBezTo>
                    <a:pt x="65" y="11"/>
                    <a:pt x="66" y="11"/>
                    <a:pt x="66" y="11"/>
                  </a:cubicBezTo>
                  <a:cubicBezTo>
                    <a:pt x="67" y="10"/>
                    <a:pt x="72" y="10"/>
                    <a:pt x="76" y="9"/>
                  </a:cubicBezTo>
                  <a:cubicBezTo>
                    <a:pt x="79" y="9"/>
                    <a:pt x="78" y="9"/>
                    <a:pt x="79" y="8"/>
                  </a:cubicBezTo>
                  <a:cubicBezTo>
                    <a:pt x="79" y="8"/>
                    <a:pt x="81" y="6"/>
                    <a:pt x="81" y="6"/>
                  </a:cubicBezTo>
                  <a:cubicBezTo>
                    <a:pt x="85" y="4"/>
                    <a:pt x="87" y="9"/>
                    <a:pt x="87" y="2"/>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39" name="Freeform 24">
              <a:extLst>
                <a:ext uri="{FF2B5EF4-FFF2-40B4-BE49-F238E27FC236}">
                  <a16:creationId xmlns:a16="http://schemas.microsoft.com/office/drawing/2014/main" id="{AD59AF5F-25EA-412C-9C99-55D9236BCCC0}"/>
                </a:ext>
              </a:extLst>
            </p:cNvPr>
            <p:cNvSpPr>
              <a:spLocks/>
            </p:cNvSpPr>
            <p:nvPr/>
          </p:nvSpPr>
          <p:spPr bwMode="auto">
            <a:xfrm>
              <a:off x="6295924" y="1385994"/>
              <a:ext cx="30014" cy="13852"/>
            </a:xfrm>
            <a:custGeom>
              <a:avLst/>
              <a:gdLst>
                <a:gd name="T0" fmla="*/ 8 w 11"/>
                <a:gd name="T1" fmla="*/ 1 h 5"/>
                <a:gd name="T2" fmla="*/ 11 w 11"/>
                <a:gd name="T3" fmla="*/ 1 h 5"/>
                <a:gd name="T4" fmla="*/ 8 w 11"/>
                <a:gd name="T5" fmla="*/ 1 h 5"/>
              </a:gdLst>
              <a:ahLst/>
              <a:cxnLst>
                <a:cxn ang="0">
                  <a:pos x="T0" y="T1"/>
                </a:cxn>
                <a:cxn ang="0">
                  <a:pos x="T2" y="T3"/>
                </a:cxn>
                <a:cxn ang="0">
                  <a:pos x="T4" y="T5"/>
                </a:cxn>
              </a:cxnLst>
              <a:rect l="0" t="0" r="r" b="b"/>
              <a:pathLst>
                <a:path w="11" h="5">
                  <a:moveTo>
                    <a:pt x="8" y="1"/>
                  </a:moveTo>
                  <a:cubicBezTo>
                    <a:pt x="9" y="1"/>
                    <a:pt x="10" y="1"/>
                    <a:pt x="11" y="1"/>
                  </a:cubicBezTo>
                  <a:cubicBezTo>
                    <a:pt x="11" y="5"/>
                    <a:pt x="0" y="0"/>
                    <a:pt x="8" y="1"/>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40" name="Freeform 25">
              <a:extLst>
                <a:ext uri="{FF2B5EF4-FFF2-40B4-BE49-F238E27FC236}">
                  <a16:creationId xmlns:a16="http://schemas.microsoft.com/office/drawing/2014/main" id="{C5FE43A3-B6F6-4BDA-88A5-9D39F49BCF43}"/>
                </a:ext>
              </a:extLst>
            </p:cNvPr>
            <p:cNvSpPr>
              <a:spLocks/>
            </p:cNvSpPr>
            <p:nvPr/>
          </p:nvSpPr>
          <p:spPr bwMode="auto">
            <a:xfrm>
              <a:off x="4197040" y="1402155"/>
              <a:ext cx="90041" cy="68108"/>
            </a:xfrm>
            <a:custGeom>
              <a:avLst/>
              <a:gdLst>
                <a:gd name="T0" fmla="*/ 9 w 33"/>
                <a:gd name="T1" fmla="*/ 1 h 25"/>
                <a:gd name="T2" fmla="*/ 11 w 33"/>
                <a:gd name="T3" fmla="*/ 2 h 25"/>
                <a:gd name="T4" fmla="*/ 20 w 33"/>
                <a:gd name="T5" fmla="*/ 7 h 25"/>
                <a:gd name="T6" fmla="*/ 24 w 33"/>
                <a:gd name="T7" fmla="*/ 4 h 25"/>
                <a:gd name="T8" fmla="*/ 33 w 33"/>
                <a:gd name="T9" fmla="*/ 5 h 25"/>
                <a:gd name="T10" fmla="*/ 30 w 33"/>
                <a:gd name="T11" fmla="*/ 13 h 25"/>
                <a:gd name="T12" fmla="*/ 18 w 33"/>
                <a:gd name="T13" fmla="*/ 16 h 25"/>
                <a:gd name="T14" fmla="*/ 18 w 33"/>
                <a:gd name="T15" fmla="*/ 17 h 25"/>
                <a:gd name="T16" fmla="*/ 15 w 33"/>
                <a:gd name="T17" fmla="*/ 20 h 25"/>
                <a:gd name="T18" fmla="*/ 11 w 33"/>
                <a:gd name="T19" fmla="*/ 22 h 25"/>
                <a:gd name="T20" fmla="*/ 5 w 33"/>
                <a:gd name="T21" fmla="*/ 19 h 25"/>
                <a:gd name="T22" fmla="*/ 0 w 33"/>
                <a:gd name="T23" fmla="*/ 7 h 25"/>
                <a:gd name="T24" fmla="*/ 9 w 33"/>
                <a:gd name="T25"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25">
                  <a:moveTo>
                    <a:pt x="9" y="1"/>
                  </a:moveTo>
                  <a:cubicBezTo>
                    <a:pt x="11" y="0"/>
                    <a:pt x="11" y="1"/>
                    <a:pt x="11" y="2"/>
                  </a:cubicBezTo>
                  <a:cubicBezTo>
                    <a:pt x="12" y="5"/>
                    <a:pt x="17" y="5"/>
                    <a:pt x="20" y="7"/>
                  </a:cubicBezTo>
                  <a:cubicBezTo>
                    <a:pt x="22" y="8"/>
                    <a:pt x="23" y="4"/>
                    <a:pt x="24" y="4"/>
                  </a:cubicBezTo>
                  <a:cubicBezTo>
                    <a:pt x="26" y="3"/>
                    <a:pt x="28" y="7"/>
                    <a:pt x="33" y="5"/>
                  </a:cubicBezTo>
                  <a:cubicBezTo>
                    <a:pt x="32" y="7"/>
                    <a:pt x="25" y="10"/>
                    <a:pt x="30" y="13"/>
                  </a:cubicBezTo>
                  <a:cubicBezTo>
                    <a:pt x="29" y="16"/>
                    <a:pt x="23" y="16"/>
                    <a:pt x="18" y="16"/>
                  </a:cubicBezTo>
                  <a:cubicBezTo>
                    <a:pt x="17" y="16"/>
                    <a:pt x="17" y="17"/>
                    <a:pt x="18" y="17"/>
                  </a:cubicBezTo>
                  <a:cubicBezTo>
                    <a:pt x="20" y="20"/>
                    <a:pt x="10" y="18"/>
                    <a:pt x="15" y="20"/>
                  </a:cubicBezTo>
                  <a:cubicBezTo>
                    <a:pt x="15" y="25"/>
                    <a:pt x="10" y="17"/>
                    <a:pt x="11" y="22"/>
                  </a:cubicBezTo>
                  <a:cubicBezTo>
                    <a:pt x="8" y="21"/>
                    <a:pt x="9" y="17"/>
                    <a:pt x="5" y="19"/>
                  </a:cubicBezTo>
                  <a:cubicBezTo>
                    <a:pt x="4" y="14"/>
                    <a:pt x="4" y="8"/>
                    <a:pt x="0" y="7"/>
                  </a:cubicBezTo>
                  <a:cubicBezTo>
                    <a:pt x="2" y="3"/>
                    <a:pt x="10" y="7"/>
                    <a:pt x="9" y="1"/>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41" name="Freeform 26">
              <a:extLst>
                <a:ext uri="{FF2B5EF4-FFF2-40B4-BE49-F238E27FC236}">
                  <a16:creationId xmlns:a16="http://schemas.microsoft.com/office/drawing/2014/main" id="{960F6F7F-2A47-485F-84D9-BD5F16EBCF93}"/>
                </a:ext>
              </a:extLst>
            </p:cNvPr>
            <p:cNvSpPr>
              <a:spLocks/>
            </p:cNvSpPr>
            <p:nvPr/>
          </p:nvSpPr>
          <p:spPr bwMode="auto">
            <a:xfrm>
              <a:off x="6001559" y="1413699"/>
              <a:ext cx="24242" cy="16161"/>
            </a:xfrm>
            <a:custGeom>
              <a:avLst/>
              <a:gdLst>
                <a:gd name="T0" fmla="*/ 5 w 9"/>
                <a:gd name="T1" fmla="*/ 0 h 6"/>
                <a:gd name="T2" fmla="*/ 6 w 9"/>
                <a:gd name="T3" fmla="*/ 6 h 6"/>
                <a:gd name="T4" fmla="*/ 0 w 9"/>
                <a:gd name="T5" fmla="*/ 4 h 6"/>
                <a:gd name="T6" fmla="*/ 5 w 9"/>
                <a:gd name="T7" fmla="*/ 0 h 6"/>
              </a:gdLst>
              <a:ahLst/>
              <a:cxnLst>
                <a:cxn ang="0">
                  <a:pos x="T0" y="T1"/>
                </a:cxn>
                <a:cxn ang="0">
                  <a:pos x="T2" y="T3"/>
                </a:cxn>
                <a:cxn ang="0">
                  <a:pos x="T4" y="T5"/>
                </a:cxn>
                <a:cxn ang="0">
                  <a:pos x="T6" y="T7"/>
                </a:cxn>
              </a:cxnLst>
              <a:rect l="0" t="0" r="r" b="b"/>
              <a:pathLst>
                <a:path w="9" h="6">
                  <a:moveTo>
                    <a:pt x="5" y="0"/>
                  </a:moveTo>
                  <a:cubicBezTo>
                    <a:pt x="9" y="1"/>
                    <a:pt x="6" y="2"/>
                    <a:pt x="6" y="6"/>
                  </a:cubicBezTo>
                  <a:cubicBezTo>
                    <a:pt x="5" y="5"/>
                    <a:pt x="3" y="4"/>
                    <a:pt x="0" y="4"/>
                  </a:cubicBezTo>
                  <a:cubicBezTo>
                    <a:pt x="0" y="1"/>
                    <a:pt x="5" y="3"/>
                    <a:pt x="5" y="0"/>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42" name="Freeform 27">
              <a:extLst>
                <a:ext uri="{FF2B5EF4-FFF2-40B4-BE49-F238E27FC236}">
                  <a16:creationId xmlns:a16="http://schemas.microsoft.com/office/drawing/2014/main" id="{E4A8980D-6D4A-4C93-93F5-74BA5D3DF057}"/>
                </a:ext>
              </a:extLst>
            </p:cNvPr>
            <p:cNvSpPr>
              <a:spLocks/>
            </p:cNvSpPr>
            <p:nvPr/>
          </p:nvSpPr>
          <p:spPr bwMode="auto">
            <a:xfrm>
              <a:off x="4295162" y="1413699"/>
              <a:ext cx="41557" cy="34631"/>
            </a:xfrm>
            <a:custGeom>
              <a:avLst/>
              <a:gdLst>
                <a:gd name="T0" fmla="*/ 0 w 15"/>
                <a:gd name="T1" fmla="*/ 4 h 13"/>
                <a:gd name="T2" fmla="*/ 15 w 15"/>
                <a:gd name="T3" fmla="*/ 7 h 13"/>
                <a:gd name="T4" fmla="*/ 9 w 15"/>
                <a:gd name="T5" fmla="*/ 13 h 13"/>
                <a:gd name="T6" fmla="*/ 6 w 15"/>
                <a:gd name="T7" fmla="*/ 10 h 13"/>
                <a:gd name="T8" fmla="*/ 3 w 15"/>
                <a:gd name="T9" fmla="*/ 10 h 13"/>
                <a:gd name="T10" fmla="*/ 0 w 15"/>
                <a:gd name="T11" fmla="*/ 4 h 13"/>
              </a:gdLst>
              <a:ahLst/>
              <a:cxnLst>
                <a:cxn ang="0">
                  <a:pos x="T0" y="T1"/>
                </a:cxn>
                <a:cxn ang="0">
                  <a:pos x="T2" y="T3"/>
                </a:cxn>
                <a:cxn ang="0">
                  <a:pos x="T4" y="T5"/>
                </a:cxn>
                <a:cxn ang="0">
                  <a:pos x="T6" y="T7"/>
                </a:cxn>
                <a:cxn ang="0">
                  <a:pos x="T8" y="T9"/>
                </a:cxn>
                <a:cxn ang="0">
                  <a:pos x="T10" y="T11"/>
                </a:cxn>
              </a:cxnLst>
              <a:rect l="0" t="0" r="r" b="b"/>
              <a:pathLst>
                <a:path w="15" h="13">
                  <a:moveTo>
                    <a:pt x="0" y="4"/>
                  </a:moveTo>
                  <a:cubicBezTo>
                    <a:pt x="4" y="0"/>
                    <a:pt x="13" y="4"/>
                    <a:pt x="15" y="7"/>
                  </a:cubicBezTo>
                  <a:cubicBezTo>
                    <a:pt x="14" y="11"/>
                    <a:pt x="8" y="8"/>
                    <a:pt x="9" y="13"/>
                  </a:cubicBezTo>
                  <a:cubicBezTo>
                    <a:pt x="7" y="13"/>
                    <a:pt x="7" y="11"/>
                    <a:pt x="6" y="10"/>
                  </a:cubicBezTo>
                  <a:cubicBezTo>
                    <a:pt x="5" y="10"/>
                    <a:pt x="3" y="11"/>
                    <a:pt x="3" y="10"/>
                  </a:cubicBezTo>
                  <a:cubicBezTo>
                    <a:pt x="1" y="8"/>
                    <a:pt x="3" y="5"/>
                    <a:pt x="0" y="4"/>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43" name="Freeform 28">
              <a:extLst>
                <a:ext uri="{FF2B5EF4-FFF2-40B4-BE49-F238E27FC236}">
                  <a16:creationId xmlns:a16="http://schemas.microsoft.com/office/drawing/2014/main" id="{5AE3668B-91C3-4DF7-B73D-723CF34D177F}"/>
                </a:ext>
              </a:extLst>
            </p:cNvPr>
            <p:cNvSpPr>
              <a:spLocks/>
            </p:cNvSpPr>
            <p:nvPr/>
          </p:nvSpPr>
          <p:spPr bwMode="auto">
            <a:xfrm>
              <a:off x="4347109" y="1424088"/>
              <a:ext cx="62336" cy="33477"/>
            </a:xfrm>
            <a:custGeom>
              <a:avLst/>
              <a:gdLst>
                <a:gd name="T0" fmla="*/ 2 w 23"/>
                <a:gd name="T1" fmla="*/ 2 h 12"/>
                <a:gd name="T2" fmla="*/ 5 w 23"/>
                <a:gd name="T3" fmla="*/ 2 h 12"/>
                <a:gd name="T4" fmla="*/ 12 w 23"/>
                <a:gd name="T5" fmla="*/ 5 h 12"/>
                <a:gd name="T6" fmla="*/ 20 w 23"/>
                <a:gd name="T7" fmla="*/ 8 h 12"/>
                <a:gd name="T8" fmla="*/ 22 w 23"/>
                <a:gd name="T9" fmla="*/ 11 h 12"/>
                <a:gd name="T10" fmla="*/ 5 w 23"/>
                <a:gd name="T11" fmla="*/ 8 h 12"/>
                <a:gd name="T12" fmla="*/ 2 w 23"/>
                <a:gd name="T13" fmla="*/ 2 h 12"/>
              </a:gdLst>
              <a:ahLst/>
              <a:cxnLst>
                <a:cxn ang="0">
                  <a:pos x="T0" y="T1"/>
                </a:cxn>
                <a:cxn ang="0">
                  <a:pos x="T2" y="T3"/>
                </a:cxn>
                <a:cxn ang="0">
                  <a:pos x="T4" y="T5"/>
                </a:cxn>
                <a:cxn ang="0">
                  <a:pos x="T6" y="T7"/>
                </a:cxn>
                <a:cxn ang="0">
                  <a:pos x="T8" y="T9"/>
                </a:cxn>
                <a:cxn ang="0">
                  <a:pos x="T10" y="T11"/>
                </a:cxn>
                <a:cxn ang="0">
                  <a:pos x="T12" y="T13"/>
                </a:cxn>
              </a:cxnLst>
              <a:rect l="0" t="0" r="r" b="b"/>
              <a:pathLst>
                <a:path w="23" h="12">
                  <a:moveTo>
                    <a:pt x="2" y="2"/>
                  </a:moveTo>
                  <a:cubicBezTo>
                    <a:pt x="3" y="2"/>
                    <a:pt x="4" y="2"/>
                    <a:pt x="5" y="2"/>
                  </a:cubicBezTo>
                  <a:cubicBezTo>
                    <a:pt x="9" y="0"/>
                    <a:pt x="9" y="4"/>
                    <a:pt x="12" y="5"/>
                  </a:cubicBezTo>
                  <a:cubicBezTo>
                    <a:pt x="15" y="5"/>
                    <a:pt x="17" y="6"/>
                    <a:pt x="20" y="8"/>
                  </a:cubicBezTo>
                  <a:cubicBezTo>
                    <a:pt x="21" y="9"/>
                    <a:pt x="23" y="8"/>
                    <a:pt x="22" y="11"/>
                  </a:cubicBezTo>
                  <a:cubicBezTo>
                    <a:pt x="14" y="12"/>
                    <a:pt x="11" y="8"/>
                    <a:pt x="5" y="8"/>
                  </a:cubicBezTo>
                  <a:cubicBezTo>
                    <a:pt x="7" y="3"/>
                    <a:pt x="0" y="6"/>
                    <a:pt x="2" y="2"/>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44" name="Freeform 29">
              <a:extLst>
                <a:ext uri="{FF2B5EF4-FFF2-40B4-BE49-F238E27FC236}">
                  <a16:creationId xmlns:a16="http://schemas.microsoft.com/office/drawing/2014/main" id="{1F70529E-F021-4397-B76C-F268CCAA3C01}"/>
                </a:ext>
              </a:extLst>
            </p:cNvPr>
            <p:cNvSpPr>
              <a:spLocks/>
            </p:cNvSpPr>
            <p:nvPr/>
          </p:nvSpPr>
          <p:spPr bwMode="auto">
            <a:xfrm>
              <a:off x="6273991" y="1476035"/>
              <a:ext cx="103894" cy="84270"/>
            </a:xfrm>
            <a:custGeom>
              <a:avLst/>
              <a:gdLst>
                <a:gd name="T0" fmla="*/ 13 w 38"/>
                <a:gd name="T1" fmla="*/ 6 h 31"/>
                <a:gd name="T2" fmla="*/ 13 w 38"/>
                <a:gd name="T3" fmla="*/ 5 h 31"/>
                <a:gd name="T4" fmla="*/ 29 w 38"/>
                <a:gd name="T5" fmla="*/ 0 h 31"/>
                <a:gd name="T6" fmla="*/ 32 w 38"/>
                <a:gd name="T7" fmla="*/ 6 h 31"/>
                <a:gd name="T8" fmla="*/ 29 w 38"/>
                <a:gd name="T9" fmla="*/ 11 h 31"/>
                <a:gd name="T10" fmla="*/ 37 w 38"/>
                <a:gd name="T11" fmla="*/ 12 h 31"/>
                <a:gd name="T12" fmla="*/ 38 w 38"/>
                <a:gd name="T13" fmla="*/ 24 h 31"/>
                <a:gd name="T14" fmla="*/ 34 w 38"/>
                <a:gd name="T15" fmla="*/ 24 h 31"/>
                <a:gd name="T16" fmla="*/ 34 w 38"/>
                <a:gd name="T17" fmla="*/ 27 h 31"/>
                <a:gd name="T18" fmla="*/ 29 w 38"/>
                <a:gd name="T19" fmla="*/ 27 h 31"/>
                <a:gd name="T20" fmla="*/ 25 w 38"/>
                <a:gd name="T21" fmla="*/ 30 h 31"/>
                <a:gd name="T22" fmla="*/ 20 w 38"/>
                <a:gd name="T23" fmla="*/ 26 h 31"/>
                <a:gd name="T24" fmla="*/ 16 w 38"/>
                <a:gd name="T25" fmla="*/ 21 h 31"/>
                <a:gd name="T26" fmla="*/ 13 w 38"/>
                <a:gd name="T27" fmla="*/ 18 h 31"/>
                <a:gd name="T28" fmla="*/ 5 w 38"/>
                <a:gd name="T29" fmla="*/ 17 h 31"/>
                <a:gd name="T30" fmla="*/ 1 w 38"/>
                <a:gd name="T31" fmla="*/ 14 h 31"/>
                <a:gd name="T32" fmla="*/ 16 w 38"/>
                <a:gd name="T33" fmla="*/ 15 h 31"/>
                <a:gd name="T34" fmla="*/ 17 w 38"/>
                <a:gd name="T35" fmla="*/ 9 h 31"/>
                <a:gd name="T36" fmla="*/ 11 w 38"/>
                <a:gd name="T37" fmla="*/ 5 h 31"/>
                <a:gd name="T38" fmla="*/ 13 w 38"/>
                <a:gd name="T3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 h="31">
                  <a:moveTo>
                    <a:pt x="13" y="6"/>
                  </a:moveTo>
                  <a:cubicBezTo>
                    <a:pt x="15" y="6"/>
                    <a:pt x="14" y="5"/>
                    <a:pt x="13" y="5"/>
                  </a:cubicBezTo>
                  <a:cubicBezTo>
                    <a:pt x="16" y="1"/>
                    <a:pt x="27" y="5"/>
                    <a:pt x="29" y="0"/>
                  </a:cubicBezTo>
                  <a:cubicBezTo>
                    <a:pt x="31" y="1"/>
                    <a:pt x="32" y="4"/>
                    <a:pt x="32" y="6"/>
                  </a:cubicBezTo>
                  <a:cubicBezTo>
                    <a:pt x="33" y="10"/>
                    <a:pt x="29" y="8"/>
                    <a:pt x="29" y="11"/>
                  </a:cubicBezTo>
                  <a:cubicBezTo>
                    <a:pt x="30" y="15"/>
                    <a:pt x="33" y="13"/>
                    <a:pt x="37" y="12"/>
                  </a:cubicBezTo>
                  <a:cubicBezTo>
                    <a:pt x="38" y="18"/>
                    <a:pt x="37" y="18"/>
                    <a:pt x="38" y="24"/>
                  </a:cubicBezTo>
                  <a:cubicBezTo>
                    <a:pt x="37" y="25"/>
                    <a:pt x="34" y="23"/>
                    <a:pt x="34" y="24"/>
                  </a:cubicBezTo>
                  <a:cubicBezTo>
                    <a:pt x="33" y="25"/>
                    <a:pt x="34" y="27"/>
                    <a:pt x="34" y="27"/>
                  </a:cubicBezTo>
                  <a:cubicBezTo>
                    <a:pt x="32" y="28"/>
                    <a:pt x="30" y="27"/>
                    <a:pt x="29" y="27"/>
                  </a:cubicBezTo>
                  <a:cubicBezTo>
                    <a:pt x="27" y="28"/>
                    <a:pt x="27" y="30"/>
                    <a:pt x="25" y="30"/>
                  </a:cubicBezTo>
                  <a:cubicBezTo>
                    <a:pt x="21" y="31"/>
                    <a:pt x="21" y="27"/>
                    <a:pt x="20" y="26"/>
                  </a:cubicBezTo>
                  <a:cubicBezTo>
                    <a:pt x="19" y="24"/>
                    <a:pt x="14" y="25"/>
                    <a:pt x="16" y="21"/>
                  </a:cubicBezTo>
                  <a:cubicBezTo>
                    <a:pt x="13" y="22"/>
                    <a:pt x="13" y="20"/>
                    <a:pt x="13" y="18"/>
                  </a:cubicBezTo>
                  <a:cubicBezTo>
                    <a:pt x="10" y="19"/>
                    <a:pt x="8" y="18"/>
                    <a:pt x="5" y="17"/>
                  </a:cubicBezTo>
                  <a:cubicBezTo>
                    <a:pt x="3" y="16"/>
                    <a:pt x="0" y="17"/>
                    <a:pt x="1" y="14"/>
                  </a:cubicBezTo>
                  <a:cubicBezTo>
                    <a:pt x="7" y="13"/>
                    <a:pt x="9" y="16"/>
                    <a:pt x="16" y="15"/>
                  </a:cubicBezTo>
                  <a:cubicBezTo>
                    <a:pt x="18" y="15"/>
                    <a:pt x="17" y="12"/>
                    <a:pt x="17" y="9"/>
                  </a:cubicBezTo>
                  <a:cubicBezTo>
                    <a:pt x="18" y="5"/>
                    <a:pt x="9" y="11"/>
                    <a:pt x="11" y="5"/>
                  </a:cubicBezTo>
                  <a:cubicBezTo>
                    <a:pt x="13" y="5"/>
                    <a:pt x="13" y="5"/>
                    <a:pt x="13" y="6"/>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45" name="Freeform 30">
              <a:extLst>
                <a:ext uri="{FF2B5EF4-FFF2-40B4-BE49-F238E27FC236}">
                  <a16:creationId xmlns:a16="http://schemas.microsoft.com/office/drawing/2014/main" id="{37A727AD-8CBC-415E-B2A6-7A6988233AFB}"/>
                </a:ext>
              </a:extLst>
            </p:cNvPr>
            <p:cNvSpPr>
              <a:spLocks/>
            </p:cNvSpPr>
            <p:nvPr/>
          </p:nvSpPr>
          <p:spPr bwMode="auto">
            <a:xfrm>
              <a:off x="6639927" y="1484115"/>
              <a:ext cx="62336" cy="30014"/>
            </a:xfrm>
            <a:custGeom>
              <a:avLst/>
              <a:gdLst>
                <a:gd name="T0" fmla="*/ 0 w 23"/>
                <a:gd name="T1" fmla="*/ 2 h 11"/>
                <a:gd name="T2" fmla="*/ 6 w 23"/>
                <a:gd name="T3" fmla="*/ 0 h 11"/>
                <a:gd name="T4" fmla="*/ 23 w 23"/>
                <a:gd name="T5" fmla="*/ 5 h 11"/>
                <a:gd name="T6" fmla="*/ 21 w 23"/>
                <a:gd name="T7" fmla="*/ 11 h 11"/>
                <a:gd name="T8" fmla="*/ 5 w 23"/>
                <a:gd name="T9" fmla="*/ 5 h 11"/>
                <a:gd name="T10" fmla="*/ 0 w 23"/>
                <a:gd name="T11" fmla="*/ 2 h 11"/>
              </a:gdLst>
              <a:ahLst/>
              <a:cxnLst>
                <a:cxn ang="0">
                  <a:pos x="T0" y="T1"/>
                </a:cxn>
                <a:cxn ang="0">
                  <a:pos x="T2" y="T3"/>
                </a:cxn>
                <a:cxn ang="0">
                  <a:pos x="T4" y="T5"/>
                </a:cxn>
                <a:cxn ang="0">
                  <a:pos x="T6" y="T7"/>
                </a:cxn>
                <a:cxn ang="0">
                  <a:pos x="T8" y="T9"/>
                </a:cxn>
                <a:cxn ang="0">
                  <a:pos x="T10" y="T11"/>
                </a:cxn>
              </a:cxnLst>
              <a:rect l="0" t="0" r="r" b="b"/>
              <a:pathLst>
                <a:path w="23" h="11">
                  <a:moveTo>
                    <a:pt x="0" y="2"/>
                  </a:moveTo>
                  <a:cubicBezTo>
                    <a:pt x="1" y="0"/>
                    <a:pt x="4" y="0"/>
                    <a:pt x="6" y="0"/>
                  </a:cubicBezTo>
                  <a:cubicBezTo>
                    <a:pt x="12" y="1"/>
                    <a:pt x="18" y="4"/>
                    <a:pt x="23" y="5"/>
                  </a:cubicBezTo>
                  <a:cubicBezTo>
                    <a:pt x="23" y="8"/>
                    <a:pt x="21" y="8"/>
                    <a:pt x="21" y="11"/>
                  </a:cubicBezTo>
                  <a:cubicBezTo>
                    <a:pt x="13" y="10"/>
                    <a:pt x="10" y="9"/>
                    <a:pt x="5" y="5"/>
                  </a:cubicBezTo>
                  <a:cubicBezTo>
                    <a:pt x="4" y="4"/>
                    <a:pt x="3" y="1"/>
                    <a:pt x="0" y="2"/>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46" name="Freeform 31">
              <a:extLst>
                <a:ext uri="{FF2B5EF4-FFF2-40B4-BE49-F238E27FC236}">
                  <a16:creationId xmlns:a16="http://schemas.microsoft.com/office/drawing/2014/main" id="{95559969-2EF1-4AFD-9C5B-EE780B2E2DE1}"/>
                </a:ext>
              </a:extLst>
            </p:cNvPr>
            <p:cNvSpPr>
              <a:spLocks/>
            </p:cNvSpPr>
            <p:nvPr/>
          </p:nvSpPr>
          <p:spPr bwMode="auto">
            <a:xfrm>
              <a:off x="4254759" y="1484115"/>
              <a:ext cx="40403" cy="16161"/>
            </a:xfrm>
            <a:custGeom>
              <a:avLst/>
              <a:gdLst>
                <a:gd name="T0" fmla="*/ 15 w 15"/>
                <a:gd name="T1" fmla="*/ 5 h 6"/>
                <a:gd name="T2" fmla="*/ 0 w 15"/>
                <a:gd name="T3" fmla="*/ 3 h 6"/>
                <a:gd name="T4" fmla="*/ 5 w 15"/>
                <a:gd name="T5" fmla="*/ 0 h 6"/>
                <a:gd name="T6" fmla="*/ 15 w 15"/>
                <a:gd name="T7" fmla="*/ 5 h 6"/>
              </a:gdLst>
              <a:ahLst/>
              <a:cxnLst>
                <a:cxn ang="0">
                  <a:pos x="T0" y="T1"/>
                </a:cxn>
                <a:cxn ang="0">
                  <a:pos x="T2" y="T3"/>
                </a:cxn>
                <a:cxn ang="0">
                  <a:pos x="T4" y="T5"/>
                </a:cxn>
                <a:cxn ang="0">
                  <a:pos x="T6" y="T7"/>
                </a:cxn>
              </a:cxnLst>
              <a:rect l="0" t="0" r="r" b="b"/>
              <a:pathLst>
                <a:path w="15" h="6">
                  <a:moveTo>
                    <a:pt x="15" y="5"/>
                  </a:moveTo>
                  <a:cubicBezTo>
                    <a:pt x="13" y="6"/>
                    <a:pt x="4" y="5"/>
                    <a:pt x="0" y="3"/>
                  </a:cubicBezTo>
                  <a:cubicBezTo>
                    <a:pt x="0" y="1"/>
                    <a:pt x="5" y="3"/>
                    <a:pt x="5" y="0"/>
                  </a:cubicBezTo>
                  <a:cubicBezTo>
                    <a:pt x="8" y="2"/>
                    <a:pt x="15" y="0"/>
                    <a:pt x="15" y="5"/>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47" name="Freeform 32">
              <a:extLst>
                <a:ext uri="{FF2B5EF4-FFF2-40B4-BE49-F238E27FC236}">
                  <a16:creationId xmlns:a16="http://schemas.microsoft.com/office/drawing/2014/main" id="{A5C0CAFF-3698-4A91-8AA5-EB5BB4862731}"/>
                </a:ext>
              </a:extLst>
            </p:cNvPr>
            <p:cNvSpPr>
              <a:spLocks/>
            </p:cNvSpPr>
            <p:nvPr/>
          </p:nvSpPr>
          <p:spPr bwMode="auto">
            <a:xfrm>
              <a:off x="7084361" y="1574156"/>
              <a:ext cx="34631" cy="21933"/>
            </a:xfrm>
            <a:custGeom>
              <a:avLst/>
              <a:gdLst>
                <a:gd name="T0" fmla="*/ 12 w 13"/>
                <a:gd name="T1" fmla="*/ 6 h 8"/>
                <a:gd name="T2" fmla="*/ 0 w 13"/>
                <a:gd name="T3" fmla="*/ 3 h 8"/>
                <a:gd name="T4" fmla="*/ 12 w 13"/>
                <a:gd name="T5" fmla="*/ 6 h 8"/>
              </a:gdLst>
              <a:ahLst/>
              <a:cxnLst>
                <a:cxn ang="0">
                  <a:pos x="T0" y="T1"/>
                </a:cxn>
                <a:cxn ang="0">
                  <a:pos x="T2" y="T3"/>
                </a:cxn>
                <a:cxn ang="0">
                  <a:pos x="T4" y="T5"/>
                </a:cxn>
              </a:cxnLst>
              <a:rect l="0" t="0" r="r" b="b"/>
              <a:pathLst>
                <a:path w="13" h="8">
                  <a:moveTo>
                    <a:pt x="12" y="6"/>
                  </a:moveTo>
                  <a:cubicBezTo>
                    <a:pt x="6" y="8"/>
                    <a:pt x="6" y="2"/>
                    <a:pt x="0" y="3"/>
                  </a:cubicBezTo>
                  <a:cubicBezTo>
                    <a:pt x="3" y="0"/>
                    <a:pt x="13" y="2"/>
                    <a:pt x="12" y="6"/>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48" name="Freeform 33">
              <a:extLst>
                <a:ext uri="{FF2B5EF4-FFF2-40B4-BE49-F238E27FC236}">
                  <a16:creationId xmlns:a16="http://schemas.microsoft.com/office/drawing/2014/main" id="{6A16AAEC-3B21-4BA1-B6FF-4EE3C73D5B50}"/>
                </a:ext>
              </a:extLst>
            </p:cNvPr>
            <p:cNvSpPr>
              <a:spLocks/>
            </p:cNvSpPr>
            <p:nvPr/>
          </p:nvSpPr>
          <p:spPr bwMode="auto">
            <a:xfrm>
              <a:off x="7062428" y="1596090"/>
              <a:ext cx="46175" cy="27705"/>
            </a:xfrm>
            <a:custGeom>
              <a:avLst/>
              <a:gdLst>
                <a:gd name="T0" fmla="*/ 17 w 17"/>
                <a:gd name="T1" fmla="*/ 5 h 10"/>
                <a:gd name="T2" fmla="*/ 2 w 17"/>
                <a:gd name="T3" fmla="*/ 5 h 10"/>
                <a:gd name="T4" fmla="*/ 7 w 17"/>
                <a:gd name="T5" fmla="*/ 1 h 10"/>
                <a:gd name="T6" fmla="*/ 17 w 17"/>
                <a:gd name="T7" fmla="*/ 5 h 10"/>
              </a:gdLst>
              <a:ahLst/>
              <a:cxnLst>
                <a:cxn ang="0">
                  <a:pos x="T0" y="T1"/>
                </a:cxn>
                <a:cxn ang="0">
                  <a:pos x="T2" y="T3"/>
                </a:cxn>
                <a:cxn ang="0">
                  <a:pos x="T4" y="T5"/>
                </a:cxn>
                <a:cxn ang="0">
                  <a:pos x="T6" y="T7"/>
                </a:cxn>
              </a:cxnLst>
              <a:rect l="0" t="0" r="r" b="b"/>
              <a:pathLst>
                <a:path w="17" h="10">
                  <a:moveTo>
                    <a:pt x="17" y="5"/>
                  </a:moveTo>
                  <a:cubicBezTo>
                    <a:pt x="16" y="10"/>
                    <a:pt x="4" y="10"/>
                    <a:pt x="2" y="5"/>
                  </a:cubicBezTo>
                  <a:cubicBezTo>
                    <a:pt x="0" y="0"/>
                    <a:pt x="7" y="4"/>
                    <a:pt x="7" y="1"/>
                  </a:cubicBezTo>
                  <a:cubicBezTo>
                    <a:pt x="10" y="3"/>
                    <a:pt x="13" y="5"/>
                    <a:pt x="17" y="5"/>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49" name="Freeform 34">
              <a:extLst>
                <a:ext uri="{FF2B5EF4-FFF2-40B4-BE49-F238E27FC236}">
                  <a16:creationId xmlns:a16="http://schemas.microsoft.com/office/drawing/2014/main" id="{56B83743-8638-4C1B-B4A5-E852A492D579}"/>
                </a:ext>
              </a:extLst>
            </p:cNvPr>
            <p:cNvSpPr>
              <a:spLocks/>
            </p:cNvSpPr>
            <p:nvPr/>
          </p:nvSpPr>
          <p:spPr bwMode="auto">
            <a:xfrm>
              <a:off x="2729833" y="1615714"/>
              <a:ext cx="30014" cy="24242"/>
            </a:xfrm>
            <a:custGeom>
              <a:avLst/>
              <a:gdLst>
                <a:gd name="T0" fmla="*/ 5 w 11"/>
                <a:gd name="T1" fmla="*/ 0 h 9"/>
                <a:gd name="T2" fmla="*/ 11 w 11"/>
                <a:gd name="T3" fmla="*/ 6 h 9"/>
                <a:gd name="T4" fmla="*/ 3 w 11"/>
                <a:gd name="T5" fmla="*/ 9 h 9"/>
                <a:gd name="T6" fmla="*/ 2 w 11"/>
                <a:gd name="T7" fmla="*/ 1 h 9"/>
                <a:gd name="T8" fmla="*/ 5 w 11"/>
                <a:gd name="T9" fmla="*/ 0 h 9"/>
              </a:gdLst>
              <a:ahLst/>
              <a:cxnLst>
                <a:cxn ang="0">
                  <a:pos x="T0" y="T1"/>
                </a:cxn>
                <a:cxn ang="0">
                  <a:pos x="T2" y="T3"/>
                </a:cxn>
                <a:cxn ang="0">
                  <a:pos x="T4" y="T5"/>
                </a:cxn>
                <a:cxn ang="0">
                  <a:pos x="T6" y="T7"/>
                </a:cxn>
                <a:cxn ang="0">
                  <a:pos x="T8" y="T9"/>
                </a:cxn>
              </a:cxnLst>
              <a:rect l="0" t="0" r="r" b="b"/>
              <a:pathLst>
                <a:path w="11" h="9">
                  <a:moveTo>
                    <a:pt x="5" y="0"/>
                  </a:moveTo>
                  <a:cubicBezTo>
                    <a:pt x="9" y="0"/>
                    <a:pt x="11" y="2"/>
                    <a:pt x="11" y="6"/>
                  </a:cubicBezTo>
                  <a:cubicBezTo>
                    <a:pt x="7" y="6"/>
                    <a:pt x="4" y="5"/>
                    <a:pt x="3" y="9"/>
                  </a:cubicBezTo>
                  <a:cubicBezTo>
                    <a:pt x="0" y="9"/>
                    <a:pt x="3" y="3"/>
                    <a:pt x="2" y="1"/>
                  </a:cubicBezTo>
                  <a:cubicBezTo>
                    <a:pt x="4" y="2"/>
                    <a:pt x="5" y="1"/>
                    <a:pt x="5" y="0"/>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50" name="Freeform 35">
              <a:extLst>
                <a:ext uri="{FF2B5EF4-FFF2-40B4-BE49-F238E27FC236}">
                  <a16:creationId xmlns:a16="http://schemas.microsoft.com/office/drawing/2014/main" id="{9E288941-9534-4054-BA1B-132016564DBD}"/>
                </a:ext>
              </a:extLst>
            </p:cNvPr>
            <p:cNvSpPr>
              <a:spLocks/>
            </p:cNvSpPr>
            <p:nvPr/>
          </p:nvSpPr>
          <p:spPr bwMode="auto">
            <a:xfrm>
              <a:off x="6183950" y="1628412"/>
              <a:ext cx="27705" cy="21933"/>
            </a:xfrm>
            <a:custGeom>
              <a:avLst/>
              <a:gdLst>
                <a:gd name="T0" fmla="*/ 10 w 10"/>
                <a:gd name="T1" fmla="*/ 7 h 8"/>
                <a:gd name="T2" fmla="*/ 0 w 10"/>
                <a:gd name="T3" fmla="*/ 8 h 8"/>
                <a:gd name="T4" fmla="*/ 10 w 10"/>
                <a:gd name="T5" fmla="*/ 7 h 8"/>
              </a:gdLst>
              <a:ahLst/>
              <a:cxnLst>
                <a:cxn ang="0">
                  <a:pos x="T0" y="T1"/>
                </a:cxn>
                <a:cxn ang="0">
                  <a:pos x="T2" y="T3"/>
                </a:cxn>
                <a:cxn ang="0">
                  <a:pos x="T4" y="T5"/>
                </a:cxn>
              </a:cxnLst>
              <a:rect l="0" t="0" r="r" b="b"/>
              <a:pathLst>
                <a:path w="10" h="8">
                  <a:moveTo>
                    <a:pt x="10" y="7"/>
                  </a:moveTo>
                  <a:cubicBezTo>
                    <a:pt x="5" y="6"/>
                    <a:pt x="3" y="8"/>
                    <a:pt x="0" y="8"/>
                  </a:cubicBezTo>
                  <a:cubicBezTo>
                    <a:pt x="0" y="6"/>
                    <a:pt x="10" y="0"/>
                    <a:pt x="10" y="7"/>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51" name="Freeform 36">
              <a:extLst>
                <a:ext uri="{FF2B5EF4-FFF2-40B4-BE49-F238E27FC236}">
                  <a16:creationId xmlns:a16="http://schemas.microsoft.com/office/drawing/2014/main" id="{06C8C841-EF84-4064-971C-9B05DBE51363}"/>
                </a:ext>
              </a:extLst>
            </p:cNvPr>
            <p:cNvSpPr>
              <a:spLocks/>
            </p:cNvSpPr>
            <p:nvPr/>
          </p:nvSpPr>
          <p:spPr bwMode="auto">
            <a:xfrm>
              <a:off x="6691874" y="1648036"/>
              <a:ext cx="51947" cy="30014"/>
            </a:xfrm>
            <a:custGeom>
              <a:avLst/>
              <a:gdLst>
                <a:gd name="T0" fmla="*/ 15 w 19"/>
                <a:gd name="T1" fmla="*/ 1 h 11"/>
                <a:gd name="T2" fmla="*/ 17 w 19"/>
                <a:gd name="T3" fmla="*/ 10 h 11"/>
                <a:gd name="T4" fmla="*/ 2 w 19"/>
                <a:gd name="T5" fmla="*/ 7 h 11"/>
                <a:gd name="T6" fmla="*/ 5 w 19"/>
                <a:gd name="T7" fmla="*/ 1 h 11"/>
                <a:gd name="T8" fmla="*/ 15 w 19"/>
                <a:gd name="T9" fmla="*/ 1 h 11"/>
              </a:gdLst>
              <a:ahLst/>
              <a:cxnLst>
                <a:cxn ang="0">
                  <a:pos x="T0" y="T1"/>
                </a:cxn>
                <a:cxn ang="0">
                  <a:pos x="T2" y="T3"/>
                </a:cxn>
                <a:cxn ang="0">
                  <a:pos x="T4" y="T5"/>
                </a:cxn>
                <a:cxn ang="0">
                  <a:pos x="T6" y="T7"/>
                </a:cxn>
                <a:cxn ang="0">
                  <a:pos x="T8" y="T9"/>
                </a:cxn>
              </a:cxnLst>
              <a:rect l="0" t="0" r="r" b="b"/>
              <a:pathLst>
                <a:path w="19" h="11">
                  <a:moveTo>
                    <a:pt x="15" y="1"/>
                  </a:moveTo>
                  <a:cubicBezTo>
                    <a:pt x="17" y="3"/>
                    <a:pt x="19" y="8"/>
                    <a:pt x="17" y="10"/>
                  </a:cubicBezTo>
                  <a:cubicBezTo>
                    <a:pt x="11" y="10"/>
                    <a:pt x="4" y="11"/>
                    <a:pt x="2" y="7"/>
                  </a:cubicBezTo>
                  <a:cubicBezTo>
                    <a:pt x="0" y="2"/>
                    <a:pt x="7" y="6"/>
                    <a:pt x="5" y="1"/>
                  </a:cubicBezTo>
                  <a:cubicBezTo>
                    <a:pt x="9" y="0"/>
                    <a:pt x="15" y="4"/>
                    <a:pt x="15" y="1"/>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52" name="Freeform 37">
              <a:extLst>
                <a:ext uri="{FF2B5EF4-FFF2-40B4-BE49-F238E27FC236}">
                  <a16:creationId xmlns:a16="http://schemas.microsoft.com/office/drawing/2014/main" id="{0EE9A9A0-3163-4ACA-89B7-1689D5003B7B}"/>
                </a:ext>
              </a:extLst>
            </p:cNvPr>
            <p:cNvSpPr>
              <a:spLocks/>
            </p:cNvSpPr>
            <p:nvPr/>
          </p:nvSpPr>
          <p:spPr bwMode="auto">
            <a:xfrm>
              <a:off x="6674558" y="1732306"/>
              <a:ext cx="57719" cy="27705"/>
            </a:xfrm>
            <a:custGeom>
              <a:avLst/>
              <a:gdLst>
                <a:gd name="T0" fmla="*/ 20 w 21"/>
                <a:gd name="T1" fmla="*/ 4 h 10"/>
                <a:gd name="T2" fmla="*/ 14 w 21"/>
                <a:gd name="T3" fmla="*/ 7 h 10"/>
                <a:gd name="T4" fmla="*/ 8 w 21"/>
                <a:gd name="T5" fmla="*/ 9 h 10"/>
                <a:gd name="T6" fmla="*/ 2 w 21"/>
                <a:gd name="T7" fmla="*/ 7 h 10"/>
                <a:gd name="T8" fmla="*/ 4 w 21"/>
                <a:gd name="T9" fmla="*/ 3 h 10"/>
                <a:gd name="T10" fmla="*/ 8 w 21"/>
                <a:gd name="T11" fmla="*/ 0 h 10"/>
                <a:gd name="T12" fmla="*/ 20 w 21"/>
                <a:gd name="T13" fmla="*/ 4 h 10"/>
              </a:gdLst>
              <a:ahLst/>
              <a:cxnLst>
                <a:cxn ang="0">
                  <a:pos x="T0" y="T1"/>
                </a:cxn>
                <a:cxn ang="0">
                  <a:pos x="T2" y="T3"/>
                </a:cxn>
                <a:cxn ang="0">
                  <a:pos x="T4" y="T5"/>
                </a:cxn>
                <a:cxn ang="0">
                  <a:pos x="T6" y="T7"/>
                </a:cxn>
                <a:cxn ang="0">
                  <a:pos x="T8" y="T9"/>
                </a:cxn>
                <a:cxn ang="0">
                  <a:pos x="T10" y="T11"/>
                </a:cxn>
                <a:cxn ang="0">
                  <a:pos x="T12" y="T13"/>
                </a:cxn>
              </a:cxnLst>
              <a:rect l="0" t="0" r="r" b="b"/>
              <a:pathLst>
                <a:path w="21" h="10">
                  <a:moveTo>
                    <a:pt x="20" y="4"/>
                  </a:moveTo>
                  <a:cubicBezTo>
                    <a:pt x="21" y="9"/>
                    <a:pt x="16" y="7"/>
                    <a:pt x="14" y="7"/>
                  </a:cubicBezTo>
                  <a:cubicBezTo>
                    <a:pt x="14" y="7"/>
                    <a:pt x="9" y="10"/>
                    <a:pt x="8" y="9"/>
                  </a:cubicBezTo>
                  <a:cubicBezTo>
                    <a:pt x="7" y="7"/>
                    <a:pt x="4" y="8"/>
                    <a:pt x="2" y="7"/>
                  </a:cubicBezTo>
                  <a:cubicBezTo>
                    <a:pt x="0" y="3"/>
                    <a:pt x="9" y="4"/>
                    <a:pt x="4" y="3"/>
                  </a:cubicBezTo>
                  <a:cubicBezTo>
                    <a:pt x="4" y="1"/>
                    <a:pt x="8" y="2"/>
                    <a:pt x="8" y="0"/>
                  </a:cubicBezTo>
                  <a:cubicBezTo>
                    <a:pt x="12" y="1"/>
                    <a:pt x="17" y="2"/>
                    <a:pt x="20" y="4"/>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53" name="Freeform 38">
              <a:extLst>
                <a:ext uri="{FF2B5EF4-FFF2-40B4-BE49-F238E27FC236}">
                  <a16:creationId xmlns:a16="http://schemas.microsoft.com/office/drawing/2014/main" id="{2FA82E50-9A66-47A8-9BC5-A33659ADF05A}"/>
                </a:ext>
              </a:extLst>
            </p:cNvPr>
            <p:cNvSpPr>
              <a:spLocks/>
            </p:cNvSpPr>
            <p:nvPr/>
          </p:nvSpPr>
          <p:spPr bwMode="auto">
            <a:xfrm>
              <a:off x="6674558" y="1776172"/>
              <a:ext cx="27705" cy="13852"/>
            </a:xfrm>
            <a:custGeom>
              <a:avLst/>
              <a:gdLst>
                <a:gd name="T0" fmla="*/ 8 w 10"/>
                <a:gd name="T1" fmla="*/ 5 h 5"/>
                <a:gd name="T2" fmla="*/ 2 w 10"/>
                <a:gd name="T3" fmla="*/ 5 h 5"/>
                <a:gd name="T4" fmla="*/ 8 w 10"/>
                <a:gd name="T5" fmla="*/ 5 h 5"/>
              </a:gdLst>
              <a:ahLst/>
              <a:cxnLst>
                <a:cxn ang="0">
                  <a:pos x="T0" y="T1"/>
                </a:cxn>
                <a:cxn ang="0">
                  <a:pos x="T2" y="T3"/>
                </a:cxn>
                <a:cxn ang="0">
                  <a:pos x="T4" y="T5"/>
                </a:cxn>
              </a:cxnLst>
              <a:rect l="0" t="0" r="r" b="b"/>
              <a:pathLst>
                <a:path w="10" h="5">
                  <a:moveTo>
                    <a:pt x="8" y="5"/>
                  </a:moveTo>
                  <a:cubicBezTo>
                    <a:pt x="5" y="2"/>
                    <a:pt x="6" y="5"/>
                    <a:pt x="2" y="5"/>
                  </a:cubicBezTo>
                  <a:cubicBezTo>
                    <a:pt x="0" y="0"/>
                    <a:pt x="10" y="0"/>
                    <a:pt x="8" y="5"/>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54" name="Freeform 39">
              <a:extLst>
                <a:ext uri="{FF2B5EF4-FFF2-40B4-BE49-F238E27FC236}">
                  <a16:creationId xmlns:a16="http://schemas.microsoft.com/office/drawing/2014/main" id="{90FFA32D-9E34-4CB9-A101-1E97B91FF703}"/>
                </a:ext>
              </a:extLst>
            </p:cNvPr>
            <p:cNvSpPr>
              <a:spLocks/>
            </p:cNvSpPr>
            <p:nvPr/>
          </p:nvSpPr>
          <p:spPr bwMode="auto">
            <a:xfrm>
              <a:off x="6585672" y="1794642"/>
              <a:ext cx="32322" cy="19625"/>
            </a:xfrm>
            <a:custGeom>
              <a:avLst/>
              <a:gdLst>
                <a:gd name="T0" fmla="*/ 10 w 12"/>
                <a:gd name="T1" fmla="*/ 1 h 7"/>
                <a:gd name="T2" fmla="*/ 11 w 12"/>
                <a:gd name="T3" fmla="*/ 3 h 7"/>
                <a:gd name="T4" fmla="*/ 6 w 12"/>
                <a:gd name="T5" fmla="*/ 5 h 7"/>
                <a:gd name="T6" fmla="*/ 0 w 12"/>
                <a:gd name="T7" fmla="*/ 5 h 7"/>
                <a:gd name="T8" fmla="*/ 10 w 12"/>
                <a:gd name="T9" fmla="*/ 1 h 7"/>
              </a:gdLst>
              <a:ahLst/>
              <a:cxnLst>
                <a:cxn ang="0">
                  <a:pos x="T0" y="T1"/>
                </a:cxn>
                <a:cxn ang="0">
                  <a:pos x="T2" y="T3"/>
                </a:cxn>
                <a:cxn ang="0">
                  <a:pos x="T4" y="T5"/>
                </a:cxn>
                <a:cxn ang="0">
                  <a:pos x="T6" y="T7"/>
                </a:cxn>
                <a:cxn ang="0">
                  <a:pos x="T8" y="T9"/>
                </a:cxn>
              </a:cxnLst>
              <a:rect l="0" t="0" r="r" b="b"/>
              <a:pathLst>
                <a:path w="12" h="7">
                  <a:moveTo>
                    <a:pt x="10" y="1"/>
                  </a:moveTo>
                  <a:cubicBezTo>
                    <a:pt x="10" y="2"/>
                    <a:pt x="10" y="3"/>
                    <a:pt x="11" y="3"/>
                  </a:cubicBezTo>
                  <a:cubicBezTo>
                    <a:pt x="12" y="6"/>
                    <a:pt x="7" y="4"/>
                    <a:pt x="6" y="5"/>
                  </a:cubicBezTo>
                  <a:cubicBezTo>
                    <a:pt x="4" y="7"/>
                    <a:pt x="5" y="5"/>
                    <a:pt x="0" y="5"/>
                  </a:cubicBezTo>
                  <a:cubicBezTo>
                    <a:pt x="2" y="3"/>
                    <a:pt x="4" y="0"/>
                    <a:pt x="10" y="1"/>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55" name="Freeform 40">
              <a:extLst>
                <a:ext uri="{FF2B5EF4-FFF2-40B4-BE49-F238E27FC236}">
                  <a16:creationId xmlns:a16="http://schemas.microsoft.com/office/drawing/2014/main" id="{BF1BDCA9-CD48-4DB6-9E68-432282011270}"/>
                </a:ext>
              </a:extLst>
            </p:cNvPr>
            <p:cNvSpPr>
              <a:spLocks/>
            </p:cNvSpPr>
            <p:nvPr/>
          </p:nvSpPr>
          <p:spPr bwMode="auto">
            <a:xfrm>
              <a:off x="6645699" y="1811957"/>
              <a:ext cx="12698" cy="21933"/>
            </a:xfrm>
            <a:custGeom>
              <a:avLst/>
              <a:gdLst>
                <a:gd name="T0" fmla="*/ 1 w 5"/>
                <a:gd name="T1" fmla="*/ 0 h 8"/>
                <a:gd name="T2" fmla="*/ 4 w 5"/>
                <a:gd name="T3" fmla="*/ 6 h 8"/>
                <a:gd name="T4" fmla="*/ 1 w 5"/>
                <a:gd name="T5" fmla="*/ 0 h 8"/>
              </a:gdLst>
              <a:ahLst/>
              <a:cxnLst>
                <a:cxn ang="0">
                  <a:pos x="T0" y="T1"/>
                </a:cxn>
                <a:cxn ang="0">
                  <a:pos x="T2" y="T3"/>
                </a:cxn>
                <a:cxn ang="0">
                  <a:pos x="T4" y="T5"/>
                </a:cxn>
              </a:cxnLst>
              <a:rect l="0" t="0" r="r" b="b"/>
              <a:pathLst>
                <a:path w="5" h="8">
                  <a:moveTo>
                    <a:pt x="1" y="0"/>
                  </a:moveTo>
                  <a:cubicBezTo>
                    <a:pt x="4" y="1"/>
                    <a:pt x="5" y="3"/>
                    <a:pt x="4" y="6"/>
                  </a:cubicBezTo>
                  <a:cubicBezTo>
                    <a:pt x="0" y="8"/>
                    <a:pt x="2" y="3"/>
                    <a:pt x="1" y="0"/>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56" name="Freeform 41">
              <a:extLst>
                <a:ext uri="{FF2B5EF4-FFF2-40B4-BE49-F238E27FC236}">
                  <a16:creationId xmlns:a16="http://schemas.microsoft.com/office/drawing/2014/main" id="{02EEDB73-AA0F-4C82-A892-9DBC7C3DFFF6}"/>
                </a:ext>
              </a:extLst>
            </p:cNvPr>
            <p:cNvSpPr>
              <a:spLocks/>
            </p:cNvSpPr>
            <p:nvPr/>
          </p:nvSpPr>
          <p:spPr bwMode="auto">
            <a:xfrm>
              <a:off x="1770548" y="1980495"/>
              <a:ext cx="73880" cy="87732"/>
            </a:xfrm>
            <a:custGeom>
              <a:avLst/>
              <a:gdLst>
                <a:gd name="T0" fmla="*/ 10 w 27"/>
                <a:gd name="T1" fmla="*/ 1 h 32"/>
                <a:gd name="T2" fmla="*/ 12 w 27"/>
                <a:gd name="T3" fmla="*/ 2 h 32"/>
                <a:gd name="T4" fmla="*/ 22 w 27"/>
                <a:gd name="T5" fmla="*/ 2 h 32"/>
                <a:gd name="T6" fmla="*/ 26 w 27"/>
                <a:gd name="T7" fmla="*/ 5 h 32"/>
                <a:gd name="T8" fmla="*/ 25 w 27"/>
                <a:gd name="T9" fmla="*/ 8 h 32"/>
                <a:gd name="T10" fmla="*/ 22 w 27"/>
                <a:gd name="T11" fmla="*/ 10 h 32"/>
                <a:gd name="T12" fmla="*/ 25 w 27"/>
                <a:gd name="T13" fmla="*/ 17 h 32"/>
                <a:gd name="T14" fmla="*/ 23 w 27"/>
                <a:gd name="T15" fmla="*/ 24 h 32"/>
                <a:gd name="T16" fmla="*/ 16 w 27"/>
                <a:gd name="T17" fmla="*/ 24 h 32"/>
                <a:gd name="T18" fmla="*/ 15 w 27"/>
                <a:gd name="T19" fmla="*/ 29 h 32"/>
                <a:gd name="T20" fmla="*/ 12 w 27"/>
                <a:gd name="T21" fmla="*/ 32 h 32"/>
                <a:gd name="T22" fmla="*/ 3 w 27"/>
                <a:gd name="T23" fmla="*/ 32 h 32"/>
                <a:gd name="T24" fmla="*/ 6 w 27"/>
                <a:gd name="T25" fmla="*/ 23 h 32"/>
                <a:gd name="T26" fmla="*/ 6 w 27"/>
                <a:gd name="T27" fmla="*/ 17 h 32"/>
                <a:gd name="T28" fmla="*/ 3 w 27"/>
                <a:gd name="T29" fmla="*/ 10 h 32"/>
                <a:gd name="T30" fmla="*/ 9 w 27"/>
                <a:gd name="T31" fmla="*/ 11 h 32"/>
                <a:gd name="T32" fmla="*/ 10 w 27"/>
                <a:gd name="T33" fmla="*/ 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32">
                  <a:moveTo>
                    <a:pt x="10" y="1"/>
                  </a:moveTo>
                  <a:cubicBezTo>
                    <a:pt x="11" y="0"/>
                    <a:pt x="11" y="1"/>
                    <a:pt x="12" y="2"/>
                  </a:cubicBezTo>
                  <a:cubicBezTo>
                    <a:pt x="12" y="5"/>
                    <a:pt x="18" y="1"/>
                    <a:pt x="22" y="2"/>
                  </a:cubicBezTo>
                  <a:cubicBezTo>
                    <a:pt x="23" y="4"/>
                    <a:pt x="24" y="5"/>
                    <a:pt x="26" y="5"/>
                  </a:cubicBezTo>
                  <a:cubicBezTo>
                    <a:pt x="27" y="7"/>
                    <a:pt x="26" y="8"/>
                    <a:pt x="25" y="8"/>
                  </a:cubicBezTo>
                  <a:cubicBezTo>
                    <a:pt x="25" y="10"/>
                    <a:pt x="23" y="9"/>
                    <a:pt x="22" y="10"/>
                  </a:cubicBezTo>
                  <a:cubicBezTo>
                    <a:pt x="22" y="13"/>
                    <a:pt x="25" y="14"/>
                    <a:pt x="25" y="17"/>
                  </a:cubicBezTo>
                  <a:cubicBezTo>
                    <a:pt x="25" y="19"/>
                    <a:pt x="23" y="21"/>
                    <a:pt x="23" y="24"/>
                  </a:cubicBezTo>
                  <a:cubicBezTo>
                    <a:pt x="21" y="24"/>
                    <a:pt x="18" y="24"/>
                    <a:pt x="16" y="24"/>
                  </a:cubicBezTo>
                  <a:cubicBezTo>
                    <a:pt x="14" y="24"/>
                    <a:pt x="15" y="28"/>
                    <a:pt x="15" y="29"/>
                  </a:cubicBezTo>
                  <a:cubicBezTo>
                    <a:pt x="14" y="30"/>
                    <a:pt x="10" y="29"/>
                    <a:pt x="12" y="32"/>
                  </a:cubicBezTo>
                  <a:cubicBezTo>
                    <a:pt x="9" y="32"/>
                    <a:pt x="6" y="32"/>
                    <a:pt x="3" y="32"/>
                  </a:cubicBezTo>
                  <a:cubicBezTo>
                    <a:pt x="4" y="29"/>
                    <a:pt x="0" y="22"/>
                    <a:pt x="6" y="23"/>
                  </a:cubicBezTo>
                  <a:cubicBezTo>
                    <a:pt x="6" y="19"/>
                    <a:pt x="3" y="20"/>
                    <a:pt x="6" y="17"/>
                  </a:cubicBezTo>
                  <a:cubicBezTo>
                    <a:pt x="7" y="12"/>
                    <a:pt x="2" y="14"/>
                    <a:pt x="3" y="10"/>
                  </a:cubicBezTo>
                  <a:cubicBezTo>
                    <a:pt x="6" y="9"/>
                    <a:pt x="7" y="11"/>
                    <a:pt x="9" y="11"/>
                  </a:cubicBezTo>
                  <a:cubicBezTo>
                    <a:pt x="12" y="10"/>
                    <a:pt x="9" y="4"/>
                    <a:pt x="10" y="1"/>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57" name="Freeform 42">
              <a:extLst>
                <a:ext uri="{FF2B5EF4-FFF2-40B4-BE49-F238E27FC236}">
                  <a16:creationId xmlns:a16="http://schemas.microsoft.com/office/drawing/2014/main" id="{42861009-5163-4723-92D5-FE55B5E9FCCF}"/>
                </a:ext>
              </a:extLst>
            </p:cNvPr>
            <p:cNvSpPr>
              <a:spLocks/>
            </p:cNvSpPr>
            <p:nvPr/>
          </p:nvSpPr>
          <p:spPr bwMode="auto">
            <a:xfrm>
              <a:off x="5254680" y="1986268"/>
              <a:ext cx="21933" cy="18470"/>
            </a:xfrm>
            <a:custGeom>
              <a:avLst/>
              <a:gdLst>
                <a:gd name="T0" fmla="*/ 7 w 8"/>
                <a:gd name="T1" fmla="*/ 0 h 7"/>
                <a:gd name="T2" fmla="*/ 6 w 8"/>
                <a:gd name="T3" fmla="*/ 3 h 7"/>
                <a:gd name="T4" fmla="*/ 0 w 8"/>
                <a:gd name="T5" fmla="*/ 5 h 7"/>
                <a:gd name="T6" fmla="*/ 7 w 8"/>
                <a:gd name="T7" fmla="*/ 0 h 7"/>
              </a:gdLst>
              <a:ahLst/>
              <a:cxnLst>
                <a:cxn ang="0">
                  <a:pos x="T0" y="T1"/>
                </a:cxn>
                <a:cxn ang="0">
                  <a:pos x="T2" y="T3"/>
                </a:cxn>
                <a:cxn ang="0">
                  <a:pos x="T4" y="T5"/>
                </a:cxn>
                <a:cxn ang="0">
                  <a:pos x="T6" y="T7"/>
                </a:cxn>
              </a:cxnLst>
              <a:rect l="0" t="0" r="r" b="b"/>
              <a:pathLst>
                <a:path w="8" h="7">
                  <a:moveTo>
                    <a:pt x="7" y="0"/>
                  </a:moveTo>
                  <a:cubicBezTo>
                    <a:pt x="8" y="2"/>
                    <a:pt x="7" y="2"/>
                    <a:pt x="6" y="3"/>
                  </a:cubicBezTo>
                  <a:cubicBezTo>
                    <a:pt x="4" y="6"/>
                    <a:pt x="3" y="7"/>
                    <a:pt x="0" y="5"/>
                  </a:cubicBezTo>
                  <a:cubicBezTo>
                    <a:pt x="1" y="2"/>
                    <a:pt x="4" y="1"/>
                    <a:pt x="7" y="0"/>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58" name="Freeform 43">
              <a:extLst>
                <a:ext uri="{FF2B5EF4-FFF2-40B4-BE49-F238E27FC236}">
                  <a16:creationId xmlns:a16="http://schemas.microsoft.com/office/drawing/2014/main" id="{987C1A27-ED43-41A0-96A3-1E80166A25A6}"/>
                </a:ext>
              </a:extLst>
            </p:cNvPr>
            <p:cNvSpPr>
              <a:spLocks/>
            </p:cNvSpPr>
            <p:nvPr/>
          </p:nvSpPr>
          <p:spPr bwMode="auto">
            <a:xfrm>
              <a:off x="5781074" y="2002429"/>
              <a:ext cx="26551" cy="40403"/>
            </a:xfrm>
            <a:custGeom>
              <a:avLst/>
              <a:gdLst>
                <a:gd name="T0" fmla="*/ 3 w 10"/>
                <a:gd name="T1" fmla="*/ 0 h 15"/>
                <a:gd name="T2" fmla="*/ 10 w 10"/>
                <a:gd name="T3" fmla="*/ 10 h 15"/>
                <a:gd name="T4" fmla="*/ 4 w 10"/>
                <a:gd name="T5" fmla="*/ 8 h 15"/>
                <a:gd name="T6" fmla="*/ 3 w 10"/>
                <a:gd name="T7" fmla="*/ 0 h 15"/>
              </a:gdLst>
              <a:ahLst/>
              <a:cxnLst>
                <a:cxn ang="0">
                  <a:pos x="T0" y="T1"/>
                </a:cxn>
                <a:cxn ang="0">
                  <a:pos x="T2" y="T3"/>
                </a:cxn>
                <a:cxn ang="0">
                  <a:pos x="T4" y="T5"/>
                </a:cxn>
                <a:cxn ang="0">
                  <a:pos x="T6" y="T7"/>
                </a:cxn>
              </a:cxnLst>
              <a:rect l="0" t="0" r="r" b="b"/>
              <a:pathLst>
                <a:path w="10" h="15">
                  <a:moveTo>
                    <a:pt x="3" y="0"/>
                  </a:moveTo>
                  <a:cubicBezTo>
                    <a:pt x="5" y="3"/>
                    <a:pt x="6" y="9"/>
                    <a:pt x="10" y="10"/>
                  </a:cubicBezTo>
                  <a:cubicBezTo>
                    <a:pt x="8" y="15"/>
                    <a:pt x="4" y="10"/>
                    <a:pt x="4" y="8"/>
                  </a:cubicBezTo>
                  <a:cubicBezTo>
                    <a:pt x="0" y="7"/>
                    <a:pt x="1" y="2"/>
                    <a:pt x="3" y="0"/>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59" name="Freeform 44">
              <a:extLst>
                <a:ext uri="{FF2B5EF4-FFF2-40B4-BE49-F238E27FC236}">
                  <a16:creationId xmlns:a16="http://schemas.microsoft.com/office/drawing/2014/main" id="{06233C2C-B708-465F-91E2-81AF65190EDB}"/>
                </a:ext>
              </a:extLst>
            </p:cNvPr>
            <p:cNvSpPr>
              <a:spLocks/>
            </p:cNvSpPr>
            <p:nvPr/>
          </p:nvSpPr>
          <p:spPr bwMode="auto">
            <a:xfrm>
              <a:off x="4273229" y="1986268"/>
              <a:ext cx="41557" cy="188163"/>
            </a:xfrm>
            <a:custGeom>
              <a:avLst/>
              <a:gdLst>
                <a:gd name="T0" fmla="*/ 5 w 15"/>
                <a:gd name="T1" fmla="*/ 8 h 69"/>
                <a:gd name="T2" fmla="*/ 8 w 15"/>
                <a:gd name="T3" fmla="*/ 18 h 69"/>
                <a:gd name="T4" fmla="*/ 9 w 15"/>
                <a:gd name="T5" fmla="*/ 24 h 69"/>
                <a:gd name="T6" fmla="*/ 9 w 15"/>
                <a:gd name="T7" fmla="*/ 28 h 69"/>
                <a:gd name="T8" fmla="*/ 11 w 15"/>
                <a:gd name="T9" fmla="*/ 40 h 69"/>
                <a:gd name="T10" fmla="*/ 15 w 15"/>
                <a:gd name="T11" fmla="*/ 46 h 69"/>
                <a:gd name="T12" fmla="*/ 9 w 15"/>
                <a:gd name="T13" fmla="*/ 48 h 69"/>
                <a:gd name="T14" fmla="*/ 9 w 15"/>
                <a:gd name="T15" fmla="*/ 58 h 69"/>
                <a:gd name="T16" fmla="*/ 7 w 15"/>
                <a:gd name="T17" fmla="*/ 58 h 69"/>
                <a:gd name="T18" fmla="*/ 9 w 15"/>
                <a:gd name="T19" fmla="*/ 68 h 69"/>
                <a:gd name="T20" fmla="*/ 2 w 15"/>
                <a:gd name="T21" fmla="*/ 67 h 69"/>
                <a:gd name="T22" fmla="*/ 4 w 15"/>
                <a:gd name="T23" fmla="*/ 58 h 69"/>
                <a:gd name="T24" fmla="*/ 1 w 15"/>
                <a:gd name="T25" fmla="*/ 54 h 69"/>
                <a:gd name="T26" fmla="*/ 4 w 15"/>
                <a:gd name="T27" fmla="*/ 36 h 69"/>
                <a:gd name="T28" fmla="*/ 1 w 15"/>
                <a:gd name="T29" fmla="*/ 28 h 69"/>
                <a:gd name="T30" fmla="*/ 1 w 15"/>
                <a:gd name="T31" fmla="*/ 18 h 69"/>
                <a:gd name="T32" fmla="*/ 5 w 15"/>
                <a:gd name="T33" fmla="*/ 14 h 69"/>
                <a:gd name="T34" fmla="*/ 7 w 15"/>
                <a:gd name="T35" fmla="*/ 9 h 69"/>
                <a:gd name="T36" fmla="*/ 5 w 15"/>
                <a:gd name="T37" fmla="*/ 8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 h="69">
                  <a:moveTo>
                    <a:pt x="5" y="8"/>
                  </a:moveTo>
                  <a:cubicBezTo>
                    <a:pt x="11" y="0"/>
                    <a:pt x="6" y="16"/>
                    <a:pt x="8" y="18"/>
                  </a:cubicBezTo>
                  <a:cubicBezTo>
                    <a:pt x="10" y="20"/>
                    <a:pt x="6" y="20"/>
                    <a:pt x="9" y="24"/>
                  </a:cubicBezTo>
                  <a:cubicBezTo>
                    <a:pt x="12" y="26"/>
                    <a:pt x="9" y="26"/>
                    <a:pt x="9" y="28"/>
                  </a:cubicBezTo>
                  <a:cubicBezTo>
                    <a:pt x="9" y="30"/>
                    <a:pt x="12" y="35"/>
                    <a:pt x="11" y="40"/>
                  </a:cubicBezTo>
                  <a:cubicBezTo>
                    <a:pt x="11" y="44"/>
                    <a:pt x="13" y="45"/>
                    <a:pt x="15" y="46"/>
                  </a:cubicBezTo>
                  <a:cubicBezTo>
                    <a:pt x="15" y="50"/>
                    <a:pt x="11" y="50"/>
                    <a:pt x="9" y="48"/>
                  </a:cubicBezTo>
                  <a:cubicBezTo>
                    <a:pt x="9" y="52"/>
                    <a:pt x="9" y="58"/>
                    <a:pt x="9" y="58"/>
                  </a:cubicBezTo>
                  <a:cubicBezTo>
                    <a:pt x="9" y="58"/>
                    <a:pt x="6" y="58"/>
                    <a:pt x="7" y="58"/>
                  </a:cubicBezTo>
                  <a:cubicBezTo>
                    <a:pt x="7" y="61"/>
                    <a:pt x="11" y="62"/>
                    <a:pt x="9" y="68"/>
                  </a:cubicBezTo>
                  <a:cubicBezTo>
                    <a:pt x="5" y="67"/>
                    <a:pt x="6" y="69"/>
                    <a:pt x="2" y="67"/>
                  </a:cubicBezTo>
                  <a:cubicBezTo>
                    <a:pt x="5" y="63"/>
                    <a:pt x="1" y="62"/>
                    <a:pt x="4" y="58"/>
                  </a:cubicBezTo>
                  <a:cubicBezTo>
                    <a:pt x="4" y="55"/>
                    <a:pt x="2" y="54"/>
                    <a:pt x="1" y="54"/>
                  </a:cubicBezTo>
                  <a:cubicBezTo>
                    <a:pt x="2" y="50"/>
                    <a:pt x="5" y="43"/>
                    <a:pt x="4" y="36"/>
                  </a:cubicBezTo>
                  <a:cubicBezTo>
                    <a:pt x="3" y="33"/>
                    <a:pt x="1" y="31"/>
                    <a:pt x="1" y="28"/>
                  </a:cubicBezTo>
                  <a:cubicBezTo>
                    <a:pt x="0" y="24"/>
                    <a:pt x="4" y="21"/>
                    <a:pt x="1" y="18"/>
                  </a:cubicBezTo>
                  <a:cubicBezTo>
                    <a:pt x="1" y="16"/>
                    <a:pt x="3" y="14"/>
                    <a:pt x="5" y="14"/>
                  </a:cubicBezTo>
                  <a:cubicBezTo>
                    <a:pt x="5" y="11"/>
                    <a:pt x="5" y="9"/>
                    <a:pt x="7" y="9"/>
                  </a:cubicBezTo>
                  <a:cubicBezTo>
                    <a:pt x="7" y="8"/>
                    <a:pt x="6" y="8"/>
                    <a:pt x="5" y="8"/>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60" name="Freeform 45">
              <a:extLst>
                <a:ext uri="{FF2B5EF4-FFF2-40B4-BE49-F238E27FC236}">
                  <a16:creationId xmlns:a16="http://schemas.microsoft.com/office/drawing/2014/main" id="{038787F8-8C5B-4D9C-A153-6154C6E70C3F}"/>
                </a:ext>
              </a:extLst>
            </p:cNvPr>
            <p:cNvSpPr>
              <a:spLocks/>
            </p:cNvSpPr>
            <p:nvPr/>
          </p:nvSpPr>
          <p:spPr bwMode="auto">
            <a:xfrm>
              <a:off x="5222357" y="2004738"/>
              <a:ext cx="12698" cy="19625"/>
            </a:xfrm>
            <a:custGeom>
              <a:avLst/>
              <a:gdLst>
                <a:gd name="T0" fmla="*/ 2 w 5"/>
                <a:gd name="T1" fmla="*/ 1 h 7"/>
                <a:gd name="T2" fmla="*/ 0 w 5"/>
                <a:gd name="T3" fmla="*/ 5 h 7"/>
                <a:gd name="T4" fmla="*/ 0 w 5"/>
                <a:gd name="T5" fmla="*/ 2 h 7"/>
                <a:gd name="T6" fmla="*/ 2 w 5"/>
                <a:gd name="T7" fmla="*/ 1 h 7"/>
              </a:gdLst>
              <a:ahLst/>
              <a:cxnLst>
                <a:cxn ang="0">
                  <a:pos x="T0" y="T1"/>
                </a:cxn>
                <a:cxn ang="0">
                  <a:pos x="T2" y="T3"/>
                </a:cxn>
                <a:cxn ang="0">
                  <a:pos x="T4" y="T5"/>
                </a:cxn>
                <a:cxn ang="0">
                  <a:pos x="T6" y="T7"/>
                </a:cxn>
              </a:cxnLst>
              <a:rect l="0" t="0" r="r" b="b"/>
              <a:pathLst>
                <a:path w="5" h="7">
                  <a:moveTo>
                    <a:pt x="2" y="1"/>
                  </a:moveTo>
                  <a:cubicBezTo>
                    <a:pt x="5" y="0"/>
                    <a:pt x="4" y="7"/>
                    <a:pt x="0" y="5"/>
                  </a:cubicBezTo>
                  <a:cubicBezTo>
                    <a:pt x="0" y="4"/>
                    <a:pt x="0" y="3"/>
                    <a:pt x="0" y="2"/>
                  </a:cubicBezTo>
                  <a:cubicBezTo>
                    <a:pt x="1" y="2"/>
                    <a:pt x="2" y="2"/>
                    <a:pt x="2" y="1"/>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61" name="Freeform 46">
              <a:extLst>
                <a:ext uri="{FF2B5EF4-FFF2-40B4-BE49-F238E27FC236}">
                  <a16:creationId xmlns:a16="http://schemas.microsoft.com/office/drawing/2014/main" id="{17D2233A-880D-478F-A477-34B94BEC0035}"/>
                </a:ext>
              </a:extLst>
            </p:cNvPr>
            <p:cNvSpPr>
              <a:spLocks/>
            </p:cNvSpPr>
            <p:nvPr/>
          </p:nvSpPr>
          <p:spPr bwMode="auto">
            <a:xfrm>
              <a:off x="6988548" y="2070536"/>
              <a:ext cx="120055" cy="103894"/>
            </a:xfrm>
            <a:custGeom>
              <a:avLst/>
              <a:gdLst>
                <a:gd name="T0" fmla="*/ 19 w 44"/>
                <a:gd name="T1" fmla="*/ 0 h 38"/>
                <a:gd name="T2" fmla="*/ 24 w 44"/>
                <a:gd name="T3" fmla="*/ 3 h 38"/>
                <a:gd name="T4" fmla="*/ 22 w 44"/>
                <a:gd name="T5" fmla="*/ 9 h 38"/>
                <a:gd name="T6" fmla="*/ 28 w 44"/>
                <a:gd name="T7" fmla="*/ 12 h 38"/>
                <a:gd name="T8" fmla="*/ 37 w 44"/>
                <a:gd name="T9" fmla="*/ 15 h 38"/>
                <a:gd name="T10" fmla="*/ 35 w 44"/>
                <a:gd name="T11" fmla="*/ 21 h 38"/>
                <a:gd name="T12" fmla="*/ 40 w 44"/>
                <a:gd name="T13" fmla="*/ 23 h 38"/>
                <a:gd name="T14" fmla="*/ 43 w 44"/>
                <a:gd name="T15" fmla="*/ 27 h 38"/>
                <a:gd name="T16" fmla="*/ 40 w 44"/>
                <a:gd name="T17" fmla="*/ 34 h 38"/>
                <a:gd name="T18" fmla="*/ 38 w 44"/>
                <a:gd name="T19" fmla="*/ 31 h 38"/>
                <a:gd name="T20" fmla="*/ 29 w 44"/>
                <a:gd name="T21" fmla="*/ 31 h 38"/>
                <a:gd name="T22" fmla="*/ 24 w 44"/>
                <a:gd name="T23" fmla="*/ 37 h 38"/>
                <a:gd name="T24" fmla="*/ 21 w 44"/>
                <a:gd name="T25" fmla="*/ 33 h 38"/>
                <a:gd name="T26" fmla="*/ 16 w 44"/>
                <a:gd name="T27" fmla="*/ 31 h 38"/>
                <a:gd name="T28" fmla="*/ 10 w 44"/>
                <a:gd name="T29" fmla="*/ 27 h 38"/>
                <a:gd name="T30" fmla="*/ 0 w 44"/>
                <a:gd name="T31" fmla="*/ 28 h 38"/>
                <a:gd name="T32" fmla="*/ 1 w 44"/>
                <a:gd name="T33" fmla="*/ 23 h 38"/>
                <a:gd name="T34" fmla="*/ 7 w 44"/>
                <a:gd name="T35" fmla="*/ 20 h 38"/>
                <a:gd name="T36" fmla="*/ 10 w 44"/>
                <a:gd name="T37" fmla="*/ 14 h 38"/>
                <a:gd name="T38" fmla="*/ 12 w 44"/>
                <a:gd name="T39" fmla="*/ 6 h 38"/>
                <a:gd name="T40" fmla="*/ 15 w 44"/>
                <a:gd name="T41" fmla="*/ 6 h 38"/>
                <a:gd name="T42" fmla="*/ 15 w 44"/>
                <a:gd name="T43" fmla="*/ 3 h 38"/>
                <a:gd name="T44" fmla="*/ 19 w 44"/>
                <a:gd name="T4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38">
                  <a:moveTo>
                    <a:pt x="19" y="0"/>
                  </a:moveTo>
                  <a:cubicBezTo>
                    <a:pt x="21" y="1"/>
                    <a:pt x="21" y="3"/>
                    <a:pt x="24" y="3"/>
                  </a:cubicBezTo>
                  <a:cubicBezTo>
                    <a:pt x="23" y="6"/>
                    <a:pt x="19" y="6"/>
                    <a:pt x="22" y="9"/>
                  </a:cubicBezTo>
                  <a:cubicBezTo>
                    <a:pt x="21" y="13"/>
                    <a:pt x="26" y="11"/>
                    <a:pt x="28" y="12"/>
                  </a:cubicBezTo>
                  <a:cubicBezTo>
                    <a:pt x="29" y="13"/>
                    <a:pt x="31" y="17"/>
                    <a:pt x="37" y="15"/>
                  </a:cubicBezTo>
                  <a:cubicBezTo>
                    <a:pt x="37" y="19"/>
                    <a:pt x="40" y="20"/>
                    <a:pt x="35" y="21"/>
                  </a:cubicBezTo>
                  <a:cubicBezTo>
                    <a:pt x="35" y="23"/>
                    <a:pt x="39" y="22"/>
                    <a:pt x="40" y="23"/>
                  </a:cubicBezTo>
                  <a:cubicBezTo>
                    <a:pt x="41" y="23"/>
                    <a:pt x="39" y="29"/>
                    <a:pt x="43" y="27"/>
                  </a:cubicBezTo>
                  <a:cubicBezTo>
                    <a:pt x="44" y="32"/>
                    <a:pt x="39" y="30"/>
                    <a:pt x="40" y="34"/>
                  </a:cubicBezTo>
                  <a:cubicBezTo>
                    <a:pt x="38" y="34"/>
                    <a:pt x="39" y="33"/>
                    <a:pt x="38" y="31"/>
                  </a:cubicBezTo>
                  <a:cubicBezTo>
                    <a:pt x="33" y="32"/>
                    <a:pt x="34" y="33"/>
                    <a:pt x="29" y="31"/>
                  </a:cubicBezTo>
                  <a:cubicBezTo>
                    <a:pt x="28" y="34"/>
                    <a:pt x="23" y="33"/>
                    <a:pt x="24" y="37"/>
                  </a:cubicBezTo>
                  <a:cubicBezTo>
                    <a:pt x="21" y="38"/>
                    <a:pt x="22" y="34"/>
                    <a:pt x="21" y="33"/>
                  </a:cubicBezTo>
                  <a:cubicBezTo>
                    <a:pt x="20" y="32"/>
                    <a:pt x="17" y="32"/>
                    <a:pt x="16" y="31"/>
                  </a:cubicBezTo>
                  <a:cubicBezTo>
                    <a:pt x="15" y="30"/>
                    <a:pt x="14" y="28"/>
                    <a:pt x="10" y="27"/>
                  </a:cubicBezTo>
                  <a:cubicBezTo>
                    <a:pt x="6" y="26"/>
                    <a:pt x="5" y="30"/>
                    <a:pt x="0" y="28"/>
                  </a:cubicBezTo>
                  <a:cubicBezTo>
                    <a:pt x="1" y="27"/>
                    <a:pt x="1" y="25"/>
                    <a:pt x="1" y="23"/>
                  </a:cubicBezTo>
                  <a:cubicBezTo>
                    <a:pt x="6" y="24"/>
                    <a:pt x="2" y="18"/>
                    <a:pt x="7" y="20"/>
                  </a:cubicBezTo>
                  <a:cubicBezTo>
                    <a:pt x="5" y="16"/>
                    <a:pt x="9" y="15"/>
                    <a:pt x="10" y="14"/>
                  </a:cubicBezTo>
                  <a:cubicBezTo>
                    <a:pt x="11" y="12"/>
                    <a:pt x="10" y="9"/>
                    <a:pt x="12" y="6"/>
                  </a:cubicBezTo>
                  <a:cubicBezTo>
                    <a:pt x="12" y="6"/>
                    <a:pt x="14" y="7"/>
                    <a:pt x="15" y="6"/>
                  </a:cubicBezTo>
                  <a:cubicBezTo>
                    <a:pt x="15" y="6"/>
                    <a:pt x="14" y="4"/>
                    <a:pt x="15" y="3"/>
                  </a:cubicBezTo>
                  <a:cubicBezTo>
                    <a:pt x="16" y="2"/>
                    <a:pt x="19" y="3"/>
                    <a:pt x="19" y="0"/>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62" name="Freeform 47">
              <a:extLst>
                <a:ext uri="{FF2B5EF4-FFF2-40B4-BE49-F238E27FC236}">
                  <a16:creationId xmlns:a16="http://schemas.microsoft.com/office/drawing/2014/main" id="{C44400C6-6606-4FF5-9047-21F24B96CACB}"/>
                </a:ext>
              </a:extLst>
            </p:cNvPr>
            <p:cNvSpPr>
              <a:spLocks/>
            </p:cNvSpPr>
            <p:nvPr/>
          </p:nvSpPr>
          <p:spPr bwMode="auto">
            <a:xfrm>
              <a:off x="6922749" y="2102859"/>
              <a:ext cx="30014" cy="27705"/>
            </a:xfrm>
            <a:custGeom>
              <a:avLst/>
              <a:gdLst>
                <a:gd name="T0" fmla="*/ 0 w 11"/>
                <a:gd name="T1" fmla="*/ 0 h 10"/>
                <a:gd name="T2" fmla="*/ 11 w 11"/>
                <a:gd name="T3" fmla="*/ 5 h 10"/>
                <a:gd name="T4" fmla="*/ 0 w 11"/>
                <a:gd name="T5" fmla="*/ 0 h 10"/>
              </a:gdLst>
              <a:ahLst/>
              <a:cxnLst>
                <a:cxn ang="0">
                  <a:pos x="T0" y="T1"/>
                </a:cxn>
                <a:cxn ang="0">
                  <a:pos x="T2" y="T3"/>
                </a:cxn>
                <a:cxn ang="0">
                  <a:pos x="T4" y="T5"/>
                </a:cxn>
              </a:cxnLst>
              <a:rect l="0" t="0" r="r" b="b"/>
              <a:pathLst>
                <a:path w="11" h="10">
                  <a:moveTo>
                    <a:pt x="0" y="0"/>
                  </a:moveTo>
                  <a:cubicBezTo>
                    <a:pt x="5" y="0"/>
                    <a:pt x="6" y="5"/>
                    <a:pt x="11" y="5"/>
                  </a:cubicBezTo>
                  <a:cubicBezTo>
                    <a:pt x="9" y="10"/>
                    <a:pt x="0" y="5"/>
                    <a:pt x="0" y="0"/>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63" name="Freeform 48">
              <a:extLst>
                <a:ext uri="{FF2B5EF4-FFF2-40B4-BE49-F238E27FC236}">
                  <a16:creationId xmlns:a16="http://schemas.microsoft.com/office/drawing/2014/main" id="{53756556-6C60-448F-AB41-93A872B9D7B9}"/>
                </a:ext>
              </a:extLst>
            </p:cNvPr>
            <p:cNvSpPr>
              <a:spLocks/>
            </p:cNvSpPr>
            <p:nvPr/>
          </p:nvSpPr>
          <p:spPr bwMode="auto">
            <a:xfrm>
              <a:off x="4260531" y="2204444"/>
              <a:ext cx="84270" cy="60027"/>
            </a:xfrm>
            <a:custGeom>
              <a:avLst/>
              <a:gdLst>
                <a:gd name="T0" fmla="*/ 9 w 31"/>
                <a:gd name="T1" fmla="*/ 0 h 22"/>
                <a:gd name="T2" fmla="*/ 10 w 31"/>
                <a:gd name="T3" fmla="*/ 2 h 22"/>
                <a:gd name="T4" fmla="*/ 16 w 31"/>
                <a:gd name="T5" fmla="*/ 8 h 22"/>
                <a:gd name="T6" fmla="*/ 31 w 31"/>
                <a:gd name="T7" fmla="*/ 6 h 22"/>
                <a:gd name="T8" fmla="*/ 25 w 31"/>
                <a:gd name="T9" fmla="*/ 15 h 22"/>
                <a:gd name="T10" fmla="*/ 20 w 31"/>
                <a:gd name="T11" fmla="*/ 14 h 22"/>
                <a:gd name="T12" fmla="*/ 14 w 31"/>
                <a:gd name="T13" fmla="*/ 17 h 22"/>
                <a:gd name="T14" fmla="*/ 13 w 31"/>
                <a:gd name="T15" fmla="*/ 21 h 22"/>
                <a:gd name="T16" fmla="*/ 6 w 31"/>
                <a:gd name="T17" fmla="*/ 18 h 22"/>
                <a:gd name="T18" fmla="*/ 9 w 31"/>
                <a:gd name="T1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22">
                  <a:moveTo>
                    <a:pt x="9" y="0"/>
                  </a:moveTo>
                  <a:cubicBezTo>
                    <a:pt x="10" y="0"/>
                    <a:pt x="10" y="1"/>
                    <a:pt x="10" y="2"/>
                  </a:cubicBezTo>
                  <a:cubicBezTo>
                    <a:pt x="10" y="5"/>
                    <a:pt x="16" y="4"/>
                    <a:pt x="16" y="8"/>
                  </a:cubicBezTo>
                  <a:cubicBezTo>
                    <a:pt x="21" y="6"/>
                    <a:pt x="25" y="8"/>
                    <a:pt x="31" y="6"/>
                  </a:cubicBezTo>
                  <a:cubicBezTo>
                    <a:pt x="31" y="11"/>
                    <a:pt x="25" y="11"/>
                    <a:pt x="25" y="15"/>
                  </a:cubicBezTo>
                  <a:cubicBezTo>
                    <a:pt x="22" y="15"/>
                    <a:pt x="22" y="14"/>
                    <a:pt x="20" y="14"/>
                  </a:cubicBezTo>
                  <a:cubicBezTo>
                    <a:pt x="17" y="13"/>
                    <a:pt x="15" y="20"/>
                    <a:pt x="14" y="17"/>
                  </a:cubicBezTo>
                  <a:cubicBezTo>
                    <a:pt x="13" y="17"/>
                    <a:pt x="13" y="19"/>
                    <a:pt x="13" y="21"/>
                  </a:cubicBezTo>
                  <a:cubicBezTo>
                    <a:pt x="9" y="22"/>
                    <a:pt x="9" y="13"/>
                    <a:pt x="6" y="18"/>
                  </a:cubicBezTo>
                  <a:cubicBezTo>
                    <a:pt x="0" y="14"/>
                    <a:pt x="4" y="3"/>
                    <a:pt x="9" y="0"/>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64" name="Freeform 49">
              <a:extLst>
                <a:ext uri="{FF2B5EF4-FFF2-40B4-BE49-F238E27FC236}">
                  <a16:creationId xmlns:a16="http://schemas.microsoft.com/office/drawing/2014/main" id="{8D88EA2E-2970-43E0-8578-E656B565E88A}"/>
                </a:ext>
              </a:extLst>
            </p:cNvPr>
            <p:cNvSpPr>
              <a:spLocks/>
            </p:cNvSpPr>
            <p:nvPr/>
          </p:nvSpPr>
          <p:spPr bwMode="auto">
            <a:xfrm>
              <a:off x="4110462" y="2274861"/>
              <a:ext cx="162767" cy="145451"/>
            </a:xfrm>
            <a:custGeom>
              <a:avLst/>
              <a:gdLst>
                <a:gd name="T0" fmla="*/ 53 w 60"/>
                <a:gd name="T1" fmla="*/ 1 h 53"/>
                <a:gd name="T2" fmla="*/ 58 w 60"/>
                <a:gd name="T3" fmla="*/ 2 h 53"/>
                <a:gd name="T4" fmla="*/ 58 w 60"/>
                <a:gd name="T5" fmla="*/ 25 h 53"/>
                <a:gd name="T6" fmla="*/ 56 w 60"/>
                <a:gd name="T7" fmla="*/ 22 h 53"/>
                <a:gd name="T8" fmla="*/ 56 w 60"/>
                <a:gd name="T9" fmla="*/ 31 h 53"/>
                <a:gd name="T10" fmla="*/ 53 w 60"/>
                <a:gd name="T11" fmla="*/ 29 h 53"/>
                <a:gd name="T12" fmla="*/ 53 w 60"/>
                <a:gd name="T13" fmla="*/ 44 h 53"/>
                <a:gd name="T14" fmla="*/ 50 w 60"/>
                <a:gd name="T15" fmla="*/ 42 h 53"/>
                <a:gd name="T16" fmla="*/ 46 w 60"/>
                <a:gd name="T17" fmla="*/ 45 h 53"/>
                <a:gd name="T18" fmla="*/ 43 w 60"/>
                <a:gd name="T19" fmla="*/ 44 h 53"/>
                <a:gd name="T20" fmla="*/ 37 w 60"/>
                <a:gd name="T21" fmla="*/ 45 h 53"/>
                <a:gd name="T22" fmla="*/ 29 w 60"/>
                <a:gd name="T23" fmla="*/ 47 h 53"/>
                <a:gd name="T24" fmla="*/ 26 w 60"/>
                <a:gd name="T25" fmla="*/ 53 h 53"/>
                <a:gd name="T26" fmla="*/ 21 w 60"/>
                <a:gd name="T27" fmla="*/ 45 h 53"/>
                <a:gd name="T28" fmla="*/ 18 w 60"/>
                <a:gd name="T29" fmla="*/ 48 h 53"/>
                <a:gd name="T30" fmla="*/ 15 w 60"/>
                <a:gd name="T31" fmla="*/ 47 h 53"/>
                <a:gd name="T32" fmla="*/ 0 w 60"/>
                <a:gd name="T33" fmla="*/ 50 h 53"/>
                <a:gd name="T34" fmla="*/ 1 w 60"/>
                <a:gd name="T35" fmla="*/ 44 h 53"/>
                <a:gd name="T36" fmla="*/ 4 w 60"/>
                <a:gd name="T37" fmla="*/ 45 h 53"/>
                <a:gd name="T38" fmla="*/ 6 w 60"/>
                <a:gd name="T39" fmla="*/ 42 h 53"/>
                <a:gd name="T40" fmla="*/ 26 w 60"/>
                <a:gd name="T41" fmla="*/ 41 h 53"/>
                <a:gd name="T42" fmla="*/ 29 w 60"/>
                <a:gd name="T43" fmla="*/ 31 h 53"/>
                <a:gd name="T44" fmla="*/ 32 w 60"/>
                <a:gd name="T45" fmla="*/ 28 h 53"/>
                <a:gd name="T46" fmla="*/ 41 w 60"/>
                <a:gd name="T47" fmla="*/ 29 h 53"/>
                <a:gd name="T48" fmla="*/ 41 w 60"/>
                <a:gd name="T49" fmla="*/ 23 h 53"/>
                <a:gd name="T50" fmla="*/ 43 w 60"/>
                <a:gd name="T51" fmla="*/ 26 h 53"/>
                <a:gd name="T52" fmla="*/ 44 w 60"/>
                <a:gd name="T53" fmla="*/ 19 h 53"/>
                <a:gd name="T54" fmla="*/ 49 w 60"/>
                <a:gd name="T55" fmla="*/ 7 h 53"/>
                <a:gd name="T56" fmla="*/ 53 w 60"/>
                <a:gd name="T57" fmla="*/ 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53">
                  <a:moveTo>
                    <a:pt x="53" y="1"/>
                  </a:moveTo>
                  <a:cubicBezTo>
                    <a:pt x="56" y="0"/>
                    <a:pt x="56" y="2"/>
                    <a:pt x="58" y="2"/>
                  </a:cubicBezTo>
                  <a:cubicBezTo>
                    <a:pt x="57" y="13"/>
                    <a:pt x="60" y="18"/>
                    <a:pt x="58" y="25"/>
                  </a:cubicBezTo>
                  <a:cubicBezTo>
                    <a:pt x="56" y="25"/>
                    <a:pt x="56" y="23"/>
                    <a:pt x="56" y="22"/>
                  </a:cubicBezTo>
                  <a:cubicBezTo>
                    <a:pt x="52" y="23"/>
                    <a:pt x="57" y="28"/>
                    <a:pt x="56" y="31"/>
                  </a:cubicBezTo>
                  <a:cubicBezTo>
                    <a:pt x="55" y="30"/>
                    <a:pt x="55" y="29"/>
                    <a:pt x="53" y="29"/>
                  </a:cubicBezTo>
                  <a:cubicBezTo>
                    <a:pt x="53" y="34"/>
                    <a:pt x="53" y="39"/>
                    <a:pt x="53" y="44"/>
                  </a:cubicBezTo>
                  <a:cubicBezTo>
                    <a:pt x="52" y="44"/>
                    <a:pt x="52" y="42"/>
                    <a:pt x="50" y="42"/>
                  </a:cubicBezTo>
                  <a:cubicBezTo>
                    <a:pt x="47" y="41"/>
                    <a:pt x="47" y="45"/>
                    <a:pt x="46" y="45"/>
                  </a:cubicBezTo>
                  <a:cubicBezTo>
                    <a:pt x="45" y="46"/>
                    <a:pt x="44" y="44"/>
                    <a:pt x="43" y="44"/>
                  </a:cubicBezTo>
                  <a:cubicBezTo>
                    <a:pt x="42" y="44"/>
                    <a:pt x="38" y="45"/>
                    <a:pt x="37" y="45"/>
                  </a:cubicBezTo>
                  <a:cubicBezTo>
                    <a:pt x="36" y="45"/>
                    <a:pt x="33" y="48"/>
                    <a:pt x="29" y="47"/>
                  </a:cubicBezTo>
                  <a:cubicBezTo>
                    <a:pt x="27" y="47"/>
                    <a:pt x="29" y="52"/>
                    <a:pt x="26" y="53"/>
                  </a:cubicBezTo>
                  <a:cubicBezTo>
                    <a:pt x="23" y="52"/>
                    <a:pt x="21" y="50"/>
                    <a:pt x="21" y="45"/>
                  </a:cubicBezTo>
                  <a:cubicBezTo>
                    <a:pt x="18" y="44"/>
                    <a:pt x="18" y="48"/>
                    <a:pt x="18" y="48"/>
                  </a:cubicBezTo>
                  <a:cubicBezTo>
                    <a:pt x="16" y="49"/>
                    <a:pt x="15" y="47"/>
                    <a:pt x="15" y="47"/>
                  </a:cubicBezTo>
                  <a:cubicBezTo>
                    <a:pt x="10" y="48"/>
                    <a:pt x="4" y="52"/>
                    <a:pt x="0" y="50"/>
                  </a:cubicBezTo>
                  <a:cubicBezTo>
                    <a:pt x="1" y="48"/>
                    <a:pt x="1" y="46"/>
                    <a:pt x="1" y="44"/>
                  </a:cubicBezTo>
                  <a:cubicBezTo>
                    <a:pt x="3" y="43"/>
                    <a:pt x="4" y="45"/>
                    <a:pt x="4" y="45"/>
                  </a:cubicBezTo>
                  <a:cubicBezTo>
                    <a:pt x="6" y="45"/>
                    <a:pt x="5" y="42"/>
                    <a:pt x="6" y="42"/>
                  </a:cubicBezTo>
                  <a:cubicBezTo>
                    <a:pt x="11" y="42"/>
                    <a:pt x="20" y="43"/>
                    <a:pt x="26" y="41"/>
                  </a:cubicBezTo>
                  <a:cubicBezTo>
                    <a:pt x="24" y="34"/>
                    <a:pt x="31" y="36"/>
                    <a:pt x="29" y="31"/>
                  </a:cubicBezTo>
                  <a:cubicBezTo>
                    <a:pt x="32" y="33"/>
                    <a:pt x="33" y="32"/>
                    <a:pt x="32" y="28"/>
                  </a:cubicBezTo>
                  <a:cubicBezTo>
                    <a:pt x="35" y="31"/>
                    <a:pt x="38" y="26"/>
                    <a:pt x="41" y="29"/>
                  </a:cubicBezTo>
                  <a:cubicBezTo>
                    <a:pt x="42" y="28"/>
                    <a:pt x="40" y="24"/>
                    <a:pt x="41" y="23"/>
                  </a:cubicBezTo>
                  <a:cubicBezTo>
                    <a:pt x="43" y="22"/>
                    <a:pt x="43" y="26"/>
                    <a:pt x="43" y="26"/>
                  </a:cubicBezTo>
                  <a:cubicBezTo>
                    <a:pt x="44" y="26"/>
                    <a:pt x="48" y="25"/>
                    <a:pt x="44" y="19"/>
                  </a:cubicBezTo>
                  <a:cubicBezTo>
                    <a:pt x="50" y="17"/>
                    <a:pt x="47" y="11"/>
                    <a:pt x="49" y="7"/>
                  </a:cubicBezTo>
                  <a:cubicBezTo>
                    <a:pt x="50" y="5"/>
                    <a:pt x="55" y="4"/>
                    <a:pt x="53" y="1"/>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65" name="Freeform 50">
              <a:extLst>
                <a:ext uri="{FF2B5EF4-FFF2-40B4-BE49-F238E27FC236}">
                  <a16:creationId xmlns:a16="http://schemas.microsoft.com/office/drawing/2014/main" id="{38080334-973C-4B94-98E7-312963272F6A}"/>
                </a:ext>
              </a:extLst>
            </p:cNvPr>
            <p:cNvSpPr>
              <a:spLocks/>
            </p:cNvSpPr>
            <p:nvPr/>
          </p:nvSpPr>
          <p:spPr bwMode="auto">
            <a:xfrm>
              <a:off x="2078766" y="2286404"/>
              <a:ext cx="27705" cy="32322"/>
            </a:xfrm>
            <a:custGeom>
              <a:avLst/>
              <a:gdLst>
                <a:gd name="T0" fmla="*/ 4 w 10"/>
                <a:gd name="T1" fmla="*/ 0 h 12"/>
                <a:gd name="T2" fmla="*/ 1 w 10"/>
                <a:gd name="T3" fmla="*/ 10 h 12"/>
                <a:gd name="T4" fmla="*/ 4 w 10"/>
                <a:gd name="T5" fmla="*/ 0 h 12"/>
              </a:gdLst>
              <a:ahLst/>
              <a:cxnLst>
                <a:cxn ang="0">
                  <a:pos x="T0" y="T1"/>
                </a:cxn>
                <a:cxn ang="0">
                  <a:pos x="T2" y="T3"/>
                </a:cxn>
                <a:cxn ang="0">
                  <a:pos x="T4" y="T5"/>
                </a:cxn>
              </a:cxnLst>
              <a:rect l="0" t="0" r="r" b="b"/>
              <a:pathLst>
                <a:path w="10" h="12">
                  <a:moveTo>
                    <a:pt x="4" y="0"/>
                  </a:moveTo>
                  <a:cubicBezTo>
                    <a:pt x="10" y="0"/>
                    <a:pt x="8" y="12"/>
                    <a:pt x="1" y="10"/>
                  </a:cubicBezTo>
                  <a:cubicBezTo>
                    <a:pt x="4" y="9"/>
                    <a:pt x="0" y="1"/>
                    <a:pt x="4" y="0"/>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66" name="Freeform 51">
              <a:extLst>
                <a:ext uri="{FF2B5EF4-FFF2-40B4-BE49-F238E27FC236}">
                  <a16:creationId xmlns:a16="http://schemas.microsoft.com/office/drawing/2014/main" id="{A1C2D38B-CD28-4741-BF8E-FA06F31A2BD2}"/>
                </a:ext>
              </a:extLst>
            </p:cNvPr>
            <p:cNvSpPr>
              <a:spLocks/>
            </p:cNvSpPr>
            <p:nvPr/>
          </p:nvSpPr>
          <p:spPr bwMode="auto">
            <a:xfrm>
              <a:off x="2149183" y="2332579"/>
              <a:ext cx="41557" cy="30014"/>
            </a:xfrm>
            <a:custGeom>
              <a:avLst/>
              <a:gdLst>
                <a:gd name="T0" fmla="*/ 12 w 15"/>
                <a:gd name="T1" fmla="*/ 2 h 11"/>
                <a:gd name="T2" fmla="*/ 15 w 15"/>
                <a:gd name="T3" fmla="*/ 10 h 11"/>
                <a:gd name="T4" fmla="*/ 7 w 15"/>
                <a:gd name="T5" fmla="*/ 10 h 11"/>
                <a:gd name="T6" fmla="*/ 7 w 15"/>
                <a:gd name="T7" fmla="*/ 8 h 11"/>
                <a:gd name="T8" fmla="*/ 2 w 15"/>
                <a:gd name="T9" fmla="*/ 7 h 11"/>
                <a:gd name="T10" fmla="*/ 12 w 15"/>
                <a:gd name="T11" fmla="*/ 2 h 11"/>
              </a:gdLst>
              <a:ahLst/>
              <a:cxnLst>
                <a:cxn ang="0">
                  <a:pos x="T0" y="T1"/>
                </a:cxn>
                <a:cxn ang="0">
                  <a:pos x="T2" y="T3"/>
                </a:cxn>
                <a:cxn ang="0">
                  <a:pos x="T4" y="T5"/>
                </a:cxn>
                <a:cxn ang="0">
                  <a:pos x="T6" y="T7"/>
                </a:cxn>
                <a:cxn ang="0">
                  <a:pos x="T8" y="T9"/>
                </a:cxn>
                <a:cxn ang="0">
                  <a:pos x="T10" y="T11"/>
                </a:cxn>
              </a:cxnLst>
              <a:rect l="0" t="0" r="r" b="b"/>
              <a:pathLst>
                <a:path w="15" h="11">
                  <a:moveTo>
                    <a:pt x="12" y="2"/>
                  </a:moveTo>
                  <a:cubicBezTo>
                    <a:pt x="14" y="3"/>
                    <a:pt x="15" y="6"/>
                    <a:pt x="15" y="10"/>
                  </a:cubicBezTo>
                  <a:cubicBezTo>
                    <a:pt x="13" y="9"/>
                    <a:pt x="8" y="11"/>
                    <a:pt x="7" y="10"/>
                  </a:cubicBezTo>
                  <a:cubicBezTo>
                    <a:pt x="7" y="9"/>
                    <a:pt x="8" y="8"/>
                    <a:pt x="7" y="8"/>
                  </a:cubicBezTo>
                  <a:cubicBezTo>
                    <a:pt x="5" y="8"/>
                    <a:pt x="2" y="9"/>
                    <a:pt x="2" y="7"/>
                  </a:cubicBezTo>
                  <a:cubicBezTo>
                    <a:pt x="0" y="0"/>
                    <a:pt x="12" y="7"/>
                    <a:pt x="12" y="2"/>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67" name="Freeform 52">
              <a:extLst>
                <a:ext uri="{FF2B5EF4-FFF2-40B4-BE49-F238E27FC236}">
                  <a16:creationId xmlns:a16="http://schemas.microsoft.com/office/drawing/2014/main" id="{424C0BAE-22D8-4804-9DBB-E1F0D9DB63A4}"/>
                </a:ext>
              </a:extLst>
            </p:cNvPr>
            <p:cNvSpPr>
              <a:spLocks/>
            </p:cNvSpPr>
            <p:nvPr/>
          </p:nvSpPr>
          <p:spPr bwMode="auto">
            <a:xfrm>
              <a:off x="2477025" y="2390298"/>
              <a:ext cx="30014" cy="12698"/>
            </a:xfrm>
            <a:custGeom>
              <a:avLst/>
              <a:gdLst>
                <a:gd name="T0" fmla="*/ 0 w 11"/>
                <a:gd name="T1" fmla="*/ 5 h 5"/>
                <a:gd name="T2" fmla="*/ 6 w 11"/>
                <a:gd name="T3" fmla="*/ 0 h 5"/>
                <a:gd name="T4" fmla="*/ 5 w 11"/>
                <a:gd name="T5" fmla="*/ 2 h 5"/>
                <a:gd name="T6" fmla="*/ 0 w 11"/>
                <a:gd name="T7" fmla="*/ 5 h 5"/>
              </a:gdLst>
              <a:ahLst/>
              <a:cxnLst>
                <a:cxn ang="0">
                  <a:pos x="T0" y="T1"/>
                </a:cxn>
                <a:cxn ang="0">
                  <a:pos x="T2" y="T3"/>
                </a:cxn>
                <a:cxn ang="0">
                  <a:pos x="T4" y="T5"/>
                </a:cxn>
                <a:cxn ang="0">
                  <a:pos x="T6" y="T7"/>
                </a:cxn>
              </a:cxnLst>
              <a:rect l="0" t="0" r="r" b="b"/>
              <a:pathLst>
                <a:path w="11" h="5">
                  <a:moveTo>
                    <a:pt x="0" y="5"/>
                  </a:moveTo>
                  <a:cubicBezTo>
                    <a:pt x="0" y="1"/>
                    <a:pt x="2" y="0"/>
                    <a:pt x="6" y="0"/>
                  </a:cubicBezTo>
                  <a:cubicBezTo>
                    <a:pt x="11" y="0"/>
                    <a:pt x="8" y="3"/>
                    <a:pt x="5" y="2"/>
                  </a:cubicBezTo>
                  <a:cubicBezTo>
                    <a:pt x="3" y="3"/>
                    <a:pt x="3" y="5"/>
                    <a:pt x="0" y="5"/>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68" name="Freeform 53">
              <a:extLst>
                <a:ext uri="{FF2B5EF4-FFF2-40B4-BE49-F238E27FC236}">
                  <a16:creationId xmlns:a16="http://schemas.microsoft.com/office/drawing/2014/main" id="{EBBA0C4C-3C2E-4925-A5D7-3F79C4FD7601}"/>
                </a:ext>
              </a:extLst>
            </p:cNvPr>
            <p:cNvSpPr>
              <a:spLocks/>
            </p:cNvSpPr>
            <p:nvPr/>
          </p:nvSpPr>
          <p:spPr bwMode="auto">
            <a:xfrm>
              <a:off x="4123160" y="2414539"/>
              <a:ext cx="30014" cy="18470"/>
            </a:xfrm>
            <a:custGeom>
              <a:avLst/>
              <a:gdLst>
                <a:gd name="T0" fmla="*/ 10 w 11"/>
                <a:gd name="T1" fmla="*/ 0 h 7"/>
                <a:gd name="T2" fmla="*/ 7 w 11"/>
                <a:gd name="T3" fmla="*/ 6 h 7"/>
                <a:gd name="T4" fmla="*/ 1 w 11"/>
                <a:gd name="T5" fmla="*/ 2 h 7"/>
                <a:gd name="T6" fmla="*/ 10 w 11"/>
                <a:gd name="T7" fmla="*/ 0 h 7"/>
              </a:gdLst>
              <a:ahLst/>
              <a:cxnLst>
                <a:cxn ang="0">
                  <a:pos x="T0" y="T1"/>
                </a:cxn>
                <a:cxn ang="0">
                  <a:pos x="T2" y="T3"/>
                </a:cxn>
                <a:cxn ang="0">
                  <a:pos x="T4" y="T5"/>
                </a:cxn>
                <a:cxn ang="0">
                  <a:pos x="T6" y="T7"/>
                </a:cxn>
              </a:cxnLst>
              <a:rect l="0" t="0" r="r" b="b"/>
              <a:pathLst>
                <a:path w="11" h="7">
                  <a:moveTo>
                    <a:pt x="10" y="0"/>
                  </a:moveTo>
                  <a:cubicBezTo>
                    <a:pt x="11" y="5"/>
                    <a:pt x="5" y="1"/>
                    <a:pt x="7" y="6"/>
                  </a:cubicBezTo>
                  <a:cubicBezTo>
                    <a:pt x="3" y="7"/>
                    <a:pt x="0" y="6"/>
                    <a:pt x="1" y="2"/>
                  </a:cubicBezTo>
                  <a:cubicBezTo>
                    <a:pt x="5" y="6"/>
                    <a:pt x="5" y="0"/>
                    <a:pt x="10" y="0"/>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69" name="Freeform 54">
              <a:extLst>
                <a:ext uri="{FF2B5EF4-FFF2-40B4-BE49-F238E27FC236}">
                  <a16:creationId xmlns:a16="http://schemas.microsoft.com/office/drawing/2014/main" id="{40B9ABFC-4480-4C5D-95B6-1E498635D84A}"/>
                </a:ext>
              </a:extLst>
            </p:cNvPr>
            <p:cNvSpPr>
              <a:spLocks/>
            </p:cNvSpPr>
            <p:nvPr/>
          </p:nvSpPr>
          <p:spPr bwMode="auto">
            <a:xfrm>
              <a:off x="4072368" y="2414539"/>
              <a:ext cx="42712" cy="46175"/>
            </a:xfrm>
            <a:custGeom>
              <a:avLst/>
              <a:gdLst>
                <a:gd name="T0" fmla="*/ 14 w 16"/>
                <a:gd name="T1" fmla="*/ 3 h 17"/>
                <a:gd name="T2" fmla="*/ 14 w 16"/>
                <a:gd name="T3" fmla="*/ 14 h 17"/>
                <a:gd name="T4" fmla="*/ 5 w 16"/>
                <a:gd name="T5" fmla="*/ 15 h 17"/>
                <a:gd name="T6" fmla="*/ 0 w 16"/>
                <a:gd name="T7" fmla="*/ 9 h 17"/>
                <a:gd name="T8" fmla="*/ 14 w 16"/>
                <a:gd name="T9" fmla="*/ 3 h 17"/>
              </a:gdLst>
              <a:ahLst/>
              <a:cxnLst>
                <a:cxn ang="0">
                  <a:pos x="T0" y="T1"/>
                </a:cxn>
                <a:cxn ang="0">
                  <a:pos x="T2" y="T3"/>
                </a:cxn>
                <a:cxn ang="0">
                  <a:pos x="T4" y="T5"/>
                </a:cxn>
                <a:cxn ang="0">
                  <a:pos x="T6" y="T7"/>
                </a:cxn>
                <a:cxn ang="0">
                  <a:pos x="T8" y="T9"/>
                </a:cxn>
              </a:cxnLst>
              <a:rect l="0" t="0" r="r" b="b"/>
              <a:pathLst>
                <a:path w="16" h="17">
                  <a:moveTo>
                    <a:pt x="14" y="3"/>
                  </a:moveTo>
                  <a:cubicBezTo>
                    <a:pt x="16" y="8"/>
                    <a:pt x="9" y="11"/>
                    <a:pt x="14" y="14"/>
                  </a:cubicBezTo>
                  <a:cubicBezTo>
                    <a:pt x="14" y="17"/>
                    <a:pt x="8" y="14"/>
                    <a:pt x="5" y="15"/>
                  </a:cubicBezTo>
                  <a:cubicBezTo>
                    <a:pt x="5" y="9"/>
                    <a:pt x="6" y="7"/>
                    <a:pt x="0" y="9"/>
                  </a:cubicBezTo>
                  <a:cubicBezTo>
                    <a:pt x="0" y="2"/>
                    <a:pt x="8" y="0"/>
                    <a:pt x="14" y="3"/>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70" name="Freeform 55">
              <a:extLst>
                <a:ext uri="{FF2B5EF4-FFF2-40B4-BE49-F238E27FC236}">
                  <a16:creationId xmlns:a16="http://schemas.microsoft.com/office/drawing/2014/main" id="{1641484E-D5D0-45C5-9946-EF5016B61FC4}"/>
                </a:ext>
              </a:extLst>
            </p:cNvPr>
            <p:cNvSpPr>
              <a:spLocks/>
            </p:cNvSpPr>
            <p:nvPr/>
          </p:nvSpPr>
          <p:spPr bwMode="auto">
            <a:xfrm>
              <a:off x="3918837" y="2574997"/>
              <a:ext cx="27705" cy="41557"/>
            </a:xfrm>
            <a:custGeom>
              <a:avLst/>
              <a:gdLst>
                <a:gd name="T0" fmla="*/ 9 w 10"/>
                <a:gd name="T1" fmla="*/ 7 h 15"/>
                <a:gd name="T2" fmla="*/ 6 w 10"/>
                <a:gd name="T3" fmla="*/ 15 h 15"/>
                <a:gd name="T4" fmla="*/ 0 w 10"/>
                <a:gd name="T5" fmla="*/ 15 h 15"/>
                <a:gd name="T6" fmla="*/ 2 w 10"/>
                <a:gd name="T7" fmla="*/ 5 h 15"/>
                <a:gd name="T8" fmla="*/ 9 w 10"/>
                <a:gd name="T9" fmla="*/ 7 h 15"/>
              </a:gdLst>
              <a:ahLst/>
              <a:cxnLst>
                <a:cxn ang="0">
                  <a:pos x="T0" y="T1"/>
                </a:cxn>
                <a:cxn ang="0">
                  <a:pos x="T2" y="T3"/>
                </a:cxn>
                <a:cxn ang="0">
                  <a:pos x="T4" y="T5"/>
                </a:cxn>
                <a:cxn ang="0">
                  <a:pos x="T6" y="T7"/>
                </a:cxn>
                <a:cxn ang="0">
                  <a:pos x="T8" y="T9"/>
                </a:cxn>
              </a:cxnLst>
              <a:rect l="0" t="0" r="r" b="b"/>
              <a:pathLst>
                <a:path w="10" h="15">
                  <a:moveTo>
                    <a:pt x="9" y="7"/>
                  </a:moveTo>
                  <a:cubicBezTo>
                    <a:pt x="9" y="11"/>
                    <a:pt x="4" y="9"/>
                    <a:pt x="6" y="15"/>
                  </a:cubicBezTo>
                  <a:cubicBezTo>
                    <a:pt x="4" y="15"/>
                    <a:pt x="2" y="15"/>
                    <a:pt x="0" y="15"/>
                  </a:cubicBezTo>
                  <a:cubicBezTo>
                    <a:pt x="1" y="13"/>
                    <a:pt x="5" y="7"/>
                    <a:pt x="2" y="5"/>
                  </a:cubicBezTo>
                  <a:cubicBezTo>
                    <a:pt x="3" y="2"/>
                    <a:pt x="10" y="0"/>
                    <a:pt x="9" y="7"/>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71" name="Freeform 56">
              <a:extLst>
                <a:ext uri="{FF2B5EF4-FFF2-40B4-BE49-F238E27FC236}">
                  <a16:creationId xmlns:a16="http://schemas.microsoft.com/office/drawing/2014/main" id="{7C1BB9FD-D929-4E41-A046-5953B8AE14AB}"/>
                </a:ext>
              </a:extLst>
            </p:cNvPr>
            <p:cNvSpPr>
              <a:spLocks/>
            </p:cNvSpPr>
            <p:nvPr/>
          </p:nvSpPr>
          <p:spPr bwMode="auto">
            <a:xfrm>
              <a:off x="6149319" y="2594621"/>
              <a:ext cx="16161" cy="13852"/>
            </a:xfrm>
            <a:custGeom>
              <a:avLst/>
              <a:gdLst>
                <a:gd name="T0" fmla="*/ 0 w 6"/>
                <a:gd name="T1" fmla="*/ 2 h 5"/>
                <a:gd name="T2" fmla="*/ 5 w 6"/>
                <a:gd name="T3" fmla="*/ 1 h 5"/>
                <a:gd name="T4" fmla="*/ 4 w 6"/>
                <a:gd name="T5" fmla="*/ 5 h 5"/>
                <a:gd name="T6" fmla="*/ 1 w 6"/>
                <a:gd name="T7" fmla="*/ 5 h 5"/>
                <a:gd name="T8" fmla="*/ 0 w 6"/>
                <a:gd name="T9" fmla="*/ 2 h 5"/>
              </a:gdLst>
              <a:ahLst/>
              <a:cxnLst>
                <a:cxn ang="0">
                  <a:pos x="T0" y="T1"/>
                </a:cxn>
                <a:cxn ang="0">
                  <a:pos x="T2" y="T3"/>
                </a:cxn>
                <a:cxn ang="0">
                  <a:pos x="T4" y="T5"/>
                </a:cxn>
                <a:cxn ang="0">
                  <a:pos x="T6" y="T7"/>
                </a:cxn>
                <a:cxn ang="0">
                  <a:pos x="T8" y="T9"/>
                </a:cxn>
              </a:cxnLst>
              <a:rect l="0" t="0" r="r" b="b"/>
              <a:pathLst>
                <a:path w="6" h="5">
                  <a:moveTo>
                    <a:pt x="0" y="2"/>
                  </a:moveTo>
                  <a:cubicBezTo>
                    <a:pt x="0" y="0"/>
                    <a:pt x="3" y="1"/>
                    <a:pt x="5" y="1"/>
                  </a:cubicBezTo>
                  <a:cubicBezTo>
                    <a:pt x="6" y="3"/>
                    <a:pt x="4" y="3"/>
                    <a:pt x="4" y="5"/>
                  </a:cubicBezTo>
                  <a:cubicBezTo>
                    <a:pt x="3" y="5"/>
                    <a:pt x="2" y="5"/>
                    <a:pt x="1" y="5"/>
                  </a:cubicBezTo>
                  <a:cubicBezTo>
                    <a:pt x="1" y="4"/>
                    <a:pt x="1" y="3"/>
                    <a:pt x="0" y="2"/>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72" name="Freeform 57">
              <a:extLst>
                <a:ext uri="{FF2B5EF4-FFF2-40B4-BE49-F238E27FC236}">
                  <a16:creationId xmlns:a16="http://schemas.microsoft.com/office/drawing/2014/main" id="{6FF73C6B-E226-4765-AA0F-F8A4BF79875E}"/>
                </a:ext>
              </a:extLst>
            </p:cNvPr>
            <p:cNvSpPr>
              <a:spLocks/>
            </p:cNvSpPr>
            <p:nvPr/>
          </p:nvSpPr>
          <p:spPr bwMode="auto">
            <a:xfrm>
              <a:off x="6576437" y="2608474"/>
              <a:ext cx="163921" cy="64645"/>
            </a:xfrm>
            <a:custGeom>
              <a:avLst/>
              <a:gdLst>
                <a:gd name="T0" fmla="*/ 59 w 60"/>
                <a:gd name="T1" fmla="*/ 17 h 24"/>
                <a:gd name="T2" fmla="*/ 46 w 60"/>
                <a:gd name="T3" fmla="*/ 21 h 24"/>
                <a:gd name="T4" fmla="*/ 43 w 60"/>
                <a:gd name="T5" fmla="*/ 14 h 24"/>
                <a:gd name="T6" fmla="*/ 26 w 60"/>
                <a:gd name="T7" fmla="*/ 11 h 24"/>
                <a:gd name="T8" fmla="*/ 25 w 60"/>
                <a:gd name="T9" fmla="*/ 6 h 24"/>
                <a:gd name="T10" fmla="*/ 10 w 60"/>
                <a:gd name="T11" fmla="*/ 6 h 24"/>
                <a:gd name="T12" fmla="*/ 0 w 60"/>
                <a:gd name="T13" fmla="*/ 9 h 24"/>
                <a:gd name="T14" fmla="*/ 6 w 60"/>
                <a:gd name="T15" fmla="*/ 2 h 24"/>
                <a:gd name="T16" fmla="*/ 19 w 60"/>
                <a:gd name="T17" fmla="*/ 0 h 24"/>
                <a:gd name="T18" fmla="*/ 23 w 60"/>
                <a:gd name="T19" fmla="*/ 3 h 24"/>
                <a:gd name="T20" fmla="*/ 28 w 60"/>
                <a:gd name="T21" fmla="*/ 5 h 24"/>
                <a:gd name="T22" fmla="*/ 40 w 60"/>
                <a:gd name="T23" fmla="*/ 6 h 24"/>
                <a:gd name="T24" fmla="*/ 44 w 60"/>
                <a:gd name="T25" fmla="*/ 14 h 24"/>
                <a:gd name="T26" fmla="*/ 49 w 60"/>
                <a:gd name="T27" fmla="*/ 15 h 24"/>
                <a:gd name="T28" fmla="*/ 59 w 60"/>
                <a:gd name="T29" fmla="*/ 17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24">
                  <a:moveTo>
                    <a:pt x="59" y="17"/>
                  </a:moveTo>
                  <a:cubicBezTo>
                    <a:pt x="60" y="24"/>
                    <a:pt x="47" y="16"/>
                    <a:pt x="46" y="21"/>
                  </a:cubicBezTo>
                  <a:cubicBezTo>
                    <a:pt x="43" y="21"/>
                    <a:pt x="45" y="15"/>
                    <a:pt x="43" y="14"/>
                  </a:cubicBezTo>
                  <a:cubicBezTo>
                    <a:pt x="38" y="12"/>
                    <a:pt x="32" y="12"/>
                    <a:pt x="26" y="11"/>
                  </a:cubicBezTo>
                  <a:cubicBezTo>
                    <a:pt x="26" y="10"/>
                    <a:pt x="25" y="8"/>
                    <a:pt x="25" y="6"/>
                  </a:cubicBezTo>
                  <a:cubicBezTo>
                    <a:pt x="19" y="7"/>
                    <a:pt x="15" y="6"/>
                    <a:pt x="10" y="6"/>
                  </a:cubicBezTo>
                  <a:cubicBezTo>
                    <a:pt x="6" y="7"/>
                    <a:pt x="4" y="11"/>
                    <a:pt x="0" y="9"/>
                  </a:cubicBezTo>
                  <a:cubicBezTo>
                    <a:pt x="0" y="5"/>
                    <a:pt x="6" y="7"/>
                    <a:pt x="6" y="2"/>
                  </a:cubicBezTo>
                  <a:cubicBezTo>
                    <a:pt x="10" y="1"/>
                    <a:pt x="17" y="4"/>
                    <a:pt x="19" y="0"/>
                  </a:cubicBezTo>
                  <a:cubicBezTo>
                    <a:pt x="25" y="2"/>
                    <a:pt x="17" y="2"/>
                    <a:pt x="23" y="3"/>
                  </a:cubicBezTo>
                  <a:cubicBezTo>
                    <a:pt x="23" y="3"/>
                    <a:pt x="28" y="5"/>
                    <a:pt x="28" y="5"/>
                  </a:cubicBezTo>
                  <a:cubicBezTo>
                    <a:pt x="29" y="6"/>
                    <a:pt x="34" y="7"/>
                    <a:pt x="40" y="6"/>
                  </a:cubicBezTo>
                  <a:cubicBezTo>
                    <a:pt x="38" y="12"/>
                    <a:pt x="47" y="7"/>
                    <a:pt x="44" y="14"/>
                  </a:cubicBezTo>
                  <a:cubicBezTo>
                    <a:pt x="46" y="12"/>
                    <a:pt x="48" y="12"/>
                    <a:pt x="49" y="15"/>
                  </a:cubicBezTo>
                  <a:cubicBezTo>
                    <a:pt x="52" y="16"/>
                    <a:pt x="58" y="13"/>
                    <a:pt x="59" y="17"/>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73" name="Freeform 58">
              <a:extLst>
                <a:ext uri="{FF2B5EF4-FFF2-40B4-BE49-F238E27FC236}">
                  <a16:creationId xmlns:a16="http://schemas.microsoft.com/office/drawing/2014/main" id="{129095CD-F02D-43BF-8685-7E97E9CCCFD2}"/>
                </a:ext>
              </a:extLst>
            </p:cNvPr>
            <p:cNvSpPr>
              <a:spLocks/>
            </p:cNvSpPr>
            <p:nvPr/>
          </p:nvSpPr>
          <p:spPr bwMode="auto">
            <a:xfrm>
              <a:off x="6770372" y="2665039"/>
              <a:ext cx="68108" cy="38095"/>
            </a:xfrm>
            <a:custGeom>
              <a:avLst/>
              <a:gdLst>
                <a:gd name="T0" fmla="*/ 1 w 25"/>
                <a:gd name="T1" fmla="*/ 0 h 14"/>
                <a:gd name="T2" fmla="*/ 13 w 25"/>
                <a:gd name="T3" fmla="*/ 2 h 14"/>
                <a:gd name="T4" fmla="*/ 19 w 25"/>
                <a:gd name="T5" fmla="*/ 3 h 14"/>
                <a:gd name="T6" fmla="*/ 25 w 25"/>
                <a:gd name="T7" fmla="*/ 6 h 14"/>
                <a:gd name="T8" fmla="*/ 4 w 25"/>
                <a:gd name="T9" fmla="*/ 9 h 14"/>
                <a:gd name="T10" fmla="*/ 7 w 25"/>
                <a:gd name="T11" fmla="*/ 8 h 14"/>
                <a:gd name="T12" fmla="*/ 1 w 25"/>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5" h="14">
                  <a:moveTo>
                    <a:pt x="1" y="0"/>
                  </a:moveTo>
                  <a:cubicBezTo>
                    <a:pt x="4" y="2"/>
                    <a:pt x="9" y="1"/>
                    <a:pt x="13" y="2"/>
                  </a:cubicBezTo>
                  <a:cubicBezTo>
                    <a:pt x="14" y="2"/>
                    <a:pt x="18" y="7"/>
                    <a:pt x="19" y="3"/>
                  </a:cubicBezTo>
                  <a:cubicBezTo>
                    <a:pt x="21" y="4"/>
                    <a:pt x="20" y="8"/>
                    <a:pt x="25" y="6"/>
                  </a:cubicBezTo>
                  <a:cubicBezTo>
                    <a:pt x="24" y="14"/>
                    <a:pt x="9" y="10"/>
                    <a:pt x="4" y="9"/>
                  </a:cubicBezTo>
                  <a:cubicBezTo>
                    <a:pt x="3" y="8"/>
                    <a:pt x="7" y="8"/>
                    <a:pt x="7" y="8"/>
                  </a:cubicBezTo>
                  <a:cubicBezTo>
                    <a:pt x="7" y="5"/>
                    <a:pt x="0" y="5"/>
                    <a:pt x="1" y="0"/>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74" name="Freeform 59">
              <a:extLst>
                <a:ext uri="{FF2B5EF4-FFF2-40B4-BE49-F238E27FC236}">
                  <a16:creationId xmlns:a16="http://schemas.microsoft.com/office/drawing/2014/main" id="{FBD3D856-DD19-4AE5-B079-92234C08D316}"/>
                </a:ext>
              </a:extLst>
            </p:cNvPr>
            <p:cNvSpPr>
              <a:spLocks/>
            </p:cNvSpPr>
            <p:nvPr/>
          </p:nvSpPr>
          <p:spPr bwMode="auto">
            <a:xfrm>
              <a:off x="3728365" y="2670810"/>
              <a:ext cx="32322" cy="24242"/>
            </a:xfrm>
            <a:custGeom>
              <a:avLst/>
              <a:gdLst>
                <a:gd name="T0" fmla="*/ 11 w 12"/>
                <a:gd name="T1" fmla="*/ 0 h 9"/>
                <a:gd name="T2" fmla="*/ 8 w 12"/>
                <a:gd name="T3" fmla="*/ 9 h 9"/>
                <a:gd name="T4" fmla="*/ 0 w 12"/>
                <a:gd name="T5" fmla="*/ 3 h 9"/>
                <a:gd name="T6" fmla="*/ 3 w 12"/>
                <a:gd name="T7" fmla="*/ 0 h 9"/>
                <a:gd name="T8" fmla="*/ 11 w 12"/>
                <a:gd name="T9" fmla="*/ 0 h 9"/>
              </a:gdLst>
              <a:ahLst/>
              <a:cxnLst>
                <a:cxn ang="0">
                  <a:pos x="T0" y="T1"/>
                </a:cxn>
                <a:cxn ang="0">
                  <a:pos x="T2" y="T3"/>
                </a:cxn>
                <a:cxn ang="0">
                  <a:pos x="T4" y="T5"/>
                </a:cxn>
                <a:cxn ang="0">
                  <a:pos x="T6" y="T7"/>
                </a:cxn>
                <a:cxn ang="0">
                  <a:pos x="T8" y="T9"/>
                </a:cxn>
              </a:cxnLst>
              <a:rect l="0" t="0" r="r" b="b"/>
              <a:pathLst>
                <a:path w="12" h="9">
                  <a:moveTo>
                    <a:pt x="11" y="0"/>
                  </a:moveTo>
                  <a:cubicBezTo>
                    <a:pt x="12" y="5"/>
                    <a:pt x="7" y="4"/>
                    <a:pt x="8" y="9"/>
                  </a:cubicBezTo>
                  <a:cubicBezTo>
                    <a:pt x="4" y="8"/>
                    <a:pt x="0" y="7"/>
                    <a:pt x="0" y="3"/>
                  </a:cubicBezTo>
                  <a:cubicBezTo>
                    <a:pt x="3" y="3"/>
                    <a:pt x="3" y="1"/>
                    <a:pt x="3" y="0"/>
                  </a:cubicBezTo>
                  <a:cubicBezTo>
                    <a:pt x="6" y="0"/>
                    <a:pt x="8" y="0"/>
                    <a:pt x="11" y="0"/>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75" name="Freeform 60">
              <a:extLst>
                <a:ext uri="{FF2B5EF4-FFF2-40B4-BE49-F238E27FC236}">
                  <a16:creationId xmlns:a16="http://schemas.microsoft.com/office/drawing/2014/main" id="{E997751C-93D9-45D2-ADC1-591A0533D509}"/>
                </a:ext>
              </a:extLst>
            </p:cNvPr>
            <p:cNvSpPr>
              <a:spLocks/>
            </p:cNvSpPr>
            <p:nvPr/>
          </p:nvSpPr>
          <p:spPr bwMode="auto">
            <a:xfrm>
              <a:off x="6746129" y="2678891"/>
              <a:ext cx="24242" cy="19625"/>
            </a:xfrm>
            <a:custGeom>
              <a:avLst/>
              <a:gdLst>
                <a:gd name="T0" fmla="*/ 7 w 9"/>
                <a:gd name="T1" fmla="*/ 7 h 7"/>
                <a:gd name="T2" fmla="*/ 0 w 9"/>
                <a:gd name="T3" fmla="*/ 6 h 7"/>
                <a:gd name="T4" fmla="*/ 7 w 9"/>
                <a:gd name="T5" fmla="*/ 7 h 7"/>
              </a:gdLst>
              <a:ahLst/>
              <a:cxnLst>
                <a:cxn ang="0">
                  <a:pos x="T0" y="T1"/>
                </a:cxn>
                <a:cxn ang="0">
                  <a:pos x="T2" y="T3"/>
                </a:cxn>
                <a:cxn ang="0">
                  <a:pos x="T4" y="T5"/>
                </a:cxn>
              </a:cxnLst>
              <a:rect l="0" t="0" r="r" b="b"/>
              <a:pathLst>
                <a:path w="9" h="7">
                  <a:moveTo>
                    <a:pt x="7" y="7"/>
                  </a:moveTo>
                  <a:cubicBezTo>
                    <a:pt x="6" y="6"/>
                    <a:pt x="3" y="5"/>
                    <a:pt x="0" y="6"/>
                  </a:cubicBezTo>
                  <a:cubicBezTo>
                    <a:pt x="1" y="3"/>
                    <a:pt x="9" y="0"/>
                    <a:pt x="7" y="7"/>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76" name="Freeform 61">
              <a:extLst>
                <a:ext uri="{FF2B5EF4-FFF2-40B4-BE49-F238E27FC236}">
                  <a16:creationId xmlns:a16="http://schemas.microsoft.com/office/drawing/2014/main" id="{DDB1266D-B943-41F2-A35C-E31C77C00812}"/>
                </a:ext>
              </a:extLst>
            </p:cNvPr>
            <p:cNvSpPr>
              <a:spLocks/>
            </p:cNvSpPr>
            <p:nvPr/>
          </p:nvSpPr>
          <p:spPr bwMode="auto">
            <a:xfrm>
              <a:off x="6678022" y="2684663"/>
              <a:ext cx="30014" cy="18470"/>
            </a:xfrm>
            <a:custGeom>
              <a:avLst/>
              <a:gdLst>
                <a:gd name="T0" fmla="*/ 1 w 11"/>
                <a:gd name="T1" fmla="*/ 2 h 7"/>
                <a:gd name="T2" fmla="*/ 10 w 11"/>
                <a:gd name="T3" fmla="*/ 5 h 7"/>
                <a:gd name="T4" fmla="*/ 1 w 11"/>
                <a:gd name="T5" fmla="*/ 2 h 7"/>
              </a:gdLst>
              <a:ahLst/>
              <a:cxnLst>
                <a:cxn ang="0">
                  <a:pos x="T0" y="T1"/>
                </a:cxn>
                <a:cxn ang="0">
                  <a:pos x="T2" y="T3"/>
                </a:cxn>
                <a:cxn ang="0">
                  <a:pos x="T4" y="T5"/>
                </a:cxn>
              </a:cxnLst>
              <a:rect l="0" t="0" r="r" b="b"/>
              <a:pathLst>
                <a:path w="11" h="7">
                  <a:moveTo>
                    <a:pt x="1" y="2"/>
                  </a:moveTo>
                  <a:cubicBezTo>
                    <a:pt x="4" y="3"/>
                    <a:pt x="11" y="0"/>
                    <a:pt x="10" y="5"/>
                  </a:cubicBezTo>
                  <a:cubicBezTo>
                    <a:pt x="7" y="4"/>
                    <a:pt x="0" y="7"/>
                    <a:pt x="1" y="2"/>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77" name="Freeform 62">
              <a:extLst>
                <a:ext uri="{FF2B5EF4-FFF2-40B4-BE49-F238E27FC236}">
                  <a16:creationId xmlns:a16="http://schemas.microsoft.com/office/drawing/2014/main" id="{45583EE1-FB66-48A9-B5A9-02F6D130B108}"/>
                </a:ext>
              </a:extLst>
            </p:cNvPr>
            <p:cNvSpPr>
              <a:spLocks/>
            </p:cNvSpPr>
            <p:nvPr/>
          </p:nvSpPr>
          <p:spPr bwMode="auto">
            <a:xfrm>
              <a:off x="3910756" y="2695052"/>
              <a:ext cx="43866" cy="76189"/>
            </a:xfrm>
            <a:custGeom>
              <a:avLst/>
              <a:gdLst>
                <a:gd name="T0" fmla="*/ 8 w 16"/>
                <a:gd name="T1" fmla="*/ 0 h 28"/>
                <a:gd name="T2" fmla="*/ 14 w 16"/>
                <a:gd name="T3" fmla="*/ 0 h 28"/>
                <a:gd name="T4" fmla="*/ 16 w 16"/>
                <a:gd name="T5" fmla="*/ 10 h 28"/>
                <a:gd name="T6" fmla="*/ 12 w 16"/>
                <a:gd name="T7" fmla="*/ 14 h 28"/>
                <a:gd name="T8" fmla="*/ 11 w 16"/>
                <a:gd name="T9" fmla="*/ 19 h 28"/>
                <a:gd name="T10" fmla="*/ 9 w 16"/>
                <a:gd name="T11" fmla="*/ 26 h 28"/>
                <a:gd name="T12" fmla="*/ 5 w 16"/>
                <a:gd name="T13" fmla="*/ 22 h 28"/>
                <a:gd name="T14" fmla="*/ 0 w 16"/>
                <a:gd name="T15" fmla="*/ 16 h 28"/>
                <a:gd name="T16" fmla="*/ 3 w 16"/>
                <a:gd name="T17" fmla="*/ 7 h 28"/>
                <a:gd name="T18" fmla="*/ 8 w 16"/>
                <a:gd name="T1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28">
                  <a:moveTo>
                    <a:pt x="8" y="0"/>
                  </a:moveTo>
                  <a:cubicBezTo>
                    <a:pt x="10" y="0"/>
                    <a:pt x="12" y="0"/>
                    <a:pt x="14" y="0"/>
                  </a:cubicBezTo>
                  <a:cubicBezTo>
                    <a:pt x="15" y="2"/>
                    <a:pt x="15" y="7"/>
                    <a:pt x="16" y="10"/>
                  </a:cubicBezTo>
                  <a:cubicBezTo>
                    <a:pt x="14" y="10"/>
                    <a:pt x="15" y="15"/>
                    <a:pt x="12" y="14"/>
                  </a:cubicBezTo>
                  <a:cubicBezTo>
                    <a:pt x="12" y="16"/>
                    <a:pt x="12" y="19"/>
                    <a:pt x="11" y="19"/>
                  </a:cubicBezTo>
                  <a:cubicBezTo>
                    <a:pt x="10" y="21"/>
                    <a:pt x="12" y="26"/>
                    <a:pt x="9" y="26"/>
                  </a:cubicBezTo>
                  <a:cubicBezTo>
                    <a:pt x="4" y="28"/>
                    <a:pt x="8" y="22"/>
                    <a:pt x="5" y="22"/>
                  </a:cubicBezTo>
                  <a:cubicBezTo>
                    <a:pt x="3" y="22"/>
                    <a:pt x="2" y="18"/>
                    <a:pt x="0" y="16"/>
                  </a:cubicBezTo>
                  <a:cubicBezTo>
                    <a:pt x="0" y="12"/>
                    <a:pt x="5" y="13"/>
                    <a:pt x="3" y="7"/>
                  </a:cubicBezTo>
                  <a:cubicBezTo>
                    <a:pt x="7" y="11"/>
                    <a:pt x="7" y="3"/>
                    <a:pt x="8" y="0"/>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78" name="Freeform 63">
              <a:extLst>
                <a:ext uri="{FF2B5EF4-FFF2-40B4-BE49-F238E27FC236}">
                  <a16:creationId xmlns:a16="http://schemas.microsoft.com/office/drawing/2014/main" id="{C09E97DA-C67B-4390-B8F0-C26DA32F31D1}"/>
                </a:ext>
              </a:extLst>
            </p:cNvPr>
            <p:cNvSpPr>
              <a:spLocks/>
            </p:cNvSpPr>
            <p:nvPr/>
          </p:nvSpPr>
          <p:spPr bwMode="auto">
            <a:xfrm>
              <a:off x="3954622" y="2760851"/>
              <a:ext cx="62336" cy="62336"/>
            </a:xfrm>
            <a:custGeom>
              <a:avLst/>
              <a:gdLst>
                <a:gd name="T0" fmla="*/ 12 w 23"/>
                <a:gd name="T1" fmla="*/ 2 h 23"/>
                <a:gd name="T2" fmla="*/ 17 w 23"/>
                <a:gd name="T3" fmla="*/ 7 h 23"/>
                <a:gd name="T4" fmla="*/ 15 w 23"/>
                <a:gd name="T5" fmla="*/ 8 h 23"/>
                <a:gd name="T6" fmla="*/ 17 w 23"/>
                <a:gd name="T7" fmla="*/ 11 h 23"/>
                <a:gd name="T8" fmla="*/ 23 w 23"/>
                <a:gd name="T9" fmla="*/ 18 h 23"/>
                <a:gd name="T10" fmla="*/ 20 w 23"/>
                <a:gd name="T11" fmla="*/ 23 h 23"/>
                <a:gd name="T12" fmla="*/ 15 w 23"/>
                <a:gd name="T13" fmla="*/ 23 h 23"/>
                <a:gd name="T14" fmla="*/ 8 w 23"/>
                <a:gd name="T15" fmla="*/ 16 h 23"/>
                <a:gd name="T16" fmla="*/ 11 w 23"/>
                <a:gd name="T17" fmla="*/ 13 h 23"/>
                <a:gd name="T18" fmla="*/ 0 w 23"/>
                <a:gd name="T19" fmla="*/ 4 h 23"/>
                <a:gd name="T20" fmla="*/ 12 w 23"/>
                <a:gd name="T21"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3">
                  <a:moveTo>
                    <a:pt x="12" y="2"/>
                  </a:moveTo>
                  <a:cubicBezTo>
                    <a:pt x="8" y="7"/>
                    <a:pt x="16" y="5"/>
                    <a:pt x="17" y="7"/>
                  </a:cubicBezTo>
                  <a:cubicBezTo>
                    <a:pt x="18" y="8"/>
                    <a:pt x="15" y="8"/>
                    <a:pt x="15" y="8"/>
                  </a:cubicBezTo>
                  <a:cubicBezTo>
                    <a:pt x="15" y="8"/>
                    <a:pt x="17" y="11"/>
                    <a:pt x="17" y="11"/>
                  </a:cubicBezTo>
                  <a:cubicBezTo>
                    <a:pt x="18" y="14"/>
                    <a:pt x="23" y="14"/>
                    <a:pt x="23" y="18"/>
                  </a:cubicBezTo>
                  <a:cubicBezTo>
                    <a:pt x="20" y="18"/>
                    <a:pt x="20" y="21"/>
                    <a:pt x="20" y="23"/>
                  </a:cubicBezTo>
                  <a:cubicBezTo>
                    <a:pt x="19" y="22"/>
                    <a:pt x="16" y="21"/>
                    <a:pt x="15" y="23"/>
                  </a:cubicBezTo>
                  <a:cubicBezTo>
                    <a:pt x="11" y="22"/>
                    <a:pt x="12" y="16"/>
                    <a:pt x="8" y="16"/>
                  </a:cubicBezTo>
                  <a:cubicBezTo>
                    <a:pt x="8" y="14"/>
                    <a:pt x="11" y="15"/>
                    <a:pt x="11" y="13"/>
                  </a:cubicBezTo>
                  <a:cubicBezTo>
                    <a:pt x="7" y="10"/>
                    <a:pt x="5" y="6"/>
                    <a:pt x="0" y="4"/>
                  </a:cubicBezTo>
                  <a:cubicBezTo>
                    <a:pt x="4" y="0"/>
                    <a:pt x="7" y="2"/>
                    <a:pt x="12" y="2"/>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79" name="Freeform 64">
              <a:extLst>
                <a:ext uri="{FF2B5EF4-FFF2-40B4-BE49-F238E27FC236}">
                  <a16:creationId xmlns:a16="http://schemas.microsoft.com/office/drawing/2014/main" id="{7CFA2721-B9FD-4EC3-A9CE-0887188472B2}"/>
                </a:ext>
              </a:extLst>
            </p:cNvPr>
            <p:cNvSpPr>
              <a:spLocks/>
            </p:cNvSpPr>
            <p:nvPr/>
          </p:nvSpPr>
          <p:spPr bwMode="auto">
            <a:xfrm>
              <a:off x="3932689" y="2787402"/>
              <a:ext cx="11544" cy="9235"/>
            </a:xfrm>
            <a:custGeom>
              <a:avLst/>
              <a:gdLst>
                <a:gd name="T0" fmla="*/ 0 w 4"/>
                <a:gd name="T1" fmla="*/ 0 h 3"/>
                <a:gd name="T2" fmla="*/ 4 w 4"/>
                <a:gd name="T3" fmla="*/ 0 h 3"/>
                <a:gd name="T4" fmla="*/ 4 w 4"/>
                <a:gd name="T5" fmla="*/ 3 h 3"/>
                <a:gd name="T6" fmla="*/ 0 w 4"/>
                <a:gd name="T7" fmla="*/ 3 h 3"/>
                <a:gd name="T8" fmla="*/ 0 w 4"/>
                <a:gd name="T9" fmla="*/ 0 h 3"/>
              </a:gdLst>
              <a:ahLst/>
              <a:cxnLst>
                <a:cxn ang="0">
                  <a:pos x="T0" y="T1"/>
                </a:cxn>
                <a:cxn ang="0">
                  <a:pos x="T2" y="T3"/>
                </a:cxn>
                <a:cxn ang="0">
                  <a:pos x="T4" y="T5"/>
                </a:cxn>
                <a:cxn ang="0">
                  <a:pos x="T6" y="T7"/>
                </a:cxn>
                <a:cxn ang="0">
                  <a:pos x="T8" y="T9"/>
                </a:cxn>
              </a:cxnLst>
              <a:rect l="0" t="0" r="r" b="b"/>
              <a:pathLst>
                <a:path w="4" h="3">
                  <a:moveTo>
                    <a:pt x="0" y="0"/>
                  </a:moveTo>
                  <a:cubicBezTo>
                    <a:pt x="1" y="0"/>
                    <a:pt x="3" y="0"/>
                    <a:pt x="4" y="0"/>
                  </a:cubicBezTo>
                  <a:cubicBezTo>
                    <a:pt x="4" y="1"/>
                    <a:pt x="4" y="2"/>
                    <a:pt x="4" y="3"/>
                  </a:cubicBezTo>
                  <a:cubicBezTo>
                    <a:pt x="3" y="3"/>
                    <a:pt x="1" y="3"/>
                    <a:pt x="0" y="3"/>
                  </a:cubicBezTo>
                  <a:cubicBezTo>
                    <a:pt x="0" y="2"/>
                    <a:pt x="0" y="1"/>
                    <a:pt x="0" y="0"/>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80" name="Freeform 65">
              <a:extLst>
                <a:ext uri="{FF2B5EF4-FFF2-40B4-BE49-F238E27FC236}">
                  <a16:creationId xmlns:a16="http://schemas.microsoft.com/office/drawing/2014/main" id="{ADF2F0ED-0D70-4796-8F9E-2C920C6E8925}"/>
                </a:ext>
              </a:extLst>
            </p:cNvPr>
            <p:cNvSpPr>
              <a:spLocks/>
            </p:cNvSpPr>
            <p:nvPr/>
          </p:nvSpPr>
          <p:spPr bwMode="auto">
            <a:xfrm>
              <a:off x="3952313" y="2798946"/>
              <a:ext cx="32322" cy="48484"/>
            </a:xfrm>
            <a:custGeom>
              <a:avLst/>
              <a:gdLst>
                <a:gd name="T0" fmla="*/ 12 w 12"/>
                <a:gd name="T1" fmla="*/ 15 h 18"/>
                <a:gd name="T2" fmla="*/ 4 w 12"/>
                <a:gd name="T3" fmla="*/ 16 h 18"/>
                <a:gd name="T4" fmla="*/ 0 w 12"/>
                <a:gd name="T5" fmla="*/ 9 h 18"/>
                <a:gd name="T6" fmla="*/ 12 w 12"/>
                <a:gd name="T7" fmla="*/ 15 h 18"/>
              </a:gdLst>
              <a:ahLst/>
              <a:cxnLst>
                <a:cxn ang="0">
                  <a:pos x="T0" y="T1"/>
                </a:cxn>
                <a:cxn ang="0">
                  <a:pos x="T2" y="T3"/>
                </a:cxn>
                <a:cxn ang="0">
                  <a:pos x="T4" y="T5"/>
                </a:cxn>
                <a:cxn ang="0">
                  <a:pos x="T6" y="T7"/>
                </a:cxn>
              </a:cxnLst>
              <a:rect l="0" t="0" r="r" b="b"/>
              <a:pathLst>
                <a:path w="12" h="18">
                  <a:moveTo>
                    <a:pt x="12" y="15"/>
                  </a:moveTo>
                  <a:cubicBezTo>
                    <a:pt x="12" y="18"/>
                    <a:pt x="7" y="16"/>
                    <a:pt x="4" y="16"/>
                  </a:cubicBezTo>
                  <a:cubicBezTo>
                    <a:pt x="4" y="12"/>
                    <a:pt x="6" y="7"/>
                    <a:pt x="0" y="9"/>
                  </a:cubicBezTo>
                  <a:cubicBezTo>
                    <a:pt x="6" y="0"/>
                    <a:pt x="5" y="16"/>
                    <a:pt x="12" y="15"/>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81" name="Freeform 66">
              <a:extLst>
                <a:ext uri="{FF2B5EF4-FFF2-40B4-BE49-F238E27FC236}">
                  <a16:creationId xmlns:a16="http://schemas.microsoft.com/office/drawing/2014/main" id="{12906FA6-2157-4F5A-9374-AC8FB63171A5}"/>
                </a:ext>
              </a:extLst>
            </p:cNvPr>
            <p:cNvSpPr>
              <a:spLocks/>
            </p:cNvSpPr>
            <p:nvPr/>
          </p:nvSpPr>
          <p:spPr bwMode="auto">
            <a:xfrm>
              <a:off x="3253918" y="2839348"/>
              <a:ext cx="35786" cy="60027"/>
            </a:xfrm>
            <a:custGeom>
              <a:avLst/>
              <a:gdLst>
                <a:gd name="T0" fmla="*/ 3 w 13"/>
                <a:gd name="T1" fmla="*/ 1 h 22"/>
                <a:gd name="T2" fmla="*/ 7 w 13"/>
                <a:gd name="T3" fmla="*/ 6 h 22"/>
                <a:gd name="T4" fmla="*/ 9 w 13"/>
                <a:gd name="T5" fmla="*/ 7 h 22"/>
                <a:gd name="T6" fmla="*/ 11 w 13"/>
                <a:gd name="T7" fmla="*/ 10 h 22"/>
                <a:gd name="T8" fmla="*/ 10 w 13"/>
                <a:gd name="T9" fmla="*/ 12 h 22"/>
                <a:gd name="T10" fmla="*/ 11 w 13"/>
                <a:gd name="T11" fmla="*/ 19 h 22"/>
                <a:gd name="T12" fmla="*/ 9 w 13"/>
                <a:gd name="T13" fmla="*/ 22 h 22"/>
                <a:gd name="T14" fmla="*/ 3 w 13"/>
                <a:gd name="T15" fmla="*/ 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22">
                  <a:moveTo>
                    <a:pt x="3" y="1"/>
                  </a:moveTo>
                  <a:cubicBezTo>
                    <a:pt x="6" y="0"/>
                    <a:pt x="6" y="5"/>
                    <a:pt x="7" y="6"/>
                  </a:cubicBezTo>
                  <a:cubicBezTo>
                    <a:pt x="8" y="7"/>
                    <a:pt x="8" y="6"/>
                    <a:pt x="9" y="7"/>
                  </a:cubicBezTo>
                  <a:cubicBezTo>
                    <a:pt x="9" y="9"/>
                    <a:pt x="11" y="9"/>
                    <a:pt x="11" y="10"/>
                  </a:cubicBezTo>
                  <a:cubicBezTo>
                    <a:pt x="12" y="12"/>
                    <a:pt x="10" y="11"/>
                    <a:pt x="10" y="12"/>
                  </a:cubicBezTo>
                  <a:cubicBezTo>
                    <a:pt x="10" y="13"/>
                    <a:pt x="13" y="15"/>
                    <a:pt x="11" y="19"/>
                  </a:cubicBezTo>
                  <a:cubicBezTo>
                    <a:pt x="9" y="19"/>
                    <a:pt x="9" y="20"/>
                    <a:pt x="9" y="22"/>
                  </a:cubicBezTo>
                  <a:cubicBezTo>
                    <a:pt x="0" y="19"/>
                    <a:pt x="1" y="11"/>
                    <a:pt x="3" y="1"/>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82" name="Freeform 67">
              <a:extLst>
                <a:ext uri="{FF2B5EF4-FFF2-40B4-BE49-F238E27FC236}">
                  <a16:creationId xmlns:a16="http://schemas.microsoft.com/office/drawing/2014/main" id="{C6AB71E9-EB56-4FA0-836B-BD3A48CB66D4}"/>
                </a:ext>
              </a:extLst>
            </p:cNvPr>
            <p:cNvSpPr>
              <a:spLocks/>
            </p:cNvSpPr>
            <p:nvPr/>
          </p:nvSpPr>
          <p:spPr bwMode="auto">
            <a:xfrm>
              <a:off x="3982327" y="2842812"/>
              <a:ext cx="42712" cy="64645"/>
            </a:xfrm>
            <a:custGeom>
              <a:avLst/>
              <a:gdLst>
                <a:gd name="T0" fmla="*/ 13 w 16"/>
                <a:gd name="T1" fmla="*/ 0 h 24"/>
                <a:gd name="T2" fmla="*/ 16 w 16"/>
                <a:gd name="T3" fmla="*/ 12 h 24"/>
                <a:gd name="T4" fmla="*/ 11 w 16"/>
                <a:gd name="T5" fmla="*/ 14 h 24"/>
                <a:gd name="T6" fmla="*/ 11 w 16"/>
                <a:gd name="T7" fmla="*/ 24 h 24"/>
                <a:gd name="T8" fmla="*/ 4 w 16"/>
                <a:gd name="T9" fmla="*/ 20 h 24"/>
                <a:gd name="T10" fmla="*/ 5 w 16"/>
                <a:gd name="T11" fmla="*/ 14 h 24"/>
                <a:gd name="T12" fmla="*/ 5 w 16"/>
                <a:gd name="T13" fmla="*/ 11 h 24"/>
                <a:gd name="T14" fmla="*/ 4 w 16"/>
                <a:gd name="T15" fmla="*/ 11 h 24"/>
                <a:gd name="T16" fmla="*/ 7 w 16"/>
                <a:gd name="T17" fmla="*/ 6 h 24"/>
                <a:gd name="T18" fmla="*/ 10 w 16"/>
                <a:gd name="T19" fmla="*/ 2 h 24"/>
                <a:gd name="T20" fmla="*/ 13 w 16"/>
                <a:gd name="T2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4">
                  <a:moveTo>
                    <a:pt x="13" y="0"/>
                  </a:moveTo>
                  <a:cubicBezTo>
                    <a:pt x="13" y="5"/>
                    <a:pt x="12" y="11"/>
                    <a:pt x="16" y="12"/>
                  </a:cubicBezTo>
                  <a:cubicBezTo>
                    <a:pt x="15" y="14"/>
                    <a:pt x="13" y="13"/>
                    <a:pt x="11" y="14"/>
                  </a:cubicBezTo>
                  <a:cubicBezTo>
                    <a:pt x="14" y="16"/>
                    <a:pt x="10" y="19"/>
                    <a:pt x="11" y="24"/>
                  </a:cubicBezTo>
                  <a:cubicBezTo>
                    <a:pt x="7" y="24"/>
                    <a:pt x="8" y="20"/>
                    <a:pt x="4" y="20"/>
                  </a:cubicBezTo>
                  <a:cubicBezTo>
                    <a:pt x="3" y="17"/>
                    <a:pt x="5" y="16"/>
                    <a:pt x="5" y="14"/>
                  </a:cubicBezTo>
                  <a:cubicBezTo>
                    <a:pt x="5" y="12"/>
                    <a:pt x="3" y="11"/>
                    <a:pt x="5" y="11"/>
                  </a:cubicBezTo>
                  <a:cubicBezTo>
                    <a:pt x="5" y="9"/>
                    <a:pt x="4" y="10"/>
                    <a:pt x="4" y="11"/>
                  </a:cubicBezTo>
                  <a:cubicBezTo>
                    <a:pt x="0" y="10"/>
                    <a:pt x="4" y="5"/>
                    <a:pt x="7" y="6"/>
                  </a:cubicBezTo>
                  <a:cubicBezTo>
                    <a:pt x="7" y="4"/>
                    <a:pt x="9" y="3"/>
                    <a:pt x="10" y="2"/>
                  </a:cubicBezTo>
                  <a:cubicBezTo>
                    <a:pt x="11" y="1"/>
                    <a:pt x="11" y="0"/>
                    <a:pt x="13" y="0"/>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83" name="Freeform 68">
              <a:extLst>
                <a:ext uri="{FF2B5EF4-FFF2-40B4-BE49-F238E27FC236}">
                  <a16:creationId xmlns:a16="http://schemas.microsoft.com/office/drawing/2014/main" id="{852D602E-088D-49F1-86CD-5E10ED756D95}"/>
                </a:ext>
              </a:extLst>
            </p:cNvPr>
            <p:cNvSpPr>
              <a:spLocks/>
            </p:cNvSpPr>
            <p:nvPr/>
          </p:nvSpPr>
          <p:spPr bwMode="auto">
            <a:xfrm>
              <a:off x="3948850" y="2856664"/>
              <a:ext cx="33477" cy="26551"/>
            </a:xfrm>
            <a:custGeom>
              <a:avLst/>
              <a:gdLst>
                <a:gd name="T0" fmla="*/ 7 w 12"/>
                <a:gd name="T1" fmla="*/ 0 h 10"/>
                <a:gd name="T2" fmla="*/ 11 w 12"/>
                <a:gd name="T3" fmla="*/ 4 h 10"/>
                <a:gd name="T4" fmla="*/ 10 w 12"/>
                <a:gd name="T5" fmla="*/ 6 h 10"/>
                <a:gd name="T6" fmla="*/ 1 w 12"/>
                <a:gd name="T7" fmla="*/ 10 h 10"/>
                <a:gd name="T8" fmla="*/ 7 w 12"/>
                <a:gd name="T9" fmla="*/ 0 h 10"/>
              </a:gdLst>
              <a:ahLst/>
              <a:cxnLst>
                <a:cxn ang="0">
                  <a:pos x="T0" y="T1"/>
                </a:cxn>
                <a:cxn ang="0">
                  <a:pos x="T2" y="T3"/>
                </a:cxn>
                <a:cxn ang="0">
                  <a:pos x="T4" y="T5"/>
                </a:cxn>
                <a:cxn ang="0">
                  <a:pos x="T6" y="T7"/>
                </a:cxn>
                <a:cxn ang="0">
                  <a:pos x="T8" y="T9"/>
                </a:cxn>
              </a:cxnLst>
              <a:rect l="0" t="0" r="r" b="b"/>
              <a:pathLst>
                <a:path w="12" h="10">
                  <a:moveTo>
                    <a:pt x="7" y="0"/>
                  </a:moveTo>
                  <a:cubicBezTo>
                    <a:pt x="10" y="0"/>
                    <a:pt x="12" y="1"/>
                    <a:pt x="11" y="4"/>
                  </a:cubicBezTo>
                  <a:cubicBezTo>
                    <a:pt x="9" y="4"/>
                    <a:pt x="8" y="6"/>
                    <a:pt x="10" y="6"/>
                  </a:cubicBezTo>
                  <a:cubicBezTo>
                    <a:pt x="9" y="7"/>
                    <a:pt x="4" y="9"/>
                    <a:pt x="1" y="10"/>
                  </a:cubicBezTo>
                  <a:cubicBezTo>
                    <a:pt x="0" y="4"/>
                    <a:pt x="7" y="6"/>
                    <a:pt x="7" y="0"/>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84" name="Freeform 69">
              <a:extLst>
                <a:ext uri="{FF2B5EF4-FFF2-40B4-BE49-F238E27FC236}">
                  <a16:creationId xmlns:a16="http://schemas.microsoft.com/office/drawing/2014/main" id="{B31E18E8-1312-4FDE-893C-413210B8E17B}"/>
                </a:ext>
              </a:extLst>
            </p:cNvPr>
            <p:cNvSpPr>
              <a:spLocks/>
            </p:cNvSpPr>
            <p:nvPr/>
          </p:nvSpPr>
          <p:spPr bwMode="auto">
            <a:xfrm>
              <a:off x="4042354" y="2959403"/>
              <a:ext cx="18470" cy="41557"/>
            </a:xfrm>
            <a:custGeom>
              <a:avLst/>
              <a:gdLst>
                <a:gd name="T0" fmla="*/ 1 w 7"/>
                <a:gd name="T1" fmla="*/ 0 h 15"/>
                <a:gd name="T2" fmla="*/ 7 w 7"/>
                <a:gd name="T3" fmla="*/ 5 h 15"/>
                <a:gd name="T4" fmla="*/ 0 w 7"/>
                <a:gd name="T5" fmla="*/ 14 h 15"/>
                <a:gd name="T6" fmla="*/ 3 w 7"/>
                <a:gd name="T7" fmla="*/ 12 h 15"/>
                <a:gd name="T8" fmla="*/ 1 w 7"/>
                <a:gd name="T9" fmla="*/ 0 h 15"/>
              </a:gdLst>
              <a:ahLst/>
              <a:cxnLst>
                <a:cxn ang="0">
                  <a:pos x="T0" y="T1"/>
                </a:cxn>
                <a:cxn ang="0">
                  <a:pos x="T2" y="T3"/>
                </a:cxn>
                <a:cxn ang="0">
                  <a:pos x="T4" y="T5"/>
                </a:cxn>
                <a:cxn ang="0">
                  <a:pos x="T6" y="T7"/>
                </a:cxn>
                <a:cxn ang="0">
                  <a:pos x="T8" y="T9"/>
                </a:cxn>
              </a:cxnLst>
              <a:rect l="0" t="0" r="r" b="b"/>
              <a:pathLst>
                <a:path w="7" h="15">
                  <a:moveTo>
                    <a:pt x="1" y="0"/>
                  </a:moveTo>
                  <a:cubicBezTo>
                    <a:pt x="5" y="0"/>
                    <a:pt x="2" y="6"/>
                    <a:pt x="7" y="5"/>
                  </a:cubicBezTo>
                  <a:cubicBezTo>
                    <a:pt x="6" y="9"/>
                    <a:pt x="6" y="15"/>
                    <a:pt x="0" y="14"/>
                  </a:cubicBezTo>
                  <a:cubicBezTo>
                    <a:pt x="0" y="12"/>
                    <a:pt x="1" y="13"/>
                    <a:pt x="3" y="12"/>
                  </a:cubicBezTo>
                  <a:cubicBezTo>
                    <a:pt x="0" y="7"/>
                    <a:pt x="0" y="8"/>
                    <a:pt x="1" y="0"/>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85" name="Freeform 70">
              <a:extLst>
                <a:ext uri="{FF2B5EF4-FFF2-40B4-BE49-F238E27FC236}">
                  <a16:creationId xmlns:a16="http://schemas.microsoft.com/office/drawing/2014/main" id="{8165C9BD-EAC0-42CD-A487-F734A2C6D669}"/>
                </a:ext>
              </a:extLst>
            </p:cNvPr>
            <p:cNvSpPr>
              <a:spLocks/>
            </p:cNvSpPr>
            <p:nvPr/>
          </p:nvSpPr>
          <p:spPr bwMode="auto">
            <a:xfrm>
              <a:off x="3916528" y="2970947"/>
              <a:ext cx="81961" cy="26551"/>
            </a:xfrm>
            <a:custGeom>
              <a:avLst/>
              <a:gdLst>
                <a:gd name="T0" fmla="*/ 29 w 30"/>
                <a:gd name="T1" fmla="*/ 4 h 10"/>
                <a:gd name="T2" fmla="*/ 20 w 30"/>
                <a:gd name="T3" fmla="*/ 8 h 10"/>
                <a:gd name="T4" fmla="*/ 0 w 30"/>
                <a:gd name="T5" fmla="*/ 10 h 10"/>
                <a:gd name="T6" fmla="*/ 25 w 30"/>
                <a:gd name="T7" fmla="*/ 2 h 10"/>
                <a:gd name="T8" fmla="*/ 29 w 30"/>
                <a:gd name="T9" fmla="*/ 4 h 10"/>
              </a:gdLst>
              <a:ahLst/>
              <a:cxnLst>
                <a:cxn ang="0">
                  <a:pos x="T0" y="T1"/>
                </a:cxn>
                <a:cxn ang="0">
                  <a:pos x="T2" y="T3"/>
                </a:cxn>
                <a:cxn ang="0">
                  <a:pos x="T4" y="T5"/>
                </a:cxn>
                <a:cxn ang="0">
                  <a:pos x="T6" y="T7"/>
                </a:cxn>
                <a:cxn ang="0">
                  <a:pos x="T8" y="T9"/>
                </a:cxn>
              </a:cxnLst>
              <a:rect l="0" t="0" r="r" b="b"/>
              <a:pathLst>
                <a:path w="30" h="10">
                  <a:moveTo>
                    <a:pt x="29" y="4"/>
                  </a:moveTo>
                  <a:cubicBezTo>
                    <a:pt x="30" y="8"/>
                    <a:pt x="24" y="8"/>
                    <a:pt x="20" y="8"/>
                  </a:cubicBezTo>
                  <a:cubicBezTo>
                    <a:pt x="14" y="9"/>
                    <a:pt x="5" y="7"/>
                    <a:pt x="0" y="10"/>
                  </a:cubicBezTo>
                  <a:cubicBezTo>
                    <a:pt x="1" y="0"/>
                    <a:pt x="21" y="10"/>
                    <a:pt x="25" y="2"/>
                  </a:cubicBezTo>
                  <a:cubicBezTo>
                    <a:pt x="26" y="3"/>
                    <a:pt x="27" y="4"/>
                    <a:pt x="29" y="4"/>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86" name="Freeform 71">
              <a:extLst>
                <a:ext uri="{FF2B5EF4-FFF2-40B4-BE49-F238E27FC236}">
                  <a16:creationId xmlns:a16="http://schemas.microsoft.com/office/drawing/2014/main" id="{063AB42B-1C8B-4E41-9FDF-5ABE1BE468C0}"/>
                </a:ext>
              </a:extLst>
            </p:cNvPr>
            <p:cNvSpPr>
              <a:spLocks/>
            </p:cNvSpPr>
            <p:nvPr/>
          </p:nvSpPr>
          <p:spPr bwMode="auto">
            <a:xfrm>
              <a:off x="4093147" y="3003269"/>
              <a:ext cx="51947" cy="32322"/>
            </a:xfrm>
            <a:custGeom>
              <a:avLst/>
              <a:gdLst>
                <a:gd name="T0" fmla="*/ 19 w 19"/>
                <a:gd name="T1" fmla="*/ 8 h 12"/>
                <a:gd name="T2" fmla="*/ 16 w 19"/>
                <a:gd name="T3" fmla="*/ 11 h 12"/>
                <a:gd name="T4" fmla="*/ 7 w 19"/>
                <a:gd name="T5" fmla="*/ 11 h 12"/>
                <a:gd name="T6" fmla="*/ 6 w 19"/>
                <a:gd name="T7" fmla="*/ 10 h 12"/>
                <a:gd name="T8" fmla="*/ 0 w 19"/>
                <a:gd name="T9" fmla="*/ 5 h 12"/>
                <a:gd name="T10" fmla="*/ 7 w 19"/>
                <a:gd name="T11" fmla="*/ 2 h 12"/>
                <a:gd name="T12" fmla="*/ 12 w 19"/>
                <a:gd name="T13" fmla="*/ 1 h 12"/>
                <a:gd name="T14" fmla="*/ 12 w 19"/>
                <a:gd name="T15" fmla="*/ 2 h 12"/>
                <a:gd name="T16" fmla="*/ 13 w 19"/>
                <a:gd name="T17" fmla="*/ 1 h 12"/>
                <a:gd name="T18" fmla="*/ 19 w 19"/>
                <a:gd name="T19"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12">
                  <a:moveTo>
                    <a:pt x="19" y="8"/>
                  </a:moveTo>
                  <a:cubicBezTo>
                    <a:pt x="18" y="9"/>
                    <a:pt x="17" y="9"/>
                    <a:pt x="16" y="11"/>
                  </a:cubicBezTo>
                  <a:cubicBezTo>
                    <a:pt x="13" y="9"/>
                    <a:pt x="10" y="12"/>
                    <a:pt x="7" y="11"/>
                  </a:cubicBezTo>
                  <a:cubicBezTo>
                    <a:pt x="7" y="11"/>
                    <a:pt x="7" y="10"/>
                    <a:pt x="6" y="10"/>
                  </a:cubicBezTo>
                  <a:cubicBezTo>
                    <a:pt x="4" y="9"/>
                    <a:pt x="2" y="6"/>
                    <a:pt x="0" y="5"/>
                  </a:cubicBezTo>
                  <a:cubicBezTo>
                    <a:pt x="1" y="3"/>
                    <a:pt x="5" y="4"/>
                    <a:pt x="7" y="2"/>
                  </a:cubicBezTo>
                  <a:cubicBezTo>
                    <a:pt x="8" y="2"/>
                    <a:pt x="11" y="0"/>
                    <a:pt x="12" y="1"/>
                  </a:cubicBezTo>
                  <a:cubicBezTo>
                    <a:pt x="12" y="1"/>
                    <a:pt x="12" y="2"/>
                    <a:pt x="12" y="2"/>
                  </a:cubicBezTo>
                  <a:cubicBezTo>
                    <a:pt x="13" y="2"/>
                    <a:pt x="14" y="1"/>
                    <a:pt x="13" y="1"/>
                  </a:cubicBezTo>
                  <a:cubicBezTo>
                    <a:pt x="16" y="2"/>
                    <a:pt x="19" y="4"/>
                    <a:pt x="19" y="8"/>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87" name="Freeform 72">
              <a:extLst>
                <a:ext uri="{FF2B5EF4-FFF2-40B4-BE49-F238E27FC236}">
                  <a16:creationId xmlns:a16="http://schemas.microsoft.com/office/drawing/2014/main" id="{0C3B4539-3FEF-41E0-BDDE-1C1083FFEAAE}"/>
                </a:ext>
              </a:extLst>
            </p:cNvPr>
            <p:cNvSpPr>
              <a:spLocks/>
            </p:cNvSpPr>
            <p:nvPr/>
          </p:nvSpPr>
          <p:spPr bwMode="auto">
            <a:xfrm>
              <a:off x="4120851" y="3022894"/>
              <a:ext cx="294365" cy="154686"/>
            </a:xfrm>
            <a:custGeom>
              <a:avLst/>
              <a:gdLst>
                <a:gd name="T0" fmla="*/ 36 w 108"/>
                <a:gd name="T1" fmla="*/ 28 h 57"/>
                <a:gd name="T2" fmla="*/ 30 w 108"/>
                <a:gd name="T3" fmla="*/ 25 h 57"/>
                <a:gd name="T4" fmla="*/ 27 w 108"/>
                <a:gd name="T5" fmla="*/ 19 h 57"/>
                <a:gd name="T6" fmla="*/ 11 w 108"/>
                <a:gd name="T7" fmla="*/ 14 h 57"/>
                <a:gd name="T8" fmla="*/ 2 w 108"/>
                <a:gd name="T9" fmla="*/ 14 h 57"/>
                <a:gd name="T10" fmla="*/ 0 w 108"/>
                <a:gd name="T11" fmla="*/ 8 h 57"/>
                <a:gd name="T12" fmla="*/ 5 w 108"/>
                <a:gd name="T13" fmla="*/ 8 h 57"/>
                <a:gd name="T14" fmla="*/ 9 w 108"/>
                <a:gd name="T15" fmla="*/ 7 h 57"/>
                <a:gd name="T16" fmla="*/ 17 w 108"/>
                <a:gd name="T17" fmla="*/ 10 h 57"/>
                <a:gd name="T18" fmla="*/ 22 w 108"/>
                <a:gd name="T19" fmla="*/ 6 h 57"/>
                <a:gd name="T20" fmla="*/ 34 w 108"/>
                <a:gd name="T21" fmla="*/ 1 h 57"/>
                <a:gd name="T22" fmla="*/ 37 w 108"/>
                <a:gd name="T23" fmla="*/ 4 h 57"/>
                <a:gd name="T24" fmla="*/ 49 w 108"/>
                <a:gd name="T25" fmla="*/ 8 h 57"/>
                <a:gd name="T26" fmla="*/ 52 w 108"/>
                <a:gd name="T27" fmla="*/ 7 h 57"/>
                <a:gd name="T28" fmla="*/ 55 w 108"/>
                <a:gd name="T29" fmla="*/ 10 h 57"/>
                <a:gd name="T30" fmla="*/ 63 w 108"/>
                <a:gd name="T31" fmla="*/ 10 h 57"/>
                <a:gd name="T32" fmla="*/ 68 w 108"/>
                <a:gd name="T33" fmla="*/ 13 h 57"/>
                <a:gd name="T34" fmla="*/ 68 w 108"/>
                <a:gd name="T35" fmla="*/ 17 h 57"/>
                <a:gd name="T36" fmla="*/ 71 w 108"/>
                <a:gd name="T37" fmla="*/ 16 h 57"/>
                <a:gd name="T38" fmla="*/ 73 w 108"/>
                <a:gd name="T39" fmla="*/ 20 h 57"/>
                <a:gd name="T40" fmla="*/ 80 w 108"/>
                <a:gd name="T41" fmla="*/ 25 h 57"/>
                <a:gd name="T42" fmla="*/ 92 w 108"/>
                <a:gd name="T43" fmla="*/ 29 h 57"/>
                <a:gd name="T44" fmla="*/ 91 w 108"/>
                <a:gd name="T45" fmla="*/ 34 h 57"/>
                <a:gd name="T46" fmla="*/ 95 w 108"/>
                <a:gd name="T47" fmla="*/ 37 h 57"/>
                <a:gd name="T48" fmla="*/ 95 w 108"/>
                <a:gd name="T49" fmla="*/ 40 h 57"/>
                <a:gd name="T50" fmla="*/ 101 w 108"/>
                <a:gd name="T51" fmla="*/ 46 h 57"/>
                <a:gd name="T52" fmla="*/ 108 w 108"/>
                <a:gd name="T53" fmla="*/ 53 h 57"/>
                <a:gd name="T54" fmla="*/ 98 w 108"/>
                <a:gd name="T55" fmla="*/ 53 h 57"/>
                <a:gd name="T56" fmla="*/ 89 w 108"/>
                <a:gd name="T57" fmla="*/ 47 h 57"/>
                <a:gd name="T58" fmla="*/ 86 w 108"/>
                <a:gd name="T59" fmla="*/ 44 h 57"/>
                <a:gd name="T60" fmla="*/ 85 w 108"/>
                <a:gd name="T61" fmla="*/ 43 h 57"/>
                <a:gd name="T62" fmla="*/ 80 w 108"/>
                <a:gd name="T63" fmla="*/ 38 h 57"/>
                <a:gd name="T64" fmla="*/ 68 w 108"/>
                <a:gd name="T65" fmla="*/ 37 h 57"/>
                <a:gd name="T66" fmla="*/ 63 w 108"/>
                <a:gd name="T67" fmla="*/ 50 h 57"/>
                <a:gd name="T68" fmla="*/ 54 w 108"/>
                <a:gd name="T69" fmla="*/ 47 h 57"/>
                <a:gd name="T70" fmla="*/ 49 w 108"/>
                <a:gd name="T71" fmla="*/ 46 h 57"/>
                <a:gd name="T72" fmla="*/ 43 w 108"/>
                <a:gd name="T73" fmla="*/ 38 h 57"/>
                <a:gd name="T74" fmla="*/ 37 w 108"/>
                <a:gd name="T75" fmla="*/ 44 h 57"/>
                <a:gd name="T76" fmla="*/ 33 w 108"/>
                <a:gd name="T77" fmla="*/ 41 h 57"/>
                <a:gd name="T78" fmla="*/ 37 w 108"/>
                <a:gd name="T79" fmla="*/ 37 h 57"/>
                <a:gd name="T80" fmla="*/ 40 w 108"/>
                <a:gd name="T81" fmla="*/ 31 h 57"/>
                <a:gd name="T82" fmla="*/ 39 w 108"/>
                <a:gd name="T83" fmla="*/ 34 h 57"/>
                <a:gd name="T84" fmla="*/ 36 w 108"/>
                <a:gd name="T85" fmla="*/ 2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8" h="57">
                  <a:moveTo>
                    <a:pt x="36" y="28"/>
                  </a:moveTo>
                  <a:cubicBezTo>
                    <a:pt x="33" y="28"/>
                    <a:pt x="34" y="24"/>
                    <a:pt x="30" y="25"/>
                  </a:cubicBezTo>
                  <a:cubicBezTo>
                    <a:pt x="29" y="23"/>
                    <a:pt x="28" y="21"/>
                    <a:pt x="27" y="19"/>
                  </a:cubicBezTo>
                  <a:cubicBezTo>
                    <a:pt x="21" y="18"/>
                    <a:pt x="14" y="18"/>
                    <a:pt x="11" y="14"/>
                  </a:cubicBezTo>
                  <a:cubicBezTo>
                    <a:pt x="6" y="16"/>
                    <a:pt x="7" y="15"/>
                    <a:pt x="2" y="14"/>
                  </a:cubicBezTo>
                  <a:cubicBezTo>
                    <a:pt x="2" y="12"/>
                    <a:pt x="2" y="9"/>
                    <a:pt x="0" y="8"/>
                  </a:cubicBezTo>
                  <a:cubicBezTo>
                    <a:pt x="1" y="6"/>
                    <a:pt x="3" y="9"/>
                    <a:pt x="5" y="8"/>
                  </a:cubicBezTo>
                  <a:cubicBezTo>
                    <a:pt x="7" y="8"/>
                    <a:pt x="8" y="7"/>
                    <a:pt x="9" y="7"/>
                  </a:cubicBezTo>
                  <a:cubicBezTo>
                    <a:pt x="12" y="7"/>
                    <a:pt x="14" y="10"/>
                    <a:pt x="17" y="10"/>
                  </a:cubicBezTo>
                  <a:cubicBezTo>
                    <a:pt x="20" y="12"/>
                    <a:pt x="21" y="7"/>
                    <a:pt x="22" y="6"/>
                  </a:cubicBezTo>
                  <a:cubicBezTo>
                    <a:pt x="26" y="3"/>
                    <a:pt x="31" y="4"/>
                    <a:pt x="34" y="1"/>
                  </a:cubicBezTo>
                  <a:cubicBezTo>
                    <a:pt x="37" y="0"/>
                    <a:pt x="36" y="3"/>
                    <a:pt x="37" y="4"/>
                  </a:cubicBezTo>
                  <a:cubicBezTo>
                    <a:pt x="40" y="6"/>
                    <a:pt x="49" y="3"/>
                    <a:pt x="49" y="8"/>
                  </a:cubicBezTo>
                  <a:cubicBezTo>
                    <a:pt x="51" y="10"/>
                    <a:pt x="52" y="7"/>
                    <a:pt x="52" y="7"/>
                  </a:cubicBezTo>
                  <a:cubicBezTo>
                    <a:pt x="54" y="7"/>
                    <a:pt x="54" y="10"/>
                    <a:pt x="55" y="10"/>
                  </a:cubicBezTo>
                  <a:cubicBezTo>
                    <a:pt x="57" y="11"/>
                    <a:pt x="60" y="9"/>
                    <a:pt x="63" y="10"/>
                  </a:cubicBezTo>
                  <a:cubicBezTo>
                    <a:pt x="63" y="10"/>
                    <a:pt x="64" y="15"/>
                    <a:pt x="68" y="13"/>
                  </a:cubicBezTo>
                  <a:cubicBezTo>
                    <a:pt x="70" y="15"/>
                    <a:pt x="69" y="15"/>
                    <a:pt x="68" y="17"/>
                  </a:cubicBezTo>
                  <a:cubicBezTo>
                    <a:pt x="70" y="18"/>
                    <a:pt x="71" y="17"/>
                    <a:pt x="71" y="16"/>
                  </a:cubicBezTo>
                  <a:cubicBezTo>
                    <a:pt x="73" y="16"/>
                    <a:pt x="73" y="19"/>
                    <a:pt x="73" y="20"/>
                  </a:cubicBezTo>
                  <a:cubicBezTo>
                    <a:pt x="74" y="23"/>
                    <a:pt x="78" y="23"/>
                    <a:pt x="80" y="25"/>
                  </a:cubicBezTo>
                  <a:cubicBezTo>
                    <a:pt x="82" y="26"/>
                    <a:pt x="87" y="29"/>
                    <a:pt x="92" y="29"/>
                  </a:cubicBezTo>
                  <a:cubicBezTo>
                    <a:pt x="93" y="32"/>
                    <a:pt x="91" y="32"/>
                    <a:pt x="91" y="34"/>
                  </a:cubicBezTo>
                  <a:cubicBezTo>
                    <a:pt x="91" y="35"/>
                    <a:pt x="94" y="35"/>
                    <a:pt x="95" y="37"/>
                  </a:cubicBezTo>
                  <a:cubicBezTo>
                    <a:pt x="96" y="37"/>
                    <a:pt x="95" y="39"/>
                    <a:pt x="95" y="40"/>
                  </a:cubicBezTo>
                  <a:cubicBezTo>
                    <a:pt x="97" y="41"/>
                    <a:pt x="99" y="43"/>
                    <a:pt x="101" y="46"/>
                  </a:cubicBezTo>
                  <a:cubicBezTo>
                    <a:pt x="103" y="48"/>
                    <a:pt x="105" y="52"/>
                    <a:pt x="108" y="53"/>
                  </a:cubicBezTo>
                  <a:cubicBezTo>
                    <a:pt x="106" y="57"/>
                    <a:pt x="100" y="53"/>
                    <a:pt x="98" y="53"/>
                  </a:cubicBezTo>
                  <a:cubicBezTo>
                    <a:pt x="95" y="52"/>
                    <a:pt x="93" y="51"/>
                    <a:pt x="89" y="47"/>
                  </a:cubicBezTo>
                  <a:cubicBezTo>
                    <a:pt x="88" y="46"/>
                    <a:pt x="87" y="45"/>
                    <a:pt x="86" y="44"/>
                  </a:cubicBezTo>
                  <a:cubicBezTo>
                    <a:pt x="85" y="43"/>
                    <a:pt x="85" y="44"/>
                    <a:pt x="85" y="43"/>
                  </a:cubicBezTo>
                  <a:cubicBezTo>
                    <a:pt x="85" y="42"/>
                    <a:pt x="81" y="38"/>
                    <a:pt x="80" y="38"/>
                  </a:cubicBezTo>
                  <a:cubicBezTo>
                    <a:pt x="77" y="37"/>
                    <a:pt x="72" y="39"/>
                    <a:pt x="68" y="37"/>
                  </a:cubicBezTo>
                  <a:cubicBezTo>
                    <a:pt x="65" y="40"/>
                    <a:pt x="64" y="45"/>
                    <a:pt x="63" y="50"/>
                  </a:cubicBezTo>
                  <a:cubicBezTo>
                    <a:pt x="62" y="48"/>
                    <a:pt x="56" y="49"/>
                    <a:pt x="54" y="47"/>
                  </a:cubicBezTo>
                  <a:cubicBezTo>
                    <a:pt x="52" y="46"/>
                    <a:pt x="55" y="43"/>
                    <a:pt x="49" y="46"/>
                  </a:cubicBezTo>
                  <a:cubicBezTo>
                    <a:pt x="52" y="38"/>
                    <a:pt x="42" y="44"/>
                    <a:pt x="43" y="38"/>
                  </a:cubicBezTo>
                  <a:cubicBezTo>
                    <a:pt x="40" y="39"/>
                    <a:pt x="36" y="39"/>
                    <a:pt x="37" y="44"/>
                  </a:cubicBezTo>
                  <a:cubicBezTo>
                    <a:pt x="36" y="43"/>
                    <a:pt x="36" y="41"/>
                    <a:pt x="33" y="41"/>
                  </a:cubicBezTo>
                  <a:cubicBezTo>
                    <a:pt x="33" y="39"/>
                    <a:pt x="36" y="38"/>
                    <a:pt x="37" y="37"/>
                  </a:cubicBezTo>
                  <a:cubicBezTo>
                    <a:pt x="39" y="35"/>
                    <a:pt x="41" y="35"/>
                    <a:pt x="40" y="31"/>
                  </a:cubicBezTo>
                  <a:cubicBezTo>
                    <a:pt x="39" y="30"/>
                    <a:pt x="39" y="34"/>
                    <a:pt x="39" y="34"/>
                  </a:cubicBezTo>
                  <a:cubicBezTo>
                    <a:pt x="36" y="33"/>
                    <a:pt x="37" y="24"/>
                    <a:pt x="36" y="28"/>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88" name="Freeform 73">
              <a:extLst>
                <a:ext uri="{FF2B5EF4-FFF2-40B4-BE49-F238E27FC236}">
                  <a16:creationId xmlns:a16="http://schemas.microsoft.com/office/drawing/2014/main" id="{2E6C41A8-B730-43CB-A066-4FC124CE5302}"/>
                </a:ext>
              </a:extLst>
            </p:cNvPr>
            <p:cNvSpPr>
              <a:spLocks/>
            </p:cNvSpPr>
            <p:nvPr/>
          </p:nvSpPr>
          <p:spPr bwMode="auto">
            <a:xfrm>
              <a:off x="4052744" y="3039055"/>
              <a:ext cx="30014" cy="26551"/>
            </a:xfrm>
            <a:custGeom>
              <a:avLst/>
              <a:gdLst>
                <a:gd name="T0" fmla="*/ 10 w 11"/>
                <a:gd name="T1" fmla="*/ 4 h 10"/>
                <a:gd name="T2" fmla="*/ 0 w 11"/>
                <a:gd name="T3" fmla="*/ 5 h 10"/>
                <a:gd name="T4" fmla="*/ 10 w 11"/>
                <a:gd name="T5" fmla="*/ 4 h 10"/>
              </a:gdLst>
              <a:ahLst/>
              <a:cxnLst>
                <a:cxn ang="0">
                  <a:pos x="T0" y="T1"/>
                </a:cxn>
                <a:cxn ang="0">
                  <a:pos x="T2" y="T3"/>
                </a:cxn>
                <a:cxn ang="0">
                  <a:pos x="T4" y="T5"/>
                </a:cxn>
              </a:cxnLst>
              <a:rect l="0" t="0" r="r" b="b"/>
              <a:pathLst>
                <a:path w="11" h="10">
                  <a:moveTo>
                    <a:pt x="10" y="4"/>
                  </a:moveTo>
                  <a:cubicBezTo>
                    <a:pt x="11" y="10"/>
                    <a:pt x="3" y="5"/>
                    <a:pt x="0" y="5"/>
                  </a:cubicBezTo>
                  <a:cubicBezTo>
                    <a:pt x="2" y="4"/>
                    <a:pt x="9" y="0"/>
                    <a:pt x="10" y="4"/>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89" name="Freeform 74">
              <a:extLst>
                <a:ext uri="{FF2B5EF4-FFF2-40B4-BE49-F238E27FC236}">
                  <a16:creationId xmlns:a16="http://schemas.microsoft.com/office/drawing/2014/main" id="{94DFDBBA-1BF0-46B6-84D8-3F363EC4443F}"/>
                </a:ext>
              </a:extLst>
            </p:cNvPr>
            <p:cNvSpPr>
              <a:spLocks/>
            </p:cNvSpPr>
            <p:nvPr/>
          </p:nvSpPr>
          <p:spPr bwMode="auto">
            <a:xfrm>
              <a:off x="4014649" y="3047135"/>
              <a:ext cx="19625" cy="10390"/>
            </a:xfrm>
            <a:custGeom>
              <a:avLst/>
              <a:gdLst>
                <a:gd name="T0" fmla="*/ 1 w 7"/>
                <a:gd name="T1" fmla="*/ 2 h 4"/>
                <a:gd name="T2" fmla="*/ 5 w 7"/>
                <a:gd name="T3" fmla="*/ 4 h 4"/>
                <a:gd name="T4" fmla="*/ 2 w 7"/>
                <a:gd name="T5" fmla="*/ 4 h 4"/>
                <a:gd name="T6" fmla="*/ 1 w 7"/>
                <a:gd name="T7" fmla="*/ 2 h 4"/>
              </a:gdLst>
              <a:ahLst/>
              <a:cxnLst>
                <a:cxn ang="0">
                  <a:pos x="T0" y="T1"/>
                </a:cxn>
                <a:cxn ang="0">
                  <a:pos x="T2" y="T3"/>
                </a:cxn>
                <a:cxn ang="0">
                  <a:pos x="T4" y="T5"/>
                </a:cxn>
                <a:cxn ang="0">
                  <a:pos x="T6" y="T7"/>
                </a:cxn>
              </a:cxnLst>
              <a:rect l="0" t="0" r="r" b="b"/>
              <a:pathLst>
                <a:path w="7" h="4">
                  <a:moveTo>
                    <a:pt x="1" y="2"/>
                  </a:moveTo>
                  <a:cubicBezTo>
                    <a:pt x="0" y="0"/>
                    <a:pt x="7" y="0"/>
                    <a:pt x="5" y="4"/>
                  </a:cubicBezTo>
                  <a:cubicBezTo>
                    <a:pt x="4" y="4"/>
                    <a:pt x="3" y="4"/>
                    <a:pt x="2" y="4"/>
                  </a:cubicBezTo>
                  <a:cubicBezTo>
                    <a:pt x="3" y="3"/>
                    <a:pt x="2" y="3"/>
                    <a:pt x="1" y="2"/>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90" name="Freeform 75">
              <a:extLst>
                <a:ext uri="{FF2B5EF4-FFF2-40B4-BE49-F238E27FC236}">
                  <a16:creationId xmlns:a16="http://schemas.microsoft.com/office/drawing/2014/main" id="{6EF77EFC-0DA2-48C8-8C02-55C3F759F7A7}"/>
                </a:ext>
              </a:extLst>
            </p:cNvPr>
            <p:cNvSpPr>
              <a:spLocks/>
            </p:cNvSpPr>
            <p:nvPr/>
          </p:nvSpPr>
          <p:spPr bwMode="auto">
            <a:xfrm>
              <a:off x="4390975" y="3069069"/>
              <a:ext cx="60027" cy="43866"/>
            </a:xfrm>
            <a:custGeom>
              <a:avLst/>
              <a:gdLst>
                <a:gd name="T0" fmla="*/ 17 w 22"/>
                <a:gd name="T1" fmla="*/ 0 h 16"/>
                <a:gd name="T2" fmla="*/ 21 w 22"/>
                <a:gd name="T3" fmla="*/ 0 h 16"/>
                <a:gd name="T4" fmla="*/ 21 w 22"/>
                <a:gd name="T5" fmla="*/ 5 h 16"/>
                <a:gd name="T6" fmla="*/ 18 w 22"/>
                <a:gd name="T7" fmla="*/ 6 h 16"/>
                <a:gd name="T8" fmla="*/ 18 w 22"/>
                <a:gd name="T9" fmla="*/ 11 h 16"/>
                <a:gd name="T10" fmla="*/ 15 w 22"/>
                <a:gd name="T11" fmla="*/ 12 h 16"/>
                <a:gd name="T12" fmla="*/ 2 w 22"/>
                <a:gd name="T13" fmla="*/ 8 h 16"/>
                <a:gd name="T14" fmla="*/ 17 w 22"/>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6">
                  <a:moveTo>
                    <a:pt x="17" y="0"/>
                  </a:moveTo>
                  <a:cubicBezTo>
                    <a:pt x="18" y="0"/>
                    <a:pt x="20" y="0"/>
                    <a:pt x="21" y="0"/>
                  </a:cubicBezTo>
                  <a:cubicBezTo>
                    <a:pt x="21" y="2"/>
                    <a:pt x="22" y="4"/>
                    <a:pt x="21" y="5"/>
                  </a:cubicBezTo>
                  <a:cubicBezTo>
                    <a:pt x="21" y="6"/>
                    <a:pt x="19" y="6"/>
                    <a:pt x="18" y="6"/>
                  </a:cubicBezTo>
                  <a:cubicBezTo>
                    <a:pt x="18" y="7"/>
                    <a:pt x="21" y="9"/>
                    <a:pt x="18" y="11"/>
                  </a:cubicBezTo>
                  <a:cubicBezTo>
                    <a:pt x="16" y="9"/>
                    <a:pt x="15" y="9"/>
                    <a:pt x="15" y="12"/>
                  </a:cubicBezTo>
                  <a:cubicBezTo>
                    <a:pt x="11" y="11"/>
                    <a:pt x="0" y="16"/>
                    <a:pt x="2" y="8"/>
                  </a:cubicBezTo>
                  <a:cubicBezTo>
                    <a:pt x="10" y="11"/>
                    <a:pt x="15" y="7"/>
                    <a:pt x="17" y="0"/>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91" name="Freeform 76">
              <a:extLst>
                <a:ext uri="{FF2B5EF4-FFF2-40B4-BE49-F238E27FC236}">
                  <a16:creationId xmlns:a16="http://schemas.microsoft.com/office/drawing/2014/main" id="{BB84FD22-A58D-4218-9281-A42B74F8DAA2}"/>
                </a:ext>
              </a:extLst>
            </p:cNvPr>
            <p:cNvSpPr>
              <a:spLocks/>
            </p:cNvSpPr>
            <p:nvPr/>
          </p:nvSpPr>
          <p:spPr bwMode="auto">
            <a:xfrm>
              <a:off x="3866889" y="3134868"/>
              <a:ext cx="33477" cy="12698"/>
            </a:xfrm>
            <a:custGeom>
              <a:avLst/>
              <a:gdLst>
                <a:gd name="T0" fmla="*/ 12 w 12"/>
                <a:gd name="T1" fmla="*/ 0 h 5"/>
                <a:gd name="T2" fmla="*/ 0 w 12"/>
                <a:gd name="T3" fmla="*/ 5 h 5"/>
                <a:gd name="T4" fmla="*/ 12 w 12"/>
                <a:gd name="T5" fmla="*/ 0 h 5"/>
              </a:gdLst>
              <a:ahLst/>
              <a:cxnLst>
                <a:cxn ang="0">
                  <a:pos x="T0" y="T1"/>
                </a:cxn>
                <a:cxn ang="0">
                  <a:pos x="T2" y="T3"/>
                </a:cxn>
                <a:cxn ang="0">
                  <a:pos x="T4" y="T5"/>
                </a:cxn>
              </a:cxnLst>
              <a:rect l="0" t="0" r="r" b="b"/>
              <a:pathLst>
                <a:path w="12" h="5">
                  <a:moveTo>
                    <a:pt x="12" y="0"/>
                  </a:moveTo>
                  <a:cubicBezTo>
                    <a:pt x="9" y="3"/>
                    <a:pt x="6" y="5"/>
                    <a:pt x="0" y="5"/>
                  </a:cubicBezTo>
                  <a:cubicBezTo>
                    <a:pt x="0" y="0"/>
                    <a:pt x="7" y="0"/>
                    <a:pt x="12" y="0"/>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92" name="Freeform 77">
              <a:extLst>
                <a:ext uri="{FF2B5EF4-FFF2-40B4-BE49-F238E27FC236}">
                  <a16:creationId xmlns:a16="http://schemas.microsoft.com/office/drawing/2014/main" id="{9E75FE05-2359-44C5-B59F-BF1F6C3D3642}"/>
                </a:ext>
              </a:extLst>
            </p:cNvPr>
            <p:cNvSpPr>
              <a:spLocks/>
            </p:cNvSpPr>
            <p:nvPr/>
          </p:nvSpPr>
          <p:spPr bwMode="auto">
            <a:xfrm>
              <a:off x="3916528" y="3134868"/>
              <a:ext cx="32322" cy="8081"/>
            </a:xfrm>
            <a:custGeom>
              <a:avLst/>
              <a:gdLst>
                <a:gd name="T0" fmla="*/ 12 w 12"/>
                <a:gd name="T1" fmla="*/ 0 h 3"/>
                <a:gd name="T2" fmla="*/ 0 w 12"/>
                <a:gd name="T3" fmla="*/ 3 h 3"/>
                <a:gd name="T4" fmla="*/ 12 w 12"/>
                <a:gd name="T5" fmla="*/ 0 h 3"/>
              </a:gdLst>
              <a:ahLst/>
              <a:cxnLst>
                <a:cxn ang="0">
                  <a:pos x="T0" y="T1"/>
                </a:cxn>
                <a:cxn ang="0">
                  <a:pos x="T2" y="T3"/>
                </a:cxn>
                <a:cxn ang="0">
                  <a:pos x="T4" y="T5"/>
                </a:cxn>
              </a:cxnLst>
              <a:rect l="0" t="0" r="r" b="b"/>
              <a:pathLst>
                <a:path w="12" h="3">
                  <a:moveTo>
                    <a:pt x="12" y="0"/>
                  </a:moveTo>
                  <a:cubicBezTo>
                    <a:pt x="10" y="3"/>
                    <a:pt x="5" y="3"/>
                    <a:pt x="0" y="3"/>
                  </a:cubicBezTo>
                  <a:cubicBezTo>
                    <a:pt x="1" y="0"/>
                    <a:pt x="6" y="0"/>
                    <a:pt x="12" y="0"/>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93" name="Freeform 78">
              <a:extLst>
                <a:ext uri="{FF2B5EF4-FFF2-40B4-BE49-F238E27FC236}">
                  <a16:creationId xmlns:a16="http://schemas.microsoft.com/office/drawing/2014/main" id="{D81E4CD3-E609-4CE9-B422-078D5A46EAA4}"/>
                </a:ext>
              </a:extLst>
            </p:cNvPr>
            <p:cNvSpPr>
              <a:spLocks/>
            </p:cNvSpPr>
            <p:nvPr/>
          </p:nvSpPr>
          <p:spPr bwMode="auto">
            <a:xfrm>
              <a:off x="3976555" y="3131405"/>
              <a:ext cx="54256" cy="38095"/>
            </a:xfrm>
            <a:custGeom>
              <a:avLst/>
              <a:gdLst>
                <a:gd name="T0" fmla="*/ 19 w 20"/>
                <a:gd name="T1" fmla="*/ 1 h 14"/>
                <a:gd name="T2" fmla="*/ 18 w 20"/>
                <a:gd name="T3" fmla="*/ 7 h 14"/>
                <a:gd name="T4" fmla="*/ 15 w 20"/>
                <a:gd name="T5" fmla="*/ 7 h 14"/>
                <a:gd name="T6" fmla="*/ 1 w 20"/>
                <a:gd name="T7" fmla="*/ 13 h 14"/>
                <a:gd name="T8" fmla="*/ 6 w 20"/>
                <a:gd name="T9" fmla="*/ 9 h 14"/>
                <a:gd name="T10" fmla="*/ 9 w 20"/>
                <a:gd name="T11" fmla="*/ 6 h 14"/>
                <a:gd name="T12" fmla="*/ 12 w 20"/>
                <a:gd name="T13" fmla="*/ 3 h 14"/>
                <a:gd name="T14" fmla="*/ 19 w 20"/>
                <a:gd name="T15" fmla="*/ 1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4">
                  <a:moveTo>
                    <a:pt x="19" y="1"/>
                  </a:moveTo>
                  <a:cubicBezTo>
                    <a:pt x="20" y="4"/>
                    <a:pt x="19" y="6"/>
                    <a:pt x="18" y="7"/>
                  </a:cubicBezTo>
                  <a:cubicBezTo>
                    <a:pt x="17" y="7"/>
                    <a:pt x="15" y="6"/>
                    <a:pt x="15" y="7"/>
                  </a:cubicBezTo>
                  <a:cubicBezTo>
                    <a:pt x="13" y="9"/>
                    <a:pt x="8" y="14"/>
                    <a:pt x="1" y="13"/>
                  </a:cubicBezTo>
                  <a:cubicBezTo>
                    <a:pt x="0" y="10"/>
                    <a:pt x="4" y="10"/>
                    <a:pt x="6" y="9"/>
                  </a:cubicBezTo>
                  <a:cubicBezTo>
                    <a:pt x="7" y="8"/>
                    <a:pt x="8" y="6"/>
                    <a:pt x="9" y="6"/>
                  </a:cubicBezTo>
                  <a:cubicBezTo>
                    <a:pt x="10" y="5"/>
                    <a:pt x="12" y="4"/>
                    <a:pt x="12" y="3"/>
                  </a:cubicBezTo>
                  <a:cubicBezTo>
                    <a:pt x="16" y="4"/>
                    <a:pt x="16" y="0"/>
                    <a:pt x="19" y="1"/>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94" name="Freeform 79">
              <a:extLst>
                <a:ext uri="{FF2B5EF4-FFF2-40B4-BE49-F238E27FC236}">
                  <a16:creationId xmlns:a16="http://schemas.microsoft.com/office/drawing/2014/main" id="{C9A3E3D9-F4D4-4452-BA34-0DF079C9E6B8}"/>
                </a:ext>
              </a:extLst>
            </p:cNvPr>
            <p:cNvSpPr>
              <a:spLocks/>
            </p:cNvSpPr>
            <p:nvPr/>
          </p:nvSpPr>
          <p:spPr bwMode="auto">
            <a:xfrm>
              <a:off x="4797314" y="3595463"/>
              <a:ext cx="27705" cy="40403"/>
            </a:xfrm>
            <a:custGeom>
              <a:avLst/>
              <a:gdLst>
                <a:gd name="T0" fmla="*/ 1 w 10"/>
                <a:gd name="T1" fmla="*/ 0 h 15"/>
                <a:gd name="T2" fmla="*/ 3 w 10"/>
                <a:gd name="T3" fmla="*/ 3 h 15"/>
                <a:gd name="T4" fmla="*/ 7 w 10"/>
                <a:gd name="T5" fmla="*/ 7 h 15"/>
                <a:gd name="T6" fmla="*/ 9 w 10"/>
                <a:gd name="T7" fmla="*/ 15 h 15"/>
                <a:gd name="T8" fmla="*/ 4 w 10"/>
                <a:gd name="T9" fmla="*/ 15 h 15"/>
                <a:gd name="T10" fmla="*/ 0 w 10"/>
                <a:gd name="T11" fmla="*/ 3 h 15"/>
                <a:gd name="T12" fmla="*/ 1 w 10"/>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0" h="15">
                  <a:moveTo>
                    <a:pt x="1" y="0"/>
                  </a:moveTo>
                  <a:cubicBezTo>
                    <a:pt x="3" y="0"/>
                    <a:pt x="2" y="2"/>
                    <a:pt x="3" y="3"/>
                  </a:cubicBezTo>
                  <a:cubicBezTo>
                    <a:pt x="1" y="5"/>
                    <a:pt x="9" y="5"/>
                    <a:pt x="7" y="7"/>
                  </a:cubicBezTo>
                  <a:cubicBezTo>
                    <a:pt x="5" y="10"/>
                    <a:pt x="10" y="8"/>
                    <a:pt x="9" y="15"/>
                  </a:cubicBezTo>
                  <a:cubicBezTo>
                    <a:pt x="6" y="15"/>
                    <a:pt x="5" y="12"/>
                    <a:pt x="4" y="15"/>
                  </a:cubicBezTo>
                  <a:cubicBezTo>
                    <a:pt x="2" y="13"/>
                    <a:pt x="1" y="7"/>
                    <a:pt x="0" y="3"/>
                  </a:cubicBezTo>
                  <a:cubicBezTo>
                    <a:pt x="1" y="3"/>
                    <a:pt x="1" y="1"/>
                    <a:pt x="1" y="0"/>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95" name="Freeform 80">
              <a:extLst>
                <a:ext uri="{FF2B5EF4-FFF2-40B4-BE49-F238E27FC236}">
                  <a16:creationId xmlns:a16="http://schemas.microsoft.com/office/drawing/2014/main" id="{19EB56EC-FE15-43C1-B985-2602CA8B96F3}"/>
                </a:ext>
              </a:extLst>
            </p:cNvPr>
            <p:cNvSpPr>
              <a:spLocks/>
            </p:cNvSpPr>
            <p:nvPr/>
          </p:nvSpPr>
          <p:spPr bwMode="auto">
            <a:xfrm>
              <a:off x="4805395" y="3631248"/>
              <a:ext cx="62336" cy="90041"/>
            </a:xfrm>
            <a:custGeom>
              <a:avLst/>
              <a:gdLst>
                <a:gd name="T0" fmla="*/ 7 w 23"/>
                <a:gd name="T1" fmla="*/ 0 h 33"/>
                <a:gd name="T2" fmla="*/ 9 w 23"/>
                <a:gd name="T3" fmla="*/ 2 h 33"/>
                <a:gd name="T4" fmla="*/ 12 w 23"/>
                <a:gd name="T5" fmla="*/ 2 h 33"/>
                <a:gd name="T6" fmla="*/ 23 w 23"/>
                <a:gd name="T7" fmla="*/ 8 h 33"/>
                <a:gd name="T8" fmla="*/ 23 w 23"/>
                <a:gd name="T9" fmla="*/ 15 h 33"/>
                <a:gd name="T10" fmla="*/ 19 w 23"/>
                <a:gd name="T11" fmla="*/ 15 h 33"/>
                <a:gd name="T12" fmla="*/ 17 w 23"/>
                <a:gd name="T13" fmla="*/ 18 h 33"/>
                <a:gd name="T14" fmla="*/ 16 w 23"/>
                <a:gd name="T15" fmla="*/ 27 h 33"/>
                <a:gd name="T16" fmla="*/ 15 w 23"/>
                <a:gd name="T17" fmla="*/ 30 h 33"/>
                <a:gd name="T18" fmla="*/ 7 w 23"/>
                <a:gd name="T19" fmla="*/ 31 h 33"/>
                <a:gd name="T20" fmla="*/ 6 w 23"/>
                <a:gd name="T21" fmla="*/ 27 h 33"/>
                <a:gd name="T22" fmla="*/ 9 w 23"/>
                <a:gd name="T23" fmla="*/ 24 h 33"/>
                <a:gd name="T24" fmla="*/ 0 w 23"/>
                <a:gd name="T25" fmla="*/ 20 h 33"/>
                <a:gd name="T26" fmla="*/ 6 w 23"/>
                <a:gd name="T27" fmla="*/ 14 h 33"/>
                <a:gd name="T28" fmla="*/ 7 w 23"/>
                <a:gd name="T2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33">
                  <a:moveTo>
                    <a:pt x="7" y="0"/>
                  </a:moveTo>
                  <a:cubicBezTo>
                    <a:pt x="8" y="0"/>
                    <a:pt x="9" y="1"/>
                    <a:pt x="9" y="2"/>
                  </a:cubicBezTo>
                  <a:cubicBezTo>
                    <a:pt x="8" y="5"/>
                    <a:pt x="12" y="2"/>
                    <a:pt x="12" y="2"/>
                  </a:cubicBezTo>
                  <a:cubicBezTo>
                    <a:pt x="16" y="4"/>
                    <a:pt x="15" y="10"/>
                    <a:pt x="23" y="8"/>
                  </a:cubicBezTo>
                  <a:cubicBezTo>
                    <a:pt x="23" y="10"/>
                    <a:pt x="23" y="13"/>
                    <a:pt x="23" y="15"/>
                  </a:cubicBezTo>
                  <a:cubicBezTo>
                    <a:pt x="22" y="15"/>
                    <a:pt x="20" y="15"/>
                    <a:pt x="19" y="15"/>
                  </a:cubicBezTo>
                  <a:cubicBezTo>
                    <a:pt x="19" y="17"/>
                    <a:pt x="19" y="18"/>
                    <a:pt x="17" y="18"/>
                  </a:cubicBezTo>
                  <a:cubicBezTo>
                    <a:pt x="21" y="22"/>
                    <a:pt x="16" y="23"/>
                    <a:pt x="16" y="27"/>
                  </a:cubicBezTo>
                  <a:cubicBezTo>
                    <a:pt x="16" y="28"/>
                    <a:pt x="11" y="29"/>
                    <a:pt x="15" y="30"/>
                  </a:cubicBezTo>
                  <a:cubicBezTo>
                    <a:pt x="15" y="33"/>
                    <a:pt x="9" y="31"/>
                    <a:pt x="7" y="31"/>
                  </a:cubicBezTo>
                  <a:cubicBezTo>
                    <a:pt x="8" y="29"/>
                    <a:pt x="6" y="29"/>
                    <a:pt x="6" y="27"/>
                  </a:cubicBezTo>
                  <a:cubicBezTo>
                    <a:pt x="5" y="25"/>
                    <a:pt x="7" y="24"/>
                    <a:pt x="9" y="24"/>
                  </a:cubicBezTo>
                  <a:cubicBezTo>
                    <a:pt x="6" y="22"/>
                    <a:pt x="5" y="18"/>
                    <a:pt x="0" y="20"/>
                  </a:cubicBezTo>
                  <a:cubicBezTo>
                    <a:pt x="0" y="15"/>
                    <a:pt x="4" y="16"/>
                    <a:pt x="6" y="14"/>
                  </a:cubicBezTo>
                  <a:cubicBezTo>
                    <a:pt x="6" y="6"/>
                    <a:pt x="6" y="6"/>
                    <a:pt x="7" y="0"/>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96" name="Freeform 81">
              <a:extLst>
                <a:ext uri="{FF2B5EF4-FFF2-40B4-BE49-F238E27FC236}">
                  <a16:creationId xmlns:a16="http://schemas.microsoft.com/office/drawing/2014/main" id="{B08C1F33-9F09-4FBB-AB80-F0623DEACE06}"/>
                </a:ext>
              </a:extLst>
            </p:cNvPr>
            <p:cNvSpPr>
              <a:spLocks/>
            </p:cNvSpPr>
            <p:nvPr/>
          </p:nvSpPr>
          <p:spPr bwMode="auto">
            <a:xfrm>
              <a:off x="4330947" y="3703974"/>
              <a:ext cx="57719" cy="60027"/>
            </a:xfrm>
            <a:custGeom>
              <a:avLst/>
              <a:gdLst>
                <a:gd name="T0" fmla="*/ 20 w 21"/>
                <a:gd name="T1" fmla="*/ 2 h 22"/>
                <a:gd name="T2" fmla="*/ 20 w 21"/>
                <a:gd name="T3" fmla="*/ 10 h 22"/>
                <a:gd name="T4" fmla="*/ 18 w 21"/>
                <a:gd name="T5" fmla="*/ 7 h 22"/>
                <a:gd name="T6" fmla="*/ 17 w 21"/>
                <a:gd name="T7" fmla="*/ 9 h 22"/>
                <a:gd name="T8" fmla="*/ 17 w 21"/>
                <a:gd name="T9" fmla="*/ 16 h 22"/>
                <a:gd name="T10" fmla="*/ 14 w 21"/>
                <a:gd name="T11" fmla="*/ 16 h 22"/>
                <a:gd name="T12" fmla="*/ 14 w 21"/>
                <a:gd name="T13" fmla="*/ 19 h 22"/>
                <a:gd name="T14" fmla="*/ 9 w 21"/>
                <a:gd name="T15" fmla="*/ 22 h 22"/>
                <a:gd name="T16" fmla="*/ 6 w 21"/>
                <a:gd name="T17" fmla="*/ 18 h 22"/>
                <a:gd name="T18" fmla="*/ 3 w 21"/>
                <a:gd name="T19" fmla="*/ 15 h 22"/>
                <a:gd name="T20" fmla="*/ 0 w 21"/>
                <a:gd name="T21" fmla="*/ 6 h 22"/>
                <a:gd name="T22" fmla="*/ 12 w 21"/>
                <a:gd name="T23" fmla="*/ 3 h 22"/>
                <a:gd name="T24" fmla="*/ 20 w 21"/>
                <a:gd name="T25"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2">
                  <a:moveTo>
                    <a:pt x="20" y="2"/>
                  </a:moveTo>
                  <a:cubicBezTo>
                    <a:pt x="19" y="4"/>
                    <a:pt x="21" y="7"/>
                    <a:pt x="20" y="10"/>
                  </a:cubicBezTo>
                  <a:cubicBezTo>
                    <a:pt x="19" y="11"/>
                    <a:pt x="18" y="8"/>
                    <a:pt x="18" y="7"/>
                  </a:cubicBezTo>
                  <a:cubicBezTo>
                    <a:pt x="18" y="8"/>
                    <a:pt x="17" y="8"/>
                    <a:pt x="17" y="9"/>
                  </a:cubicBezTo>
                  <a:cubicBezTo>
                    <a:pt x="16" y="11"/>
                    <a:pt x="18" y="14"/>
                    <a:pt x="17" y="16"/>
                  </a:cubicBezTo>
                  <a:cubicBezTo>
                    <a:pt x="16" y="17"/>
                    <a:pt x="14" y="16"/>
                    <a:pt x="14" y="16"/>
                  </a:cubicBezTo>
                  <a:cubicBezTo>
                    <a:pt x="13" y="17"/>
                    <a:pt x="14" y="19"/>
                    <a:pt x="14" y="19"/>
                  </a:cubicBezTo>
                  <a:cubicBezTo>
                    <a:pt x="12" y="21"/>
                    <a:pt x="9" y="19"/>
                    <a:pt x="9" y="22"/>
                  </a:cubicBezTo>
                  <a:cubicBezTo>
                    <a:pt x="8" y="21"/>
                    <a:pt x="7" y="19"/>
                    <a:pt x="6" y="18"/>
                  </a:cubicBezTo>
                  <a:cubicBezTo>
                    <a:pt x="6" y="17"/>
                    <a:pt x="4" y="16"/>
                    <a:pt x="3" y="15"/>
                  </a:cubicBezTo>
                  <a:cubicBezTo>
                    <a:pt x="2" y="12"/>
                    <a:pt x="4" y="8"/>
                    <a:pt x="0" y="6"/>
                  </a:cubicBezTo>
                  <a:cubicBezTo>
                    <a:pt x="2" y="4"/>
                    <a:pt x="7" y="4"/>
                    <a:pt x="12" y="3"/>
                  </a:cubicBezTo>
                  <a:cubicBezTo>
                    <a:pt x="15" y="2"/>
                    <a:pt x="17" y="0"/>
                    <a:pt x="20" y="2"/>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97" name="Freeform 82">
              <a:extLst>
                <a:ext uri="{FF2B5EF4-FFF2-40B4-BE49-F238E27FC236}">
                  <a16:creationId xmlns:a16="http://schemas.microsoft.com/office/drawing/2014/main" id="{416BF37E-E129-4E8F-B0E2-26C354816F22}"/>
                </a:ext>
              </a:extLst>
            </p:cNvPr>
            <p:cNvSpPr>
              <a:spLocks/>
            </p:cNvSpPr>
            <p:nvPr/>
          </p:nvSpPr>
          <p:spPr bwMode="auto">
            <a:xfrm>
              <a:off x="6773834" y="1123951"/>
              <a:ext cx="991607" cy="742262"/>
            </a:xfrm>
            <a:custGeom>
              <a:avLst/>
              <a:gdLst>
                <a:gd name="T0" fmla="*/ 258 w 364"/>
                <a:gd name="T1" fmla="*/ 30 h 272"/>
                <a:gd name="T2" fmla="*/ 273 w 364"/>
                <a:gd name="T3" fmla="*/ 32 h 272"/>
                <a:gd name="T4" fmla="*/ 294 w 364"/>
                <a:gd name="T5" fmla="*/ 27 h 272"/>
                <a:gd name="T6" fmla="*/ 306 w 364"/>
                <a:gd name="T7" fmla="*/ 29 h 272"/>
                <a:gd name="T8" fmla="*/ 304 w 364"/>
                <a:gd name="T9" fmla="*/ 33 h 272"/>
                <a:gd name="T10" fmla="*/ 343 w 364"/>
                <a:gd name="T11" fmla="*/ 26 h 272"/>
                <a:gd name="T12" fmla="*/ 363 w 364"/>
                <a:gd name="T13" fmla="*/ 30 h 272"/>
                <a:gd name="T14" fmla="*/ 337 w 364"/>
                <a:gd name="T15" fmla="*/ 43 h 272"/>
                <a:gd name="T16" fmla="*/ 329 w 364"/>
                <a:gd name="T17" fmla="*/ 54 h 272"/>
                <a:gd name="T18" fmla="*/ 316 w 364"/>
                <a:gd name="T19" fmla="*/ 69 h 272"/>
                <a:gd name="T20" fmla="*/ 319 w 364"/>
                <a:gd name="T21" fmla="*/ 82 h 272"/>
                <a:gd name="T22" fmla="*/ 310 w 364"/>
                <a:gd name="T23" fmla="*/ 95 h 272"/>
                <a:gd name="T24" fmla="*/ 320 w 364"/>
                <a:gd name="T25" fmla="*/ 113 h 272"/>
                <a:gd name="T26" fmla="*/ 311 w 364"/>
                <a:gd name="T27" fmla="*/ 126 h 272"/>
                <a:gd name="T28" fmla="*/ 301 w 364"/>
                <a:gd name="T29" fmla="*/ 138 h 272"/>
                <a:gd name="T30" fmla="*/ 316 w 364"/>
                <a:gd name="T31" fmla="*/ 165 h 272"/>
                <a:gd name="T32" fmla="*/ 292 w 364"/>
                <a:gd name="T33" fmla="*/ 162 h 272"/>
                <a:gd name="T34" fmla="*/ 291 w 364"/>
                <a:gd name="T35" fmla="*/ 171 h 272"/>
                <a:gd name="T36" fmla="*/ 280 w 364"/>
                <a:gd name="T37" fmla="*/ 186 h 272"/>
                <a:gd name="T38" fmla="*/ 257 w 364"/>
                <a:gd name="T39" fmla="*/ 192 h 272"/>
                <a:gd name="T40" fmla="*/ 245 w 364"/>
                <a:gd name="T41" fmla="*/ 199 h 272"/>
                <a:gd name="T42" fmla="*/ 237 w 364"/>
                <a:gd name="T43" fmla="*/ 208 h 272"/>
                <a:gd name="T44" fmla="*/ 205 w 364"/>
                <a:gd name="T45" fmla="*/ 217 h 272"/>
                <a:gd name="T46" fmla="*/ 196 w 364"/>
                <a:gd name="T47" fmla="*/ 230 h 272"/>
                <a:gd name="T48" fmla="*/ 187 w 364"/>
                <a:gd name="T49" fmla="*/ 242 h 272"/>
                <a:gd name="T50" fmla="*/ 184 w 364"/>
                <a:gd name="T51" fmla="*/ 254 h 272"/>
                <a:gd name="T52" fmla="*/ 165 w 364"/>
                <a:gd name="T53" fmla="*/ 266 h 272"/>
                <a:gd name="T54" fmla="*/ 144 w 364"/>
                <a:gd name="T55" fmla="*/ 255 h 272"/>
                <a:gd name="T56" fmla="*/ 132 w 364"/>
                <a:gd name="T57" fmla="*/ 241 h 272"/>
                <a:gd name="T58" fmla="*/ 125 w 364"/>
                <a:gd name="T59" fmla="*/ 230 h 272"/>
                <a:gd name="T60" fmla="*/ 119 w 364"/>
                <a:gd name="T61" fmla="*/ 208 h 272"/>
                <a:gd name="T62" fmla="*/ 122 w 364"/>
                <a:gd name="T63" fmla="*/ 201 h 272"/>
                <a:gd name="T64" fmla="*/ 132 w 364"/>
                <a:gd name="T65" fmla="*/ 189 h 272"/>
                <a:gd name="T66" fmla="*/ 126 w 364"/>
                <a:gd name="T67" fmla="*/ 174 h 272"/>
                <a:gd name="T68" fmla="*/ 129 w 364"/>
                <a:gd name="T69" fmla="*/ 162 h 272"/>
                <a:gd name="T70" fmla="*/ 114 w 364"/>
                <a:gd name="T71" fmla="*/ 158 h 272"/>
                <a:gd name="T72" fmla="*/ 104 w 364"/>
                <a:gd name="T73" fmla="*/ 138 h 272"/>
                <a:gd name="T74" fmla="*/ 94 w 364"/>
                <a:gd name="T75" fmla="*/ 118 h 272"/>
                <a:gd name="T76" fmla="*/ 67 w 364"/>
                <a:gd name="T77" fmla="*/ 104 h 272"/>
                <a:gd name="T78" fmla="*/ 30 w 364"/>
                <a:gd name="T79" fmla="*/ 106 h 272"/>
                <a:gd name="T80" fmla="*/ 30 w 364"/>
                <a:gd name="T81" fmla="*/ 97 h 272"/>
                <a:gd name="T82" fmla="*/ 15 w 364"/>
                <a:gd name="T83" fmla="*/ 84 h 272"/>
                <a:gd name="T84" fmla="*/ 22 w 364"/>
                <a:gd name="T85" fmla="*/ 70 h 272"/>
                <a:gd name="T86" fmla="*/ 40 w 364"/>
                <a:gd name="T87" fmla="*/ 63 h 272"/>
                <a:gd name="T88" fmla="*/ 43 w 364"/>
                <a:gd name="T89" fmla="*/ 54 h 272"/>
                <a:gd name="T90" fmla="*/ 39 w 364"/>
                <a:gd name="T91" fmla="*/ 48 h 272"/>
                <a:gd name="T92" fmla="*/ 52 w 364"/>
                <a:gd name="T93" fmla="*/ 43 h 272"/>
                <a:gd name="T94" fmla="*/ 67 w 364"/>
                <a:gd name="T95" fmla="*/ 29 h 272"/>
                <a:gd name="T96" fmla="*/ 111 w 364"/>
                <a:gd name="T97" fmla="*/ 23 h 272"/>
                <a:gd name="T98" fmla="*/ 132 w 364"/>
                <a:gd name="T99" fmla="*/ 29 h 272"/>
                <a:gd name="T100" fmla="*/ 151 w 364"/>
                <a:gd name="T101" fmla="*/ 18 h 272"/>
                <a:gd name="T102" fmla="*/ 169 w 364"/>
                <a:gd name="T103" fmla="*/ 20 h 272"/>
                <a:gd name="T104" fmla="*/ 175 w 364"/>
                <a:gd name="T105" fmla="*/ 9 h 272"/>
                <a:gd name="T106" fmla="*/ 209 w 364"/>
                <a:gd name="T107" fmla="*/ 2 h 272"/>
                <a:gd name="T108" fmla="*/ 257 w 364"/>
                <a:gd name="T109" fmla="*/ 1 h 272"/>
                <a:gd name="T110" fmla="*/ 292 w 364"/>
                <a:gd name="T111" fmla="*/ 12 h 272"/>
                <a:gd name="T112" fmla="*/ 304 w 364"/>
                <a:gd name="T113" fmla="*/ 21 h 272"/>
                <a:gd name="T114" fmla="*/ 254 w 364"/>
                <a:gd name="T115" fmla="*/ 23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64" h="272">
                  <a:moveTo>
                    <a:pt x="246" y="27"/>
                  </a:moveTo>
                  <a:cubicBezTo>
                    <a:pt x="247" y="29"/>
                    <a:pt x="249" y="28"/>
                    <a:pt x="249" y="30"/>
                  </a:cubicBezTo>
                  <a:cubicBezTo>
                    <a:pt x="251" y="32"/>
                    <a:pt x="253" y="29"/>
                    <a:pt x="254" y="29"/>
                  </a:cubicBezTo>
                  <a:cubicBezTo>
                    <a:pt x="256" y="29"/>
                    <a:pt x="256" y="30"/>
                    <a:pt x="258" y="30"/>
                  </a:cubicBezTo>
                  <a:cubicBezTo>
                    <a:pt x="259" y="30"/>
                    <a:pt x="260" y="29"/>
                    <a:pt x="261" y="29"/>
                  </a:cubicBezTo>
                  <a:cubicBezTo>
                    <a:pt x="263" y="28"/>
                    <a:pt x="264" y="29"/>
                    <a:pt x="266" y="29"/>
                  </a:cubicBezTo>
                  <a:cubicBezTo>
                    <a:pt x="271" y="28"/>
                    <a:pt x="278" y="25"/>
                    <a:pt x="282" y="27"/>
                  </a:cubicBezTo>
                  <a:cubicBezTo>
                    <a:pt x="281" y="30"/>
                    <a:pt x="274" y="28"/>
                    <a:pt x="273" y="32"/>
                  </a:cubicBezTo>
                  <a:cubicBezTo>
                    <a:pt x="273" y="35"/>
                    <a:pt x="276" y="32"/>
                    <a:pt x="276" y="32"/>
                  </a:cubicBezTo>
                  <a:cubicBezTo>
                    <a:pt x="279" y="32"/>
                    <a:pt x="279" y="34"/>
                    <a:pt x="283" y="32"/>
                  </a:cubicBezTo>
                  <a:cubicBezTo>
                    <a:pt x="284" y="31"/>
                    <a:pt x="285" y="31"/>
                    <a:pt x="286" y="30"/>
                  </a:cubicBezTo>
                  <a:cubicBezTo>
                    <a:pt x="287" y="30"/>
                    <a:pt x="294" y="27"/>
                    <a:pt x="294" y="27"/>
                  </a:cubicBezTo>
                  <a:cubicBezTo>
                    <a:pt x="297" y="31"/>
                    <a:pt x="292" y="26"/>
                    <a:pt x="295" y="26"/>
                  </a:cubicBezTo>
                  <a:cubicBezTo>
                    <a:pt x="296" y="26"/>
                    <a:pt x="299" y="26"/>
                    <a:pt x="300" y="26"/>
                  </a:cubicBezTo>
                  <a:cubicBezTo>
                    <a:pt x="300" y="25"/>
                    <a:pt x="303" y="23"/>
                    <a:pt x="307" y="24"/>
                  </a:cubicBezTo>
                  <a:cubicBezTo>
                    <a:pt x="307" y="26"/>
                    <a:pt x="307" y="28"/>
                    <a:pt x="306" y="29"/>
                  </a:cubicBezTo>
                  <a:cubicBezTo>
                    <a:pt x="305" y="30"/>
                    <a:pt x="303" y="31"/>
                    <a:pt x="303" y="32"/>
                  </a:cubicBezTo>
                  <a:cubicBezTo>
                    <a:pt x="301" y="33"/>
                    <a:pt x="300" y="37"/>
                    <a:pt x="297" y="36"/>
                  </a:cubicBezTo>
                  <a:cubicBezTo>
                    <a:pt x="298" y="41"/>
                    <a:pt x="300" y="35"/>
                    <a:pt x="303" y="36"/>
                  </a:cubicBezTo>
                  <a:cubicBezTo>
                    <a:pt x="304" y="37"/>
                    <a:pt x="303" y="34"/>
                    <a:pt x="304" y="33"/>
                  </a:cubicBezTo>
                  <a:cubicBezTo>
                    <a:pt x="306" y="32"/>
                    <a:pt x="311" y="34"/>
                    <a:pt x="311" y="30"/>
                  </a:cubicBezTo>
                  <a:cubicBezTo>
                    <a:pt x="315" y="35"/>
                    <a:pt x="324" y="28"/>
                    <a:pt x="326" y="32"/>
                  </a:cubicBezTo>
                  <a:cubicBezTo>
                    <a:pt x="328" y="30"/>
                    <a:pt x="329" y="29"/>
                    <a:pt x="331" y="27"/>
                  </a:cubicBezTo>
                  <a:cubicBezTo>
                    <a:pt x="336" y="29"/>
                    <a:pt x="338" y="26"/>
                    <a:pt x="343" y="26"/>
                  </a:cubicBezTo>
                  <a:cubicBezTo>
                    <a:pt x="342" y="26"/>
                    <a:pt x="344" y="27"/>
                    <a:pt x="344" y="27"/>
                  </a:cubicBezTo>
                  <a:cubicBezTo>
                    <a:pt x="345" y="27"/>
                    <a:pt x="351" y="26"/>
                    <a:pt x="352" y="27"/>
                  </a:cubicBezTo>
                  <a:cubicBezTo>
                    <a:pt x="353" y="29"/>
                    <a:pt x="352" y="27"/>
                    <a:pt x="354" y="27"/>
                  </a:cubicBezTo>
                  <a:cubicBezTo>
                    <a:pt x="357" y="28"/>
                    <a:pt x="360" y="31"/>
                    <a:pt x="363" y="30"/>
                  </a:cubicBezTo>
                  <a:cubicBezTo>
                    <a:pt x="364" y="33"/>
                    <a:pt x="362" y="32"/>
                    <a:pt x="360" y="33"/>
                  </a:cubicBezTo>
                  <a:cubicBezTo>
                    <a:pt x="360" y="34"/>
                    <a:pt x="358" y="36"/>
                    <a:pt x="357" y="36"/>
                  </a:cubicBezTo>
                  <a:cubicBezTo>
                    <a:pt x="354" y="38"/>
                    <a:pt x="348" y="37"/>
                    <a:pt x="347" y="42"/>
                  </a:cubicBezTo>
                  <a:cubicBezTo>
                    <a:pt x="343" y="42"/>
                    <a:pt x="339" y="41"/>
                    <a:pt x="337" y="43"/>
                  </a:cubicBezTo>
                  <a:cubicBezTo>
                    <a:pt x="339" y="46"/>
                    <a:pt x="341" y="47"/>
                    <a:pt x="335" y="46"/>
                  </a:cubicBezTo>
                  <a:cubicBezTo>
                    <a:pt x="335" y="48"/>
                    <a:pt x="338" y="48"/>
                    <a:pt x="340" y="48"/>
                  </a:cubicBezTo>
                  <a:cubicBezTo>
                    <a:pt x="337" y="52"/>
                    <a:pt x="330" y="51"/>
                    <a:pt x="329" y="57"/>
                  </a:cubicBezTo>
                  <a:cubicBezTo>
                    <a:pt x="327" y="57"/>
                    <a:pt x="330" y="54"/>
                    <a:pt x="329" y="54"/>
                  </a:cubicBezTo>
                  <a:cubicBezTo>
                    <a:pt x="328" y="53"/>
                    <a:pt x="325" y="56"/>
                    <a:pt x="322" y="57"/>
                  </a:cubicBezTo>
                  <a:cubicBezTo>
                    <a:pt x="322" y="58"/>
                    <a:pt x="324" y="58"/>
                    <a:pt x="325" y="58"/>
                  </a:cubicBezTo>
                  <a:cubicBezTo>
                    <a:pt x="321" y="61"/>
                    <a:pt x="323" y="61"/>
                    <a:pt x="322" y="66"/>
                  </a:cubicBezTo>
                  <a:cubicBezTo>
                    <a:pt x="322" y="67"/>
                    <a:pt x="317" y="68"/>
                    <a:pt x="316" y="69"/>
                  </a:cubicBezTo>
                  <a:cubicBezTo>
                    <a:pt x="315" y="69"/>
                    <a:pt x="317" y="72"/>
                    <a:pt x="316" y="73"/>
                  </a:cubicBezTo>
                  <a:cubicBezTo>
                    <a:pt x="315" y="74"/>
                    <a:pt x="312" y="74"/>
                    <a:pt x="310" y="75"/>
                  </a:cubicBezTo>
                  <a:cubicBezTo>
                    <a:pt x="311" y="77"/>
                    <a:pt x="313" y="77"/>
                    <a:pt x="313" y="79"/>
                  </a:cubicBezTo>
                  <a:cubicBezTo>
                    <a:pt x="314" y="82"/>
                    <a:pt x="317" y="81"/>
                    <a:pt x="319" y="82"/>
                  </a:cubicBezTo>
                  <a:cubicBezTo>
                    <a:pt x="319" y="82"/>
                    <a:pt x="318" y="85"/>
                    <a:pt x="319" y="85"/>
                  </a:cubicBezTo>
                  <a:cubicBezTo>
                    <a:pt x="320" y="86"/>
                    <a:pt x="322" y="85"/>
                    <a:pt x="323" y="86"/>
                  </a:cubicBezTo>
                  <a:cubicBezTo>
                    <a:pt x="323" y="89"/>
                    <a:pt x="325" y="90"/>
                    <a:pt x="325" y="92"/>
                  </a:cubicBezTo>
                  <a:cubicBezTo>
                    <a:pt x="320" y="94"/>
                    <a:pt x="316" y="93"/>
                    <a:pt x="310" y="95"/>
                  </a:cubicBezTo>
                  <a:cubicBezTo>
                    <a:pt x="314" y="99"/>
                    <a:pt x="317" y="103"/>
                    <a:pt x="325" y="103"/>
                  </a:cubicBezTo>
                  <a:cubicBezTo>
                    <a:pt x="324" y="105"/>
                    <a:pt x="326" y="106"/>
                    <a:pt x="328" y="106"/>
                  </a:cubicBezTo>
                  <a:cubicBezTo>
                    <a:pt x="329" y="109"/>
                    <a:pt x="325" y="108"/>
                    <a:pt x="325" y="110"/>
                  </a:cubicBezTo>
                  <a:cubicBezTo>
                    <a:pt x="325" y="112"/>
                    <a:pt x="323" y="113"/>
                    <a:pt x="320" y="113"/>
                  </a:cubicBezTo>
                  <a:cubicBezTo>
                    <a:pt x="319" y="119"/>
                    <a:pt x="326" y="115"/>
                    <a:pt x="325" y="121"/>
                  </a:cubicBezTo>
                  <a:cubicBezTo>
                    <a:pt x="322" y="120"/>
                    <a:pt x="322" y="122"/>
                    <a:pt x="323" y="122"/>
                  </a:cubicBezTo>
                  <a:cubicBezTo>
                    <a:pt x="322" y="126"/>
                    <a:pt x="319" y="121"/>
                    <a:pt x="316" y="122"/>
                  </a:cubicBezTo>
                  <a:cubicBezTo>
                    <a:pt x="313" y="122"/>
                    <a:pt x="315" y="127"/>
                    <a:pt x="311" y="126"/>
                  </a:cubicBezTo>
                  <a:cubicBezTo>
                    <a:pt x="311" y="129"/>
                    <a:pt x="313" y="130"/>
                    <a:pt x="314" y="131"/>
                  </a:cubicBezTo>
                  <a:cubicBezTo>
                    <a:pt x="314" y="133"/>
                    <a:pt x="311" y="132"/>
                    <a:pt x="309" y="132"/>
                  </a:cubicBezTo>
                  <a:cubicBezTo>
                    <a:pt x="304" y="133"/>
                    <a:pt x="301" y="136"/>
                    <a:pt x="297" y="137"/>
                  </a:cubicBezTo>
                  <a:cubicBezTo>
                    <a:pt x="297" y="139"/>
                    <a:pt x="300" y="138"/>
                    <a:pt x="301" y="138"/>
                  </a:cubicBezTo>
                  <a:cubicBezTo>
                    <a:pt x="303" y="139"/>
                    <a:pt x="303" y="144"/>
                    <a:pt x="307" y="143"/>
                  </a:cubicBezTo>
                  <a:cubicBezTo>
                    <a:pt x="308" y="146"/>
                    <a:pt x="305" y="146"/>
                    <a:pt x="304" y="147"/>
                  </a:cubicBezTo>
                  <a:cubicBezTo>
                    <a:pt x="303" y="149"/>
                    <a:pt x="306" y="154"/>
                    <a:pt x="303" y="155"/>
                  </a:cubicBezTo>
                  <a:cubicBezTo>
                    <a:pt x="305" y="160"/>
                    <a:pt x="315" y="158"/>
                    <a:pt x="316" y="165"/>
                  </a:cubicBezTo>
                  <a:cubicBezTo>
                    <a:pt x="314" y="165"/>
                    <a:pt x="310" y="166"/>
                    <a:pt x="310" y="164"/>
                  </a:cubicBezTo>
                  <a:cubicBezTo>
                    <a:pt x="308" y="164"/>
                    <a:pt x="309" y="165"/>
                    <a:pt x="310" y="165"/>
                  </a:cubicBezTo>
                  <a:cubicBezTo>
                    <a:pt x="306" y="169"/>
                    <a:pt x="304" y="169"/>
                    <a:pt x="297" y="168"/>
                  </a:cubicBezTo>
                  <a:cubicBezTo>
                    <a:pt x="299" y="162"/>
                    <a:pt x="290" y="168"/>
                    <a:pt x="292" y="162"/>
                  </a:cubicBezTo>
                  <a:cubicBezTo>
                    <a:pt x="288" y="161"/>
                    <a:pt x="288" y="165"/>
                    <a:pt x="283" y="164"/>
                  </a:cubicBezTo>
                  <a:cubicBezTo>
                    <a:pt x="285" y="165"/>
                    <a:pt x="285" y="167"/>
                    <a:pt x="282" y="166"/>
                  </a:cubicBezTo>
                  <a:cubicBezTo>
                    <a:pt x="282" y="169"/>
                    <a:pt x="291" y="169"/>
                    <a:pt x="283" y="169"/>
                  </a:cubicBezTo>
                  <a:cubicBezTo>
                    <a:pt x="285" y="172"/>
                    <a:pt x="288" y="171"/>
                    <a:pt x="291" y="171"/>
                  </a:cubicBezTo>
                  <a:cubicBezTo>
                    <a:pt x="294" y="171"/>
                    <a:pt x="298" y="173"/>
                    <a:pt x="303" y="172"/>
                  </a:cubicBezTo>
                  <a:cubicBezTo>
                    <a:pt x="300" y="177"/>
                    <a:pt x="296" y="181"/>
                    <a:pt x="292" y="184"/>
                  </a:cubicBezTo>
                  <a:cubicBezTo>
                    <a:pt x="289" y="184"/>
                    <a:pt x="286" y="185"/>
                    <a:pt x="283" y="186"/>
                  </a:cubicBezTo>
                  <a:cubicBezTo>
                    <a:pt x="283" y="186"/>
                    <a:pt x="281" y="185"/>
                    <a:pt x="280" y="186"/>
                  </a:cubicBezTo>
                  <a:cubicBezTo>
                    <a:pt x="279" y="188"/>
                    <a:pt x="280" y="186"/>
                    <a:pt x="277" y="186"/>
                  </a:cubicBezTo>
                  <a:cubicBezTo>
                    <a:pt x="273" y="186"/>
                    <a:pt x="270" y="189"/>
                    <a:pt x="264" y="189"/>
                  </a:cubicBezTo>
                  <a:cubicBezTo>
                    <a:pt x="262" y="189"/>
                    <a:pt x="264" y="191"/>
                    <a:pt x="264" y="190"/>
                  </a:cubicBezTo>
                  <a:cubicBezTo>
                    <a:pt x="262" y="194"/>
                    <a:pt x="261" y="191"/>
                    <a:pt x="257" y="192"/>
                  </a:cubicBezTo>
                  <a:cubicBezTo>
                    <a:pt x="257" y="193"/>
                    <a:pt x="258" y="193"/>
                    <a:pt x="260" y="193"/>
                  </a:cubicBezTo>
                  <a:cubicBezTo>
                    <a:pt x="260" y="195"/>
                    <a:pt x="249" y="196"/>
                    <a:pt x="251" y="192"/>
                  </a:cubicBezTo>
                  <a:cubicBezTo>
                    <a:pt x="250" y="192"/>
                    <a:pt x="245" y="192"/>
                    <a:pt x="245" y="193"/>
                  </a:cubicBezTo>
                  <a:cubicBezTo>
                    <a:pt x="244" y="195"/>
                    <a:pt x="246" y="198"/>
                    <a:pt x="245" y="199"/>
                  </a:cubicBezTo>
                  <a:cubicBezTo>
                    <a:pt x="245" y="199"/>
                    <a:pt x="241" y="197"/>
                    <a:pt x="240" y="199"/>
                  </a:cubicBezTo>
                  <a:cubicBezTo>
                    <a:pt x="240" y="200"/>
                    <a:pt x="243" y="202"/>
                    <a:pt x="242" y="204"/>
                  </a:cubicBezTo>
                  <a:cubicBezTo>
                    <a:pt x="240" y="205"/>
                    <a:pt x="240" y="204"/>
                    <a:pt x="237" y="204"/>
                  </a:cubicBezTo>
                  <a:cubicBezTo>
                    <a:pt x="237" y="205"/>
                    <a:pt x="237" y="207"/>
                    <a:pt x="237" y="208"/>
                  </a:cubicBezTo>
                  <a:cubicBezTo>
                    <a:pt x="236" y="208"/>
                    <a:pt x="235" y="208"/>
                    <a:pt x="234" y="208"/>
                  </a:cubicBezTo>
                  <a:cubicBezTo>
                    <a:pt x="233" y="208"/>
                    <a:pt x="234" y="210"/>
                    <a:pt x="233" y="211"/>
                  </a:cubicBezTo>
                  <a:cubicBezTo>
                    <a:pt x="231" y="212"/>
                    <a:pt x="225" y="211"/>
                    <a:pt x="226" y="215"/>
                  </a:cubicBezTo>
                  <a:cubicBezTo>
                    <a:pt x="220" y="217"/>
                    <a:pt x="213" y="217"/>
                    <a:pt x="205" y="217"/>
                  </a:cubicBezTo>
                  <a:cubicBezTo>
                    <a:pt x="202" y="219"/>
                    <a:pt x="200" y="226"/>
                    <a:pt x="196" y="223"/>
                  </a:cubicBezTo>
                  <a:cubicBezTo>
                    <a:pt x="196" y="224"/>
                    <a:pt x="198" y="225"/>
                    <a:pt x="197" y="227"/>
                  </a:cubicBezTo>
                  <a:cubicBezTo>
                    <a:pt x="197" y="228"/>
                    <a:pt x="195" y="227"/>
                    <a:pt x="194" y="227"/>
                  </a:cubicBezTo>
                  <a:cubicBezTo>
                    <a:pt x="194" y="228"/>
                    <a:pt x="196" y="229"/>
                    <a:pt x="196" y="230"/>
                  </a:cubicBezTo>
                  <a:cubicBezTo>
                    <a:pt x="196" y="230"/>
                    <a:pt x="194" y="231"/>
                    <a:pt x="194" y="232"/>
                  </a:cubicBezTo>
                  <a:cubicBezTo>
                    <a:pt x="194" y="233"/>
                    <a:pt x="190" y="237"/>
                    <a:pt x="193" y="238"/>
                  </a:cubicBezTo>
                  <a:cubicBezTo>
                    <a:pt x="193" y="239"/>
                    <a:pt x="191" y="238"/>
                    <a:pt x="190" y="239"/>
                  </a:cubicBezTo>
                  <a:cubicBezTo>
                    <a:pt x="189" y="240"/>
                    <a:pt x="187" y="241"/>
                    <a:pt x="187" y="242"/>
                  </a:cubicBezTo>
                  <a:cubicBezTo>
                    <a:pt x="187" y="243"/>
                    <a:pt x="187" y="245"/>
                    <a:pt x="187" y="245"/>
                  </a:cubicBezTo>
                  <a:cubicBezTo>
                    <a:pt x="185" y="247"/>
                    <a:pt x="187" y="248"/>
                    <a:pt x="186" y="251"/>
                  </a:cubicBezTo>
                  <a:cubicBezTo>
                    <a:pt x="185" y="251"/>
                    <a:pt x="183" y="251"/>
                    <a:pt x="183" y="251"/>
                  </a:cubicBezTo>
                  <a:cubicBezTo>
                    <a:pt x="182" y="252"/>
                    <a:pt x="184" y="253"/>
                    <a:pt x="184" y="254"/>
                  </a:cubicBezTo>
                  <a:cubicBezTo>
                    <a:pt x="184" y="256"/>
                    <a:pt x="183" y="256"/>
                    <a:pt x="183" y="258"/>
                  </a:cubicBezTo>
                  <a:cubicBezTo>
                    <a:pt x="182" y="259"/>
                    <a:pt x="184" y="262"/>
                    <a:pt x="184" y="261"/>
                  </a:cubicBezTo>
                  <a:cubicBezTo>
                    <a:pt x="182" y="266"/>
                    <a:pt x="180" y="269"/>
                    <a:pt x="175" y="272"/>
                  </a:cubicBezTo>
                  <a:cubicBezTo>
                    <a:pt x="170" y="271"/>
                    <a:pt x="168" y="268"/>
                    <a:pt x="165" y="266"/>
                  </a:cubicBezTo>
                  <a:cubicBezTo>
                    <a:pt x="160" y="271"/>
                    <a:pt x="152" y="262"/>
                    <a:pt x="153" y="263"/>
                  </a:cubicBezTo>
                  <a:cubicBezTo>
                    <a:pt x="152" y="262"/>
                    <a:pt x="151" y="266"/>
                    <a:pt x="151" y="266"/>
                  </a:cubicBezTo>
                  <a:cubicBezTo>
                    <a:pt x="150" y="265"/>
                    <a:pt x="150" y="263"/>
                    <a:pt x="148" y="261"/>
                  </a:cubicBezTo>
                  <a:cubicBezTo>
                    <a:pt x="147" y="260"/>
                    <a:pt x="143" y="260"/>
                    <a:pt x="144" y="255"/>
                  </a:cubicBezTo>
                  <a:cubicBezTo>
                    <a:pt x="143" y="253"/>
                    <a:pt x="140" y="252"/>
                    <a:pt x="138" y="251"/>
                  </a:cubicBezTo>
                  <a:cubicBezTo>
                    <a:pt x="138" y="250"/>
                    <a:pt x="140" y="250"/>
                    <a:pt x="141" y="249"/>
                  </a:cubicBezTo>
                  <a:cubicBezTo>
                    <a:pt x="141" y="246"/>
                    <a:pt x="137" y="247"/>
                    <a:pt x="135" y="245"/>
                  </a:cubicBezTo>
                  <a:cubicBezTo>
                    <a:pt x="134" y="244"/>
                    <a:pt x="134" y="241"/>
                    <a:pt x="132" y="241"/>
                  </a:cubicBezTo>
                  <a:cubicBezTo>
                    <a:pt x="130" y="244"/>
                    <a:pt x="132" y="238"/>
                    <a:pt x="132" y="239"/>
                  </a:cubicBezTo>
                  <a:cubicBezTo>
                    <a:pt x="132" y="237"/>
                    <a:pt x="130" y="239"/>
                    <a:pt x="129" y="238"/>
                  </a:cubicBezTo>
                  <a:cubicBezTo>
                    <a:pt x="128" y="236"/>
                    <a:pt x="130" y="233"/>
                    <a:pt x="128" y="233"/>
                  </a:cubicBezTo>
                  <a:cubicBezTo>
                    <a:pt x="125" y="233"/>
                    <a:pt x="127" y="227"/>
                    <a:pt x="125" y="230"/>
                  </a:cubicBezTo>
                  <a:cubicBezTo>
                    <a:pt x="123" y="229"/>
                    <a:pt x="123" y="227"/>
                    <a:pt x="120" y="227"/>
                  </a:cubicBezTo>
                  <a:cubicBezTo>
                    <a:pt x="121" y="225"/>
                    <a:pt x="123" y="225"/>
                    <a:pt x="123" y="223"/>
                  </a:cubicBezTo>
                  <a:cubicBezTo>
                    <a:pt x="123" y="221"/>
                    <a:pt x="120" y="222"/>
                    <a:pt x="117" y="221"/>
                  </a:cubicBezTo>
                  <a:cubicBezTo>
                    <a:pt x="116" y="216"/>
                    <a:pt x="117" y="213"/>
                    <a:pt x="119" y="208"/>
                  </a:cubicBezTo>
                  <a:cubicBezTo>
                    <a:pt x="115" y="206"/>
                    <a:pt x="122" y="203"/>
                    <a:pt x="116" y="204"/>
                  </a:cubicBezTo>
                  <a:cubicBezTo>
                    <a:pt x="115" y="202"/>
                    <a:pt x="118" y="203"/>
                    <a:pt x="119" y="202"/>
                  </a:cubicBezTo>
                  <a:cubicBezTo>
                    <a:pt x="119" y="202"/>
                    <a:pt x="119" y="199"/>
                    <a:pt x="119" y="199"/>
                  </a:cubicBezTo>
                  <a:cubicBezTo>
                    <a:pt x="120" y="199"/>
                    <a:pt x="120" y="201"/>
                    <a:pt x="122" y="201"/>
                  </a:cubicBezTo>
                  <a:cubicBezTo>
                    <a:pt x="122" y="198"/>
                    <a:pt x="122" y="195"/>
                    <a:pt x="122" y="192"/>
                  </a:cubicBezTo>
                  <a:cubicBezTo>
                    <a:pt x="124" y="192"/>
                    <a:pt x="126" y="191"/>
                    <a:pt x="126" y="189"/>
                  </a:cubicBezTo>
                  <a:cubicBezTo>
                    <a:pt x="128" y="189"/>
                    <a:pt x="127" y="191"/>
                    <a:pt x="128" y="192"/>
                  </a:cubicBezTo>
                  <a:cubicBezTo>
                    <a:pt x="129" y="191"/>
                    <a:pt x="129" y="188"/>
                    <a:pt x="132" y="189"/>
                  </a:cubicBezTo>
                  <a:cubicBezTo>
                    <a:pt x="133" y="187"/>
                    <a:pt x="131" y="186"/>
                    <a:pt x="131" y="186"/>
                  </a:cubicBezTo>
                  <a:cubicBezTo>
                    <a:pt x="131" y="184"/>
                    <a:pt x="135" y="184"/>
                    <a:pt x="135" y="183"/>
                  </a:cubicBezTo>
                  <a:cubicBezTo>
                    <a:pt x="136" y="180"/>
                    <a:pt x="130" y="179"/>
                    <a:pt x="134" y="175"/>
                  </a:cubicBezTo>
                  <a:cubicBezTo>
                    <a:pt x="127" y="179"/>
                    <a:pt x="136" y="172"/>
                    <a:pt x="126" y="174"/>
                  </a:cubicBezTo>
                  <a:cubicBezTo>
                    <a:pt x="125" y="169"/>
                    <a:pt x="131" y="169"/>
                    <a:pt x="135" y="169"/>
                  </a:cubicBezTo>
                  <a:cubicBezTo>
                    <a:pt x="135" y="168"/>
                    <a:pt x="132" y="168"/>
                    <a:pt x="132" y="166"/>
                  </a:cubicBezTo>
                  <a:cubicBezTo>
                    <a:pt x="132" y="165"/>
                    <a:pt x="130" y="166"/>
                    <a:pt x="129" y="165"/>
                  </a:cubicBezTo>
                  <a:cubicBezTo>
                    <a:pt x="129" y="165"/>
                    <a:pt x="129" y="163"/>
                    <a:pt x="129" y="162"/>
                  </a:cubicBezTo>
                  <a:cubicBezTo>
                    <a:pt x="129" y="161"/>
                    <a:pt x="126" y="159"/>
                    <a:pt x="125" y="159"/>
                  </a:cubicBezTo>
                  <a:cubicBezTo>
                    <a:pt x="124" y="159"/>
                    <a:pt x="122" y="155"/>
                    <a:pt x="120" y="153"/>
                  </a:cubicBezTo>
                  <a:cubicBezTo>
                    <a:pt x="118" y="155"/>
                    <a:pt x="117" y="158"/>
                    <a:pt x="116" y="153"/>
                  </a:cubicBezTo>
                  <a:cubicBezTo>
                    <a:pt x="114" y="153"/>
                    <a:pt x="115" y="156"/>
                    <a:pt x="114" y="158"/>
                  </a:cubicBezTo>
                  <a:cubicBezTo>
                    <a:pt x="112" y="158"/>
                    <a:pt x="109" y="158"/>
                    <a:pt x="107" y="158"/>
                  </a:cubicBezTo>
                  <a:cubicBezTo>
                    <a:pt x="102" y="151"/>
                    <a:pt x="105" y="147"/>
                    <a:pt x="107" y="140"/>
                  </a:cubicBezTo>
                  <a:cubicBezTo>
                    <a:pt x="106" y="139"/>
                    <a:pt x="105" y="137"/>
                    <a:pt x="105" y="135"/>
                  </a:cubicBezTo>
                  <a:cubicBezTo>
                    <a:pt x="104" y="135"/>
                    <a:pt x="104" y="137"/>
                    <a:pt x="104" y="138"/>
                  </a:cubicBezTo>
                  <a:cubicBezTo>
                    <a:pt x="100" y="139"/>
                    <a:pt x="105" y="130"/>
                    <a:pt x="100" y="132"/>
                  </a:cubicBezTo>
                  <a:cubicBezTo>
                    <a:pt x="101" y="130"/>
                    <a:pt x="101" y="129"/>
                    <a:pt x="100" y="126"/>
                  </a:cubicBezTo>
                  <a:cubicBezTo>
                    <a:pt x="99" y="125"/>
                    <a:pt x="97" y="125"/>
                    <a:pt x="95" y="125"/>
                  </a:cubicBezTo>
                  <a:cubicBezTo>
                    <a:pt x="94" y="122"/>
                    <a:pt x="94" y="120"/>
                    <a:pt x="94" y="118"/>
                  </a:cubicBezTo>
                  <a:cubicBezTo>
                    <a:pt x="93" y="115"/>
                    <a:pt x="89" y="115"/>
                    <a:pt x="91" y="112"/>
                  </a:cubicBezTo>
                  <a:cubicBezTo>
                    <a:pt x="88" y="113"/>
                    <a:pt x="87" y="111"/>
                    <a:pt x="86" y="110"/>
                  </a:cubicBezTo>
                  <a:cubicBezTo>
                    <a:pt x="86" y="110"/>
                    <a:pt x="84" y="111"/>
                    <a:pt x="83" y="110"/>
                  </a:cubicBezTo>
                  <a:cubicBezTo>
                    <a:pt x="81" y="108"/>
                    <a:pt x="70" y="109"/>
                    <a:pt x="67" y="104"/>
                  </a:cubicBezTo>
                  <a:cubicBezTo>
                    <a:pt x="61" y="107"/>
                    <a:pt x="49" y="101"/>
                    <a:pt x="46" y="104"/>
                  </a:cubicBezTo>
                  <a:cubicBezTo>
                    <a:pt x="44" y="107"/>
                    <a:pt x="44" y="104"/>
                    <a:pt x="42" y="104"/>
                  </a:cubicBezTo>
                  <a:cubicBezTo>
                    <a:pt x="38" y="105"/>
                    <a:pt x="35" y="107"/>
                    <a:pt x="31" y="107"/>
                  </a:cubicBezTo>
                  <a:cubicBezTo>
                    <a:pt x="32" y="107"/>
                    <a:pt x="31" y="106"/>
                    <a:pt x="30" y="106"/>
                  </a:cubicBezTo>
                  <a:cubicBezTo>
                    <a:pt x="28" y="106"/>
                    <a:pt x="27" y="106"/>
                    <a:pt x="25" y="106"/>
                  </a:cubicBezTo>
                  <a:cubicBezTo>
                    <a:pt x="26" y="103"/>
                    <a:pt x="24" y="102"/>
                    <a:pt x="22" y="101"/>
                  </a:cubicBezTo>
                  <a:cubicBezTo>
                    <a:pt x="22" y="99"/>
                    <a:pt x="26" y="101"/>
                    <a:pt x="27" y="100"/>
                  </a:cubicBezTo>
                  <a:cubicBezTo>
                    <a:pt x="27" y="99"/>
                    <a:pt x="23" y="95"/>
                    <a:pt x="30" y="97"/>
                  </a:cubicBezTo>
                  <a:cubicBezTo>
                    <a:pt x="27" y="93"/>
                    <a:pt x="16" y="98"/>
                    <a:pt x="14" y="94"/>
                  </a:cubicBezTo>
                  <a:cubicBezTo>
                    <a:pt x="17" y="86"/>
                    <a:pt x="26" y="94"/>
                    <a:pt x="31" y="88"/>
                  </a:cubicBezTo>
                  <a:cubicBezTo>
                    <a:pt x="28" y="85"/>
                    <a:pt x="19" y="87"/>
                    <a:pt x="15" y="88"/>
                  </a:cubicBezTo>
                  <a:cubicBezTo>
                    <a:pt x="13" y="86"/>
                    <a:pt x="15" y="86"/>
                    <a:pt x="15" y="84"/>
                  </a:cubicBezTo>
                  <a:cubicBezTo>
                    <a:pt x="14" y="83"/>
                    <a:pt x="14" y="84"/>
                    <a:pt x="14" y="85"/>
                  </a:cubicBezTo>
                  <a:cubicBezTo>
                    <a:pt x="12" y="85"/>
                    <a:pt x="12" y="83"/>
                    <a:pt x="12" y="82"/>
                  </a:cubicBezTo>
                  <a:cubicBezTo>
                    <a:pt x="6" y="83"/>
                    <a:pt x="4" y="81"/>
                    <a:pt x="0" y="79"/>
                  </a:cubicBezTo>
                  <a:cubicBezTo>
                    <a:pt x="3" y="69"/>
                    <a:pt x="15" y="72"/>
                    <a:pt x="22" y="70"/>
                  </a:cubicBezTo>
                  <a:cubicBezTo>
                    <a:pt x="25" y="70"/>
                    <a:pt x="24" y="70"/>
                    <a:pt x="25" y="69"/>
                  </a:cubicBezTo>
                  <a:cubicBezTo>
                    <a:pt x="25" y="69"/>
                    <a:pt x="27" y="67"/>
                    <a:pt x="27" y="67"/>
                  </a:cubicBezTo>
                  <a:cubicBezTo>
                    <a:pt x="31" y="65"/>
                    <a:pt x="37" y="67"/>
                    <a:pt x="39" y="66"/>
                  </a:cubicBezTo>
                  <a:cubicBezTo>
                    <a:pt x="40" y="65"/>
                    <a:pt x="39" y="64"/>
                    <a:pt x="40" y="63"/>
                  </a:cubicBezTo>
                  <a:cubicBezTo>
                    <a:pt x="41" y="62"/>
                    <a:pt x="44" y="62"/>
                    <a:pt x="45" y="61"/>
                  </a:cubicBezTo>
                  <a:cubicBezTo>
                    <a:pt x="46" y="60"/>
                    <a:pt x="47" y="59"/>
                    <a:pt x="49" y="57"/>
                  </a:cubicBezTo>
                  <a:cubicBezTo>
                    <a:pt x="51" y="52"/>
                    <a:pt x="44" y="56"/>
                    <a:pt x="46" y="51"/>
                  </a:cubicBezTo>
                  <a:cubicBezTo>
                    <a:pt x="43" y="49"/>
                    <a:pt x="44" y="54"/>
                    <a:pt x="43" y="54"/>
                  </a:cubicBezTo>
                  <a:cubicBezTo>
                    <a:pt x="42" y="54"/>
                    <a:pt x="36" y="51"/>
                    <a:pt x="31" y="52"/>
                  </a:cubicBezTo>
                  <a:cubicBezTo>
                    <a:pt x="30" y="48"/>
                    <a:pt x="35" y="51"/>
                    <a:pt x="36" y="49"/>
                  </a:cubicBezTo>
                  <a:cubicBezTo>
                    <a:pt x="36" y="49"/>
                    <a:pt x="36" y="48"/>
                    <a:pt x="36" y="48"/>
                  </a:cubicBezTo>
                  <a:cubicBezTo>
                    <a:pt x="36" y="48"/>
                    <a:pt x="38" y="48"/>
                    <a:pt x="39" y="48"/>
                  </a:cubicBezTo>
                  <a:cubicBezTo>
                    <a:pt x="39" y="48"/>
                    <a:pt x="40" y="45"/>
                    <a:pt x="40" y="45"/>
                  </a:cubicBezTo>
                  <a:cubicBezTo>
                    <a:pt x="42" y="44"/>
                    <a:pt x="41" y="46"/>
                    <a:pt x="42" y="46"/>
                  </a:cubicBezTo>
                  <a:cubicBezTo>
                    <a:pt x="42" y="47"/>
                    <a:pt x="47" y="45"/>
                    <a:pt x="46" y="42"/>
                  </a:cubicBezTo>
                  <a:cubicBezTo>
                    <a:pt x="49" y="42"/>
                    <a:pt x="49" y="44"/>
                    <a:pt x="52" y="43"/>
                  </a:cubicBezTo>
                  <a:cubicBezTo>
                    <a:pt x="54" y="43"/>
                    <a:pt x="52" y="42"/>
                    <a:pt x="52" y="42"/>
                  </a:cubicBezTo>
                  <a:cubicBezTo>
                    <a:pt x="53" y="40"/>
                    <a:pt x="56" y="41"/>
                    <a:pt x="55" y="38"/>
                  </a:cubicBezTo>
                  <a:cubicBezTo>
                    <a:pt x="59" y="38"/>
                    <a:pt x="62" y="38"/>
                    <a:pt x="66" y="38"/>
                  </a:cubicBezTo>
                  <a:cubicBezTo>
                    <a:pt x="69" y="37"/>
                    <a:pt x="66" y="31"/>
                    <a:pt x="67" y="29"/>
                  </a:cubicBezTo>
                  <a:cubicBezTo>
                    <a:pt x="72" y="30"/>
                    <a:pt x="77" y="31"/>
                    <a:pt x="82" y="29"/>
                  </a:cubicBezTo>
                  <a:cubicBezTo>
                    <a:pt x="82" y="27"/>
                    <a:pt x="80" y="27"/>
                    <a:pt x="79" y="27"/>
                  </a:cubicBezTo>
                  <a:cubicBezTo>
                    <a:pt x="80" y="25"/>
                    <a:pt x="85" y="26"/>
                    <a:pt x="88" y="24"/>
                  </a:cubicBezTo>
                  <a:cubicBezTo>
                    <a:pt x="91" y="22"/>
                    <a:pt x="103" y="24"/>
                    <a:pt x="111" y="23"/>
                  </a:cubicBezTo>
                  <a:cubicBezTo>
                    <a:pt x="114" y="23"/>
                    <a:pt x="114" y="21"/>
                    <a:pt x="116" y="21"/>
                  </a:cubicBezTo>
                  <a:cubicBezTo>
                    <a:pt x="120" y="21"/>
                    <a:pt x="123" y="23"/>
                    <a:pt x="126" y="21"/>
                  </a:cubicBezTo>
                  <a:cubicBezTo>
                    <a:pt x="125" y="23"/>
                    <a:pt x="127" y="26"/>
                    <a:pt x="128" y="26"/>
                  </a:cubicBezTo>
                  <a:cubicBezTo>
                    <a:pt x="130" y="23"/>
                    <a:pt x="128" y="25"/>
                    <a:pt x="132" y="29"/>
                  </a:cubicBezTo>
                  <a:cubicBezTo>
                    <a:pt x="135" y="28"/>
                    <a:pt x="130" y="24"/>
                    <a:pt x="137" y="26"/>
                  </a:cubicBezTo>
                  <a:cubicBezTo>
                    <a:pt x="134" y="23"/>
                    <a:pt x="139" y="20"/>
                    <a:pt x="132" y="20"/>
                  </a:cubicBezTo>
                  <a:cubicBezTo>
                    <a:pt x="133" y="17"/>
                    <a:pt x="144" y="12"/>
                    <a:pt x="144" y="18"/>
                  </a:cubicBezTo>
                  <a:cubicBezTo>
                    <a:pt x="149" y="19"/>
                    <a:pt x="148" y="16"/>
                    <a:pt x="151" y="18"/>
                  </a:cubicBezTo>
                  <a:cubicBezTo>
                    <a:pt x="153" y="19"/>
                    <a:pt x="154" y="20"/>
                    <a:pt x="156" y="21"/>
                  </a:cubicBezTo>
                  <a:cubicBezTo>
                    <a:pt x="158" y="22"/>
                    <a:pt x="162" y="23"/>
                    <a:pt x="168" y="24"/>
                  </a:cubicBezTo>
                  <a:cubicBezTo>
                    <a:pt x="168" y="23"/>
                    <a:pt x="166" y="23"/>
                    <a:pt x="165" y="23"/>
                  </a:cubicBezTo>
                  <a:cubicBezTo>
                    <a:pt x="165" y="21"/>
                    <a:pt x="167" y="20"/>
                    <a:pt x="169" y="20"/>
                  </a:cubicBezTo>
                  <a:cubicBezTo>
                    <a:pt x="167" y="16"/>
                    <a:pt x="161" y="16"/>
                    <a:pt x="156" y="15"/>
                  </a:cubicBezTo>
                  <a:cubicBezTo>
                    <a:pt x="156" y="11"/>
                    <a:pt x="162" y="13"/>
                    <a:pt x="166" y="12"/>
                  </a:cubicBezTo>
                  <a:cubicBezTo>
                    <a:pt x="167" y="9"/>
                    <a:pt x="164" y="10"/>
                    <a:pt x="162" y="9"/>
                  </a:cubicBezTo>
                  <a:cubicBezTo>
                    <a:pt x="165" y="3"/>
                    <a:pt x="171" y="9"/>
                    <a:pt x="175" y="9"/>
                  </a:cubicBezTo>
                  <a:cubicBezTo>
                    <a:pt x="178" y="10"/>
                    <a:pt x="178" y="8"/>
                    <a:pt x="181" y="8"/>
                  </a:cubicBezTo>
                  <a:cubicBezTo>
                    <a:pt x="189" y="8"/>
                    <a:pt x="193" y="11"/>
                    <a:pt x="199" y="8"/>
                  </a:cubicBezTo>
                  <a:cubicBezTo>
                    <a:pt x="201" y="7"/>
                    <a:pt x="204" y="7"/>
                    <a:pt x="208" y="6"/>
                  </a:cubicBezTo>
                  <a:cubicBezTo>
                    <a:pt x="210" y="6"/>
                    <a:pt x="209" y="4"/>
                    <a:pt x="209" y="2"/>
                  </a:cubicBezTo>
                  <a:cubicBezTo>
                    <a:pt x="212" y="2"/>
                    <a:pt x="214" y="2"/>
                    <a:pt x="217" y="2"/>
                  </a:cubicBezTo>
                  <a:cubicBezTo>
                    <a:pt x="219" y="2"/>
                    <a:pt x="219" y="1"/>
                    <a:pt x="221" y="1"/>
                  </a:cubicBezTo>
                  <a:cubicBezTo>
                    <a:pt x="224" y="0"/>
                    <a:pt x="228" y="3"/>
                    <a:pt x="234" y="2"/>
                  </a:cubicBezTo>
                  <a:cubicBezTo>
                    <a:pt x="239" y="1"/>
                    <a:pt x="248" y="0"/>
                    <a:pt x="257" y="1"/>
                  </a:cubicBezTo>
                  <a:cubicBezTo>
                    <a:pt x="259" y="1"/>
                    <a:pt x="259" y="2"/>
                    <a:pt x="261" y="2"/>
                  </a:cubicBezTo>
                  <a:cubicBezTo>
                    <a:pt x="270" y="4"/>
                    <a:pt x="277" y="1"/>
                    <a:pt x="277" y="8"/>
                  </a:cubicBezTo>
                  <a:cubicBezTo>
                    <a:pt x="282" y="9"/>
                    <a:pt x="281" y="6"/>
                    <a:pt x="285" y="6"/>
                  </a:cubicBezTo>
                  <a:cubicBezTo>
                    <a:pt x="285" y="11"/>
                    <a:pt x="290" y="10"/>
                    <a:pt x="292" y="12"/>
                  </a:cubicBezTo>
                  <a:cubicBezTo>
                    <a:pt x="296" y="14"/>
                    <a:pt x="296" y="10"/>
                    <a:pt x="300" y="11"/>
                  </a:cubicBezTo>
                  <a:cubicBezTo>
                    <a:pt x="298" y="16"/>
                    <a:pt x="305" y="13"/>
                    <a:pt x="309" y="14"/>
                  </a:cubicBezTo>
                  <a:cubicBezTo>
                    <a:pt x="306" y="17"/>
                    <a:pt x="306" y="15"/>
                    <a:pt x="307" y="20"/>
                  </a:cubicBezTo>
                  <a:cubicBezTo>
                    <a:pt x="305" y="18"/>
                    <a:pt x="304" y="18"/>
                    <a:pt x="304" y="21"/>
                  </a:cubicBezTo>
                  <a:cubicBezTo>
                    <a:pt x="288" y="22"/>
                    <a:pt x="269" y="23"/>
                    <a:pt x="258" y="24"/>
                  </a:cubicBezTo>
                  <a:cubicBezTo>
                    <a:pt x="257" y="24"/>
                    <a:pt x="257" y="25"/>
                    <a:pt x="257" y="26"/>
                  </a:cubicBezTo>
                  <a:cubicBezTo>
                    <a:pt x="255" y="25"/>
                    <a:pt x="256" y="24"/>
                    <a:pt x="257" y="24"/>
                  </a:cubicBezTo>
                  <a:cubicBezTo>
                    <a:pt x="257" y="23"/>
                    <a:pt x="254" y="22"/>
                    <a:pt x="254" y="23"/>
                  </a:cubicBezTo>
                  <a:cubicBezTo>
                    <a:pt x="253" y="23"/>
                    <a:pt x="254" y="26"/>
                    <a:pt x="254" y="26"/>
                  </a:cubicBezTo>
                  <a:cubicBezTo>
                    <a:pt x="251" y="27"/>
                    <a:pt x="248" y="25"/>
                    <a:pt x="246" y="27"/>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98" name="Freeform 83">
              <a:extLst>
                <a:ext uri="{FF2B5EF4-FFF2-40B4-BE49-F238E27FC236}">
                  <a16:creationId xmlns:a16="http://schemas.microsoft.com/office/drawing/2014/main" id="{93C9C7BC-23CC-4E35-99E9-90A09618E7CC}"/>
                </a:ext>
              </a:extLst>
            </p:cNvPr>
            <p:cNvSpPr>
              <a:spLocks/>
            </p:cNvSpPr>
            <p:nvPr/>
          </p:nvSpPr>
          <p:spPr bwMode="auto">
            <a:xfrm>
              <a:off x="6473697" y="1145884"/>
              <a:ext cx="487145" cy="262043"/>
            </a:xfrm>
            <a:custGeom>
              <a:avLst/>
              <a:gdLst>
                <a:gd name="T0" fmla="*/ 167 w 179"/>
                <a:gd name="T1" fmla="*/ 9 h 96"/>
                <a:gd name="T2" fmla="*/ 177 w 179"/>
                <a:gd name="T3" fmla="*/ 15 h 96"/>
                <a:gd name="T4" fmla="*/ 173 w 179"/>
                <a:gd name="T5" fmla="*/ 18 h 96"/>
                <a:gd name="T6" fmla="*/ 165 w 179"/>
                <a:gd name="T7" fmla="*/ 21 h 96"/>
                <a:gd name="T8" fmla="*/ 144 w 179"/>
                <a:gd name="T9" fmla="*/ 25 h 96"/>
                <a:gd name="T10" fmla="*/ 153 w 179"/>
                <a:gd name="T11" fmla="*/ 28 h 96"/>
                <a:gd name="T12" fmla="*/ 135 w 179"/>
                <a:gd name="T13" fmla="*/ 35 h 96"/>
                <a:gd name="T14" fmla="*/ 130 w 179"/>
                <a:gd name="T15" fmla="*/ 38 h 96"/>
                <a:gd name="T16" fmla="*/ 121 w 179"/>
                <a:gd name="T17" fmla="*/ 43 h 96"/>
                <a:gd name="T18" fmla="*/ 106 w 179"/>
                <a:gd name="T19" fmla="*/ 49 h 96"/>
                <a:gd name="T20" fmla="*/ 101 w 179"/>
                <a:gd name="T21" fmla="*/ 53 h 96"/>
                <a:gd name="T22" fmla="*/ 91 w 179"/>
                <a:gd name="T23" fmla="*/ 55 h 96"/>
                <a:gd name="T24" fmla="*/ 97 w 179"/>
                <a:gd name="T25" fmla="*/ 64 h 96"/>
                <a:gd name="T26" fmla="*/ 87 w 179"/>
                <a:gd name="T27" fmla="*/ 71 h 96"/>
                <a:gd name="T28" fmla="*/ 79 w 179"/>
                <a:gd name="T29" fmla="*/ 76 h 96"/>
                <a:gd name="T30" fmla="*/ 66 w 179"/>
                <a:gd name="T31" fmla="*/ 84 h 96"/>
                <a:gd name="T32" fmla="*/ 70 w 179"/>
                <a:gd name="T33" fmla="*/ 92 h 96"/>
                <a:gd name="T34" fmla="*/ 58 w 179"/>
                <a:gd name="T35" fmla="*/ 95 h 96"/>
                <a:gd name="T36" fmla="*/ 36 w 179"/>
                <a:gd name="T37" fmla="*/ 90 h 96"/>
                <a:gd name="T38" fmla="*/ 29 w 179"/>
                <a:gd name="T39" fmla="*/ 92 h 96"/>
                <a:gd name="T40" fmla="*/ 18 w 179"/>
                <a:gd name="T41" fmla="*/ 84 h 96"/>
                <a:gd name="T42" fmla="*/ 29 w 179"/>
                <a:gd name="T43" fmla="*/ 76 h 96"/>
                <a:gd name="T44" fmla="*/ 41 w 179"/>
                <a:gd name="T45" fmla="*/ 76 h 96"/>
                <a:gd name="T46" fmla="*/ 20 w 179"/>
                <a:gd name="T47" fmla="*/ 71 h 96"/>
                <a:gd name="T48" fmla="*/ 32 w 179"/>
                <a:gd name="T49" fmla="*/ 62 h 96"/>
                <a:gd name="T50" fmla="*/ 42 w 179"/>
                <a:gd name="T51" fmla="*/ 62 h 96"/>
                <a:gd name="T52" fmla="*/ 42 w 179"/>
                <a:gd name="T53" fmla="*/ 56 h 96"/>
                <a:gd name="T54" fmla="*/ 39 w 179"/>
                <a:gd name="T55" fmla="*/ 49 h 96"/>
                <a:gd name="T56" fmla="*/ 32 w 179"/>
                <a:gd name="T57" fmla="*/ 46 h 96"/>
                <a:gd name="T58" fmla="*/ 48 w 179"/>
                <a:gd name="T59" fmla="*/ 44 h 96"/>
                <a:gd name="T60" fmla="*/ 54 w 179"/>
                <a:gd name="T61" fmla="*/ 41 h 96"/>
                <a:gd name="T62" fmla="*/ 66 w 179"/>
                <a:gd name="T63" fmla="*/ 33 h 96"/>
                <a:gd name="T64" fmla="*/ 41 w 179"/>
                <a:gd name="T65" fmla="*/ 37 h 96"/>
                <a:gd name="T66" fmla="*/ 23 w 179"/>
                <a:gd name="T67" fmla="*/ 33 h 96"/>
                <a:gd name="T68" fmla="*/ 5 w 179"/>
                <a:gd name="T69" fmla="*/ 28 h 96"/>
                <a:gd name="T70" fmla="*/ 2 w 179"/>
                <a:gd name="T71" fmla="*/ 19 h 96"/>
                <a:gd name="T72" fmla="*/ 32 w 179"/>
                <a:gd name="T73" fmla="*/ 12 h 96"/>
                <a:gd name="T74" fmla="*/ 52 w 179"/>
                <a:gd name="T75" fmla="*/ 7 h 96"/>
                <a:gd name="T76" fmla="*/ 78 w 179"/>
                <a:gd name="T77" fmla="*/ 3 h 96"/>
                <a:gd name="T78" fmla="*/ 103 w 179"/>
                <a:gd name="T79" fmla="*/ 1 h 96"/>
                <a:gd name="T80" fmla="*/ 116 w 179"/>
                <a:gd name="T81" fmla="*/ 1 h 96"/>
                <a:gd name="T82" fmla="*/ 141 w 179"/>
                <a:gd name="T83" fmla="*/ 1 h 96"/>
                <a:gd name="T84" fmla="*/ 167 w 179"/>
                <a:gd name="T85" fmla="*/ 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9" h="96">
                  <a:moveTo>
                    <a:pt x="167" y="3"/>
                  </a:moveTo>
                  <a:cubicBezTo>
                    <a:pt x="164" y="6"/>
                    <a:pt x="167" y="5"/>
                    <a:pt x="167" y="9"/>
                  </a:cubicBezTo>
                  <a:cubicBezTo>
                    <a:pt x="171" y="9"/>
                    <a:pt x="174" y="9"/>
                    <a:pt x="178" y="9"/>
                  </a:cubicBezTo>
                  <a:cubicBezTo>
                    <a:pt x="179" y="11"/>
                    <a:pt x="177" y="12"/>
                    <a:pt x="177" y="15"/>
                  </a:cubicBezTo>
                  <a:cubicBezTo>
                    <a:pt x="176" y="15"/>
                    <a:pt x="173" y="14"/>
                    <a:pt x="173" y="15"/>
                  </a:cubicBezTo>
                  <a:cubicBezTo>
                    <a:pt x="172" y="15"/>
                    <a:pt x="173" y="18"/>
                    <a:pt x="173" y="18"/>
                  </a:cubicBezTo>
                  <a:cubicBezTo>
                    <a:pt x="170" y="19"/>
                    <a:pt x="167" y="19"/>
                    <a:pt x="167" y="18"/>
                  </a:cubicBezTo>
                  <a:cubicBezTo>
                    <a:pt x="165" y="17"/>
                    <a:pt x="166" y="20"/>
                    <a:pt x="165" y="21"/>
                  </a:cubicBezTo>
                  <a:cubicBezTo>
                    <a:pt x="163" y="22"/>
                    <a:pt x="159" y="19"/>
                    <a:pt x="159" y="22"/>
                  </a:cubicBezTo>
                  <a:cubicBezTo>
                    <a:pt x="154" y="22"/>
                    <a:pt x="147" y="20"/>
                    <a:pt x="144" y="25"/>
                  </a:cubicBezTo>
                  <a:cubicBezTo>
                    <a:pt x="146" y="29"/>
                    <a:pt x="152" y="25"/>
                    <a:pt x="153" y="24"/>
                  </a:cubicBezTo>
                  <a:cubicBezTo>
                    <a:pt x="155" y="24"/>
                    <a:pt x="153" y="26"/>
                    <a:pt x="153" y="28"/>
                  </a:cubicBezTo>
                  <a:cubicBezTo>
                    <a:pt x="148" y="28"/>
                    <a:pt x="145" y="30"/>
                    <a:pt x="140" y="31"/>
                  </a:cubicBezTo>
                  <a:cubicBezTo>
                    <a:pt x="138" y="32"/>
                    <a:pt x="136" y="33"/>
                    <a:pt x="135" y="35"/>
                  </a:cubicBezTo>
                  <a:cubicBezTo>
                    <a:pt x="134" y="36"/>
                    <a:pt x="132" y="35"/>
                    <a:pt x="131" y="35"/>
                  </a:cubicBezTo>
                  <a:cubicBezTo>
                    <a:pt x="129" y="36"/>
                    <a:pt x="131" y="38"/>
                    <a:pt x="130" y="38"/>
                  </a:cubicBezTo>
                  <a:cubicBezTo>
                    <a:pt x="128" y="40"/>
                    <a:pt x="125" y="37"/>
                    <a:pt x="125" y="40"/>
                  </a:cubicBezTo>
                  <a:cubicBezTo>
                    <a:pt x="125" y="42"/>
                    <a:pt x="121" y="40"/>
                    <a:pt x="121" y="43"/>
                  </a:cubicBezTo>
                  <a:cubicBezTo>
                    <a:pt x="120" y="46"/>
                    <a:pt x="117" y="44"/>
                    <a:pt x="115" y="46"/>
                  </a:cubicBezTo>
                  <a:cubicBezTo>
                    <a:pt x="113" y="48"/>
                    <a:pt x="109" y="47"/>
                    <a:pt x="106" y="49"/>
                  </a:cubicBezTo>
                  <a:cubicBezTo>
                    <a:pt x="105" y="49"/>
                    <a:pt x="106" y="50"/>
                    <a:pt x="104" y="50"/>
                  </a:cubicBezTo>
                  <a:cubicBezTo>
                    <a:pt x="101" y="51"/>
                    <a:pt x="103" y="52"/>
                    <a:pt x="101" y="53"/>
                  </a:cubicBezTo>
                  <a:cubicBezTo>
                    <a:pt x="101" y="53"/>
                    <a:pt x="100" y="53"/>
                    <a:pt x="100" y="53"/>
                  </a:cubicBezTo>
                  <a:cubicBezTo>
                    <a:pt x="99" y="53"/>
                    <a:pt x="96" y="56"/>
                    <a:pt x="91" y="55"/>
                  </a:cubicBezTo>
                  <a:cubicBezTo>
                    <a:pt x="91" y="57"/>
                    <a:pt x="97" y="58"/>
                    <a:pt x="91" y="58"/>
                  </a:cubicBezTo>
                  <a:cubicBezTo>
                    <a:pt x="92" y="61"/>
                    <a:pt x="98" y="58"/>
                    <a:pt x="97" y="64"/>
                  </a:cubicBezTo>
                  <a:cubicBezTo>
                    <a:pt x="94" y="60"/>
                    <a:pt x="94" y="64"/>
                    <a:pt x="94" y="68"/>
                  </a:cubicBezTo>
                  <a:cubicBezTo>
                    <a:pt x="91" y="64"/>
                    <a:pt x="89" y="69"/>
                    <a:pt x="87" y="71"/>
                  </a:cubicBezTo>
                  <a:cubicBezTo>
                    <a:pt x="84" y="73"/>
                    <a:pt x="80" y="71"/>
                    <a:pt x="78" y="74"/>
                  </a:cubicBezTo>
                  <a:cubicBezTo>
                    <a:pt x="77" y="75"/>
                    <a:pt x="79" y="75"/>
                    <a:pt x="79" y="76"/>
                  </a:cubicBezTo>
                  <a:cubicBezTo>
                    <a:pt x="79" y="77"/>
                    <a:pt x="74" y="78"/>
                    <a:pt x="78" y="78"/>
                  </a:cubicBezTo>
                  <a:cubicBezTo>
                    <a:pt x="76" y="83"/>
                    <a:pt x="67" y="80"/>
                    <a:pt x="66" y="84"/>
                  </a:cubicBezTo>
                  <a:cubicBezTo>
                    <a:pt x="68" y="87"/>
                    <a:pt x="72" y="88"/>
                    <a:pt x="78" y="87"/>
                  </a:cubicBezTo>
                  <a:cubicBezTo>
                    <a:pt x="79" y="92"/>
                    <a:pt x="70" y="88"/>
                    <a:pt x="70" y="92"/>
                  </a:cubicBezTo>
                  <a:cubicBezTo>
                    <a:pt x="70" y="94"/>
                    <a:pt x="69" y="92"/>
                    <a:pt x="67" y="92"/>
                  </a:cubicBezTo>
                  <a:cubicBezTo>
                    <a:pt x="64" y="92"/>
                    <a:pt x="62" y="96"/>
                    <a:pt x="58" y="95"/>
                  </a:cubicBezTo>
                  <a:cubicBezTo>
                    <a:pt x="57" y="93"/>
                    <a:pt x="55" y="93"/>
                    <a:pt x="55" y="90"/>
                  </a:cubicBezTo>
                  <a:cubicBezTo>
                    <a:pt x="48" y="89"/>
                    <a:pt x="43" y="92"/>
                    <a:pt x="36" y="90"/>
                  </a:cubicBezTo>
                  <a:cubicBezTo>
                    <a:pt x="36" y="90"/>
                    <a:pt x="34" y="89"/>
                    <a:pt x="35" y="89"/>
                  </a:cubicBezTo>
                  <a:cubicBezTo>
                    <a:pt x="32" y="89"/>
                    <a:pt x="31" y="91"/>
                    <a:pt x="29" y="92"/>
                  </a:cubicBezTo>
                  <a:cubicBezTo>
                    <a:pt x="22" y="93"/>
                    <a:pt x="16" y="90"/>
                    <a:pt x="8" y="89"/>
                  </a:cubicBezTo>
                  <a:cubicBezTo>
                    <a:pt x="11" y="86"/>
                    <a:pt x="13" y="84"/>
                    <a:pt x="18" y="84"/>
                  </a:cubicBezTo>
                  <a:cubicBezTo>
                    <a:pt x="21" y="84"/>
                    <a:pt x="19" y="78"/>
                    <a:pt x="21" y="77"/>
                  </a:cubicBezTo>
                  <a:cubicBezTo>
                    <a:pt x="26" y="78"/>
                    <a:pt x="25" y="75"/>
                    <a:pt x="29" y="76"/>
                  </a:cubicBezTo>
                  <a:cubicBezTo>
                    <a:pt x="29" y="81"/>
                    <a:pt x="34" y="80"/>
                    <a:pt x="39" y="80"/>
                  </a:cubicBezTo>
                  <a:cubicBezTo>
                    <a:pt x="42" y="79"/>
                    <a:pt x="37" y="78"/>
                    <a:pt x="41" y="76"/>
                  </a:cubicBezTo>
                  <a:cubicBezTo>
                    <a:pt x="40" y="72"/>
                    <a:pt x="32" y="76"/>
                    <a:pt x="35" y="70"/>
                  </a:cubicBezTo>
                  <a:cubicBezTo>
                    <a:pt x="29" y="71"/>
                    <a:pt x="26" y="73"/>
                    <a:pt x="20" y="71"/>
                  </a:cubicBezTo>
                  <a:cubicBezTo>
                    <a:pt x="21" y="68"/>
                    <a:pt x="24" y="67"/>
                    <a:pt x="27" y="67"/>
                  </a:cubicBezTo>
                  <a:cubicBezTo>
                    <a:pt x="29" y="65"/>
                    <a:pt x="30" y="64"/>
                    <a:pt x="32" y="62"/>
                  </a:cubicBezTo>
                  <a:cubicBezTo>
                    <a:pt x="33" y="62"/>
                    <a:pt x="34" y="62"/>
                    <a:pt x="35" y="61"/>
                  </a:cubicBezTo>
                  <a:cubicBezTo>
                    <a:pt x="38" y="60"/>
                    <a:pt x="40" y="61"/>
                    <a:pt x="42" y="62"/>
                  </a:cubicBezTo>
                  <a:cubicBezTo>
                    <a:pt x="44" y="61"/>
                    <a:pt x="46" y="60"/>
                    <a:pt x="47" y="58"/>
                  </a:cubicBezTo>
                  <a:cubicBezTo>
                    <a:pt x="47" y="55"/>
                    <a:pt x="43" y="57"/>
                    <a:pt x="42" y="56"/>
                  </a:cubicBezTo>
                  <a:cubicBezTo>
                    <a:pt x="42" y="56"/>
                    <a:pt x="41" y="52"/>
                    <a:pt x="41" y="52"/>
                  </a:cubicBezTo>
                  <a:cubicBezTo>
                    <a:pt x="40" y="51"/>
                    <a:pt x="39" y="50"/>
                    <a:pt x="39" y="49"/>
                  </a:cubicBezTo>
                  <a:cubicBezTo>
                    <a:pt x="38" y="50"/>
                    <a:pt x="37" y="50"/>
                    <a:pt x="35" y="50"/>
                  </a:cubicBezTo>
                  <a:cubicBezTo>
                    <a:pt x="35" y="47"/>
                    <a:pt x="34" y="46"/>
                    <a:pt x="32" y="46"/>
                  </a:cubicBezTo>
                  <a:cubicBezTo>
                    <a:pt x="33" y="43"/>
                    <a:pt x="34" y="41"/>
                    <a:pt x="39" y="41"/>
                  </a:cubicBezTo>
                  <a:cubicBezTo>
                    <a:pt x="43" y="41"/>
                    <a:pt x="42" y="46"/>
                    <a:pt x="48" y="44"/>
                  </a:cubicBezTo>
                  <a:cubicBezTo>
                    <a:pt x="48" y="46"/>
                    <a:pt x="48" y="47"/>
                    <a:pt x="49" y="47"/>
                  </a:cubicBezTo>
                  <a:cubicBezTo>
                    <a:pt x="54" y="49"/>
                    <a:pt x="52" y="43"/>
                    <a:pt x="54" y="41"/>
                  </a:cubicBezTo>
                  <a:cubicBezTo>
                    <a:pt x="61" y="40"/>
                    <a:pt x="68" y="38"/>
                    <a:pt x="72" y="33"/>
                  </a:cubicBezTo>
                  <a:cubicBezTo>
                    <a:pt x="71" y="29"/>
                    <a:pt x="69" y="35"/>
                    <a:pt x="66" y="33"/>
                  </a:cubicBezTo>
                  <a:cubicBezTo>
                    <a:pt x="64" y="34"/>
                    <a:pt x="60" y="34"/>
                    <a:pt x="58" y="37"/>
                  </a:cubicBezTo>
                  <a:cubicBezTo>
                    <a:pt x="54" y="36"/>
                    <a:pt x="47" y="37"/>
                    <a:pt x="41" y="37"/>
                  </a:cubicBezTo>
                  <a:cubicBezTo>
                    <a:pt x="37" y="37"/>
                    <a:pt x="35" y="34"/>
                    <a:pt x="30" y="37"/>
                  </a:cubicBezTo>
                  <a:cubicBezTo>
                    <a:pt x="29" y="32"/>
                    <a:pt x="25" y="38"/>
                    <a:pt x="23" y="33"/>
                  </a:cubicBezTo>
                  <a:cubicBezTo>
                    <a:pt x="20" y="35"/>
                    <a:pt x="17" y="31"/>
                    <a:pt x="11" y="33"/>
                  </a:cubicBezTo>
                  <a:cubicBezTo>
                    <a:pt x="12" y="28"/>
                    <a:pt x="6" y="30"/>
                    <a:pt x="5" y="28"/>
                  </a:cubicBezTo>
                  <a:cubicBezTo>
                    <a:pt x="4" y="24"/>
                    <a:pt x="8" y="25"/>
                    <a:pt x="9" y="24"/>
                  </a:cubicBezTo>
                  <a:cubicBezTo>
                    <a:pt x="10" y="19"/>
                    <a:pt x="0" y="25"/>
                    <a:pt x="2" y="19"/>
                  </a:cubicBezTo>
                  <a:cubicBezTo>
                    <a:pt x="9" y="17"/>
                    <a:pt x="20" y="16"/>
                    <a:pt x="30" y="15"/>
                  </a:cubicBezTo>
                  <a:cubicBezTo>
                    <a:pt x="32" y="15"/>
                    <a:pt x="31" y="13"/>
                    <a:pt x="32" y="12"/>
                  </a:cubicBezTo>
                  <a:cubicBezTo>
                    <a:pt x="39" y="13"/>
                    <a:pt x="45" y="10"/>
                    <a:pt x="49" y="12"/>
                  </a:cubicBezTo>
                  <a:cubicBezTo>
                    <a:pt x="51" y="11"/>
                    <a:pt x="52" y="9"/>
                    <a:pt x="52" y="7"/>
                  </a:cubicBezTo>
                  <a:cubicBezTo>
                    <a:pt x="61" y="7"/>
                    <a:pt x="69" y="4"/>
                    <a:pt x="76" y="6"/>
                  </a:cubicBezTo>
                  <a:cubicBezTo>
                    <a:pt x="78" y="6"/>
                    <a:pt x="77" y="4"/>
                    <a:pt x="78" y="3"/>
                  </a:cubicBezTo>
                  <a:cubicBezTo>
                    <a:pt x="84" y="3"/>
                    <a:pt x="92" y="2"/>
                    <a:pt x="95" y="4"/>
                  </a:cubicBezTo>
                  <a:cubicBezTo>
                    <a:pt x="96" y="2"/>
                    <a:pt x="102" y="4"/>
                    <a:pt x="103" y="1"/>
                  </a:cubicBezTo>
                  <a:cubicBezTo>
                    <a:pt x="107" y="3"/>
                    <a:pt x="112" y="3"/>
                    <a:pt x="118" y="3"/>
                  </a:cubicBezTo>
                  <a:cubicBezTo>
                    <a:pt x="118" y="2"/>
                    <a:pt x="117" y="1"/>
                    <a:pt x="116" y="1"/>
                  </a:cubicBezTo>
                  <a:cubicBezTo>
                    <a:pt x="116" y="0"/>
                    <a:pt x="118" y="1"/>
                    <a:pt x="118" y="1"/>
                  </a:cubicBezTo>
                  <a:cubicBezTo>
                    <a:pt x="124" y="2"/>
                    <a:pt x="135" y="0"/>
                    <a:pt x="141" y="1"/>
                  </a:cubicBezTo>
                  <a:cubicBezTo>
                    <a:pt x="142" y="1"/>
                    <a:pt x="141" y="4"/>
                    <a:pt x="141" y="4"/>
                  </a:cubicBezTo>
                  <a:cubicBezTo>
                    <a:pt x="153" y="5"/>
                    <a:pt x="154" y="2"/>
                    <a:pt x="167" y="3"/>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99" name="Freeform 84">
              <a:extLst>
                <a:ext uri="{FF2B5EF4-FFF2-40B4-BE49-F238E27FC236}">
                  <a16:creationId xmlns:a16="http://schemas.microsoft.com/office/drawing/2014/main" id="{C3F27213-9CBB-4E93-80AC-A7F087EBB429}"/>
                </a:ext>
              </a:extLst>
            </p:cNvPr>
            <p:cNvSpPr>
              <a:spLocks/>
            </p:cNvSpPr>
            <p:nvPr/>
          </p:nvSpPr>
          <p:spPr bwMode="auto">
            <a:xfrm>
              <a:off x="2247305" y="1244006"/>
              <a:ext cx="139679" cy="51947"/>
            </a:xfrm>
            <a:custGeom>
              <a:avLst/>
              <a:gdLst>
                <a:gd name="T0" fmla="*/ 13 w 51"/>
                <a:gd name="T1" fmla="*/ 2 h 19"/>
                <a:gd name="T2" fmla="*/ 13 w 51"/>
                <a:gd name="T3" fmla="*/ 4 h 19"/>
                <a:gd name="T4" fmla="*/ 17 w 51"/>
                <a:gd name="T5" fmla="*/ 8 h 19"/>
                <a:gd name="T6" fmla="*/ 22 w 51"/>
                <a:gd name="T7" fmla="*/ 5 h 19"/>
                <a:gd name="T8" fmla="*/ 29 w 51"/>
                <a:gd name="T9" fmla="*/ 8 h 19"/>
                <a:gd name="T10" fmla="*/ 43 w 51"/>
                <a:gd name="T11" fmla="*/ 5 h 19"/>
                <a:gd name="T12" fmla="*/ 48 w 51"/>
                <a:gd name="T13" fmla="*/ 8 h 19"/>
                <a:gd name="T14" fmla="*/ 46 w 51"/>
                <a:gd name="T15" fmla="*/ 14 h 19"/>
                <a:gd name="T16" fmla="*/ 32 w 51"/>
                <a:gd name="T17" fmla="*/ 16 h 19"/>
                <a:gd name="T18" fmla="*/ 23 w 51"/>
                <a:gd name="T19" fmla="*/ 19 h 19"/>
                <a:gd name="T20" fmla="*/ 8 w 51"/>
                <a:gd name="T21" fmla="*/ 8 h 19"/>
                <a:gd name="T22" fmla="*/ 1 w 51"/>
                <a:gd name="T23" fmla="*/ 7 h 19"/>
                <a:gd name="T24" fmla="*/ 13 w 51"/>
                <a:gd name="T25"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 h="19">
                  <a:moveTo>
                    <a:pt x="13" y="2"/>
                  </a:moveTo>
                  <a:cubicBezTo>
                    <a:pt x="15" y="3"/>
                    <a:pt x="14" y="4"/>
                    <a:pt x="13" y="4"/>
                  </a:cubicBezTo>
                  <a:cubicBezTo>
                    <a:pt x="12" y="7"/>
                    <a:pt x="20" y="3"/>
                    <a:pt x="17" y="8"/>
                  </a:cubicBezTo>
                  <a:cubicBezTo>
                    <a:pt x="21" y="9"/>
                    <a:pt x="19" y="6"/>
                    <a:pt x="22" y="5"/>
                  </a:cubicBezTo>
                  <a:cubicBezTo>
                    <a:pt x="25" y="8"/>
                    <a:pt x="29" y="2"/>
                    <a:pt x="29" y="8"/>
                  </a:cubicBezTo>
                  <a:cubicBezTo>
                    <a:pt x="33" y="7"/>
                    <a:pt x="38" y="7"/>
                    <a:pt x="43" y="5"/>
                  </a:cubicBezTo>
                  <a:cubicBezTo>
                    <a:pt x="42" y="9"/>
                    <a:pt x="50" y="4"/>
                    <a:pt x="48" y="8"/>
                  </a:cubicBezTo>
                  <a:cubicBezTo>
                    <a:pt x="51" y="13"/>
                    <a:pt x="39" y="11"/>
                    <a:pt x="46" y="14"/>
                  </a:cubicBezTo>
                  <a:cubicBezTo>
                    <a:pt x="44" y="18"/>
                    <a:pt x="36" y="15"/>
                    <a:pt x="32" y="16"/>
                  </a:cubicBezTo>
                  <a:cubicBezTo>
                    <a:pt x="29" y="16"/>
                    <a:pt x="26" y="18"/>
                    <a:pt x="23" y="19"/>
                  </a:cubicBezTo>
                  <a:cubicBezTo>
                    <a:pt x="17" y="16"/>
                    <a:pt x="12" y="14"/>
                    <a:pt x="8" y="8"/>
                  </a:cubicBezTo>
                  <a:cubicBezTo>
                    <a:pt x="6" y="8"/>
                    <a:pt x="1" y="10"/>
                    <a:pt x="1" y="7"/>
                  </a:cubicBezTo>
                  <a:cubicBezTo>
                    <a:pt x="0" y="0"/>
                    <a:pt x="12" y="7"/>
                    <a:pt x="13" y="2"/>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100" name="Freeform 85">
              <a:extLst>
                <a:ext uri="{FF2B5EF4-FFF2-40B4-BE49-F238E27FC236}">
                  <a16:creationId xmlns:a16="http://schemas.microsoft.com/office/drawing/2014/main" id="{BDDAD8CB-BF2A-487A-835B-46A62619D4DF}"/>
                </a:ext>
              </a:extLst>
            </p:cNvPr>
            <p:cNvSpPr>
              <a:spLocks/>
            </p:cNvSpPr>
            <p:nvPr/>
          </p:nvSpPr>
          <p:spPr bwMode="auto">
            <a:xfrm>
              <a:off x="6099681" y="1315577"/>
              <a:ext cx="62336" cy="16161"/>
            </a:xfrm>
            <a:custGeom>
              <a:avLst/>
              <a:gdLst>
                <a:gd name="T0" fmla="*/ 22 w 23"/>
                <a:gd name="T1" fmla="*/ 0 h 6"/>
                <a:gd name="T2" fmla="*/ 13 w 23"/>
                <a:gd name="T3" fmla="*/ 5 h 6"/>
                <a:gd name="T4" fmla="*/ 10 w 23"/>
                <a:gd name="T5" fmla="*/ 6 h 6"/>
                <a:gd name="T6" fmla="*/ 4 w 23"/>
                <a:gd name="T7" fmla="*/ 6 h 6"/>
                <a:gd name="T8" fmla="*/ 7 w 23"/>
                <a:gd name="T9" fmla="*/ 2 h 6"/>
                <a:gd name="T10" fmla="*/ 22 w 23"/>
                <a:gd name="T11" fmla="*/ 0 h 6"/>
              </a:gdLst>
              <a:ahLst/>
              <a:cxnLst>
                <a:cxn ang="0">
                  <a:pos x="T0" y="T1"/>
                </a:cxn>
                <a:cxn ang="0">
                  <a:pos x="T2" y="T3"/>
                </a:cxn>
                <a:cxn ang="0">
                  <a:pos x="T4" y="T5"/>
                </a:cxn>
                <a:cxn ang="0">
                  <a:pos x="T6" y="T7"/>
                </a:cxn>
                <a:cxn ang="0">
                  <a:pos x="T8" y="T9"/>
                </a:cxn>
                <a:cxn ang="0">
                  <a:pos x="T10" y="T11"/>
                </a:cxn>
              </a:cxnLst>
              <a:rect l="0" t="0" r="r" b="b"/>
              <a:pathLst>
                <a:path w="23" h="6">
                  <a:moveTo>
                    <a:pt x="22" y="0"/>
                  </a:moveTo>
                  <a:cubicBezTo>
                    <a:pt x="23" y="5"/>
                    <a:pt x="17" y="4"/>
                    <a:pt x="13" y="5"/>
                  </a:cubicBezTo>
                  <a:cubicBezTo>
                    <a:pt x="12" y="5"/>
                    <a:pt x="12" y="6"/>
                    <a:pt x="10" y="6"/>
                  </a:cubicBezTo>
                  <a:cubicBezTo>
                    <a:pt x="8" y="6"/>
                    <a:pt x="5" y="4"/>
                    <a:pt x="4" y="6"/>
                  </a:cubicBezTo>
                  <a:cubicBezTo>
                    <a:pt x="0" y="6"/>
                    <a:pt x="7" y="1"/>
                    <a:pt x="7" y="2"/>
                  </a:cubicBezTo>
                  <a:cubicBezTo>
                    <a:pt x="10" y="5"/>
                    <a:pt x="17" y="0"/>
                    <a:pt x="22" y="0"/>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101" name="Freeform 86">
              <a:extLst>
                <a:ext uri="{FF2B5EF4-FFF2-40B4-BE49-F238E27FC236}">
                  <a16:creationId xmlns:a16="http://schemas.microsoft.com/office/drawing/2014/main" id="{EEC08094-CD79-4085-ADE0-6DA3ACA0D6A6}"/>
                </a:ext>
              </a:extLst>
            </p:cNvPr>
            <p:cNvSpPr>
              <a:spLocks/>
            </p:cNvSpPr>
            <p:nvPr/>
          </p:nvSpPr>
          <p:spPr bwMode="auto">
            <a:xfrm>
              <a:off x="6353643" y="1315577"/>
              <a:ext cx="60027" cy="38095"/>
            </a:xfrm>
            <a:custGeom>
              <a:avLst/>
              <a:gdLst>
                <a:gd name="T0" fmla="*/ 10 w 22"/>
                <a:gd name="T1" fmla="*/ 0 h 14"/>
                <a:gd name="T2" fmla="*/ 8 w 22"/>
                <a:gd name="T3" fmla="*/ 2 h 14"/>
                <a:gd name="T4" fmla="*/ 15 w 22"/>
                <a:gd name="T5" fmla="*/ 6 h 14"/>
                <a:gd name="T6" fmla="*/ 18 w 22"/>
                <a:gd name="T7" fmla="*/ 5 h 14"/>
                <a:gd name="T8" fmla="*/ 9 w 22"/>
                <a:gd name="T9" fmla="*/ 14 h 14"/>
                <a:gd name="T10" fmla="*/ 0 w 22"/>
                <a:gd name="T11" fmla="*/ 3 h 14"/>
                <a:gd name="T12" fmla="*/ 10 w 22"/>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2" h="14">
                  <a:moveTo>
                    <a:pt x="10" y="0"/>
                  </a:moveTo>
                  <a:cubicBezTo>
                    <a:pt x="10" y="2"/>
                    <a:pt x="9" y="1"/>
                    <a:pt x="8" y="2"/>
                  </a:cubicBezTo>
                  <a:cubicBezTo>
                    <a:pt x="7" y="6"/>
                    <a:pt x="17" y="0"/>
                    <a:pt x="15" y="6"/>
                  </a:cubicBezTo>
                  <a:cubicBezTo>
                    <a:pt x="17" y="6"/>
                    <a:pt x="18" y="6"/>
                    <a:pt x="18" y="5"/>
                  </a:cubicBezTo>
                  <a:cubicBezTo>
                    <a:pt x="22" y="9"/>
                    <a:pt x="10" y="10"/>
                    <a:pt x="9" y="14"/>
                  </a:cubicBezTo>
                  <a:cubicBezTo>
                    <a:pt x="5" y="11"/>
                    <a:pt x="6" y="4"/>
                    <a:pt x="0" y="3"/>
                  </a:cubicBezTo>
                  <a:cubicBezTo>
                    <a:pt x="2" y="0"/>
                    <a:pt x="8" y="2"/>
                    <a:pt x="10" y="0"/>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102" name="Freeform 87">
              <a:extLst>
                <a:ext uri="{FF2B5EF4-FFF2-40B4-BE49-F238E27FC236}">
                  <a16:creationId xmlns:a16="http://schemas.microsoft.com/office/drawing/2014/main" id="{AE15E047-2F83-4921-BEA6-EA3C716F03B3}"/>
                </a:ext>
              </a:extLst>
            </p:cNvPr>
            <p:cNvSpPr>
              <a:spLocks noEditPoints="1"/>
            </p:cNvSpPr>
            <p:nvPr/>
          </p:nvSpPr>
          <p:spPr bwMode="auto">
            <a:xfrm>
              <a:off x="1648185" y="1355980"/>
              <a:ext cx="3415790" cy="2241791"/>
            </a:xfrm>
            <a:custGeom>
              <a:avLst/>
              <a:gdLst>
                <a:gd name="T0" fmla="*/ 744 w 1253"/>
                <a:gd name="T1" fmla="*/ 58 h 822"/>
                <a:gd name="T2" fmla="*/ 879 w 1253"/>
                <a:gd name="T3" fmla="*/ 58 h 822"/>
                <a:gd name="T4" fmla="*/ 992 w 1253"/>
                <a:gd name="T5" fmla="*/ 68 h 822"/>
                <a:gd name="T6" fmla="*/ 1138 w 1253"/>
                <a:gd name="T7" fmla="*/ 92 h 822"/>
                <a:gd name="T8" fmla="*/ 1253 w 1253"/>
                <a:gd name="T9" fmla="*/ 129 h 822"/>
                <a:gd name="T10" fmla="*/ 1180 w 1253"/>
                <a:gd name="T11" fmla="*/ 147 h 822"/>
                <a:gd name="T12" fmla="*/ 1087 w 1253"/>
                <a:gd name="T13" fmla="*/ 218 h 822"/>
                <a:gd name="T14" fmla="*/ 1050 w 1253"/>
                <a:gd name="T15" fmla="*/ 240 h 822"/>
                <a:gd name="T16" fmla="*/ 1098 w 1253"/>
                <a:gd name="T17" fmla="*/ 166 h 822"/>
                <a:gd name="T18" fmla="*/ 992 w 1253"/>
                <a:gd name="T19" fmla="*/ 197 h 822"/>
                <a:gd name="T20" fmla="*/ 958 w 1253"/>
                <a:gd name="T21" fmla="*/ 249 h 822"/>
                <a:gd name="T22" fmla="*/ 898 w 1253"/>
                <a:gd name="T23" fmla="*/ 330 h 822"/>
                <a:gd name="T24" fmla="*/ 860 w 1253"/>
                <a:gd name="T25" fmla="*/ 350 h 822"/>
                <a:gd name="T26" fmla="*/ 844 w 1253"/>
                <a:gd name="T27" fmla="*/ 369 h 822"/>
                <a:gd name="T28" fmla="*/ 790 w 1253"/>
                <a:gd name="T29" fmla="*/ 467 h 822"/>
                <a:gd name="T30" fmla="*/ 761 w 1253"/>
                <a:gd name="T31" fmla="*/ 536 h 822"/>
                <a:gd name="T32" fmla="*/ 712 w 1253"/>
                <a:gd name="T33" fmla="*/ 545 h 822"/>
                <a:gd name="T34" fmla="*/ 701 w 1253"/>
                <a:gd name="T35" fmla="*/ 548 h 822"/>
                <a:gd name="T36" fmla="*/ 675 w 1253"/>
                <a:gd name="T37" fmla="*/ 479 h 822"/>
                <a:gd name="T38" fmla="*/ 590 w 1253"/>
                <a:gd name="T39" fmla="*/ 523 h 822"/>
                <a:gd name="T40" fmla="*/ 529 w 1253"/>
                <a:gd name="T41" fmla="*/ 461 h 822"/>
                <a:gd name="T42" fmla="*/ 417 w 1253"/>
                <a:gd name="T43" fmla="*/ 443 h 822"/>
                <a:gd name="T44" fmla="*/ 443 w 1253"/>
                <a:gd name="T45" fmla="*/ 491 h 822"/>
                <a:gd name="T46" fmla="*/ 360 w 1253"/>
                <a:gd name="T47" fmla="*/ 495 h 822"/>
                <a:gd name="T48" fmla="*/ 311 w 1253"/>
                <a:gd name="T49" fmla="*/ 434 h 822"/>
                <a:gd name="T50" fmla="*/ 350 w 1253"/>
                <a:gd name="T51" fmla="*/ 514 h 822"/>
                <a:gd name="T52" fmla="*/ 374 w 1253"/>
                <a:gd name="T53" fmla="*/ 596 h 822"/>
                <a:gd name="T54" fmla="*/ 328 w 1253"/>
                <a:gd name="T55" fmla="*/ 714 h 822"/>
                <a:gd name="T56" fmla="*/ 280 w 1253"/>
                <a:gd name="T57" fmla="*/ 806 h 822"/>
                <a:gd name="T58" fmla="*/ 188 w 1253"/>
                <a:gd name="T59" fmla="*/ 735 h 822"/>
                <a:gd name="T60" fmla="*/ 178 w 1253"/>
                <a:gd name="T61" fmla="*/ 627 h 822"/>
                <a:gd name="T62" fmla="*/ 37 w 1253"/>
                <a:gd name="T63" fmla="*/ 559 h 822"/>
                <a:gd name="T64" fmla="*/ 5 w 1253"/>
                <a:gd name="T65" fmla="*/ 468 h 822"/>
                <a:gd name="T66" fmla="*/ 129 w 1253"/>
                <a:gd name="T67" fmla="*/ 370 h 822"/>
                <a:gd name="T68" fmla="*/ 209 w 1253"/>
                <a:gd name="T69" fmla="*/ 408 h 822"/>
                <a:gd name="T70" fmla="*/ 301 w 1253"/>
                <a:gd name="T71" fmla="*/ 408 h 822"/>
                <a:gd name="T72" fmla="*/ 246 w 1253"/>
                <a:gd name="T73" fmla="*/ 347 h 822"/>
                <a:gd name="T74" fmla="*/ 203 w 1253"/>
                <a:gd name="T75" fmla="*/ 320 h 822"/>
                <a:gd name="T76" fmla="*/ 206 w 1253"/>
                <a:gd name="T77" fmla="*/ 344 h 822"/>
                <a:gd name="T78" fmla="*/ 126 w 1253"/>
                <a:gd name="T79" fmla="*/ 325 h 822"/>
                <a:gd name="T80" fmla="*/ 92 w 1253"/>
                <a:gd name="T81" fmla="*/ 323 h 822"/>
                <a:gd name="T82" fmla="*/ 126 w 1253"/>
                <a:gd name="T83" fmla="*/ 262 h 822"/>
                <a:gd name="T84" fmla="*/ 171 w 1253"/>
                <a:gd name="T85" fmla="*/ 233 h 822"/>
                <a:gd name="T86" fmla="*/ 252 w 1253"/>
                <a:gd name="T87" fmla="*/ 197 h 822"/>
                <a:gd name="T88" fmla="*/ 249 w 1253"/>
                <a:gd name="T89" fmla="*/ 157 h 822"/>
                <a:gd name="T90" fmla="*/ 221 w 1253"/>
                <a:gd name="T91" fmla="*/ 190 h 822"/>
                <a:gd name="T92" fmla="*/ 145 w 1253"/>
                <a:gd name="T93" fmla="*/ 200 h 822"/>
                <a:gd name="T94" fmla="*/ 181 w 1253"/>
                <a:gd name="T95" fmla="*/ 133 h 822"/>
                <a:gd name="T96" fmla="*/ 282 w 1253"/>
                <a:gd name="T97" fmla="*/ 84 h 822"/>
                <a:gd name="T98" fmla="*/ 316 w 1253"/>
                <a:gd name="T99" fmla="*/ 123 h 822"/>
                <a:gd name="T100" fmla="*/ 374 w 1253"/>
                <a:gd name="T101" fmla="*/ 107 h 822"/>
                <a:gd name="T102" fmla="*/ 474 w 1253"/>
                <a:gd name="T103" fmla="*/ 101 h 822"/>
                <a:gd name="T104" fmla="*/ 525 w 1253"/>
                <a:gd name="T105" fmla="*/ 67 h 822"/>
                <a:gd name="T106" fmla="*/ 560 w 1253"/>
                <a:gd name="T107" fmla="*/ 104 h 822"/>
                <a:gd name="T108" fmla="*/ 584 w 1253"/>
                <a:gd name="T109" fmla="*/ 65 h 822"/>
                <a:gd name="T110" fmla="*/ 707 w 1253"/>
                <a:gd name="T111" fmla="*/ 15 h 822"/>
                <a:gd name="T112" fmla="*/ 297 w 1253"/>
                <a:gd name="T113" fmla="*/ 298 h 822"/>
                <a:gd name="T114" fmla="*/ 357 w 1253"/>
                <a:gd name="T115" fmla="*/ 338 h 822"/>
                <a:gd name="T116" fmla="*/ 423 w 1253"/>
                <a:gd name="T117" fmla="*/ 328 h 822"/>
                <a:gd name="T118" fmla="*/ 402 w 1253"/>
                <a:gd name="T119" fmla="*/ 359 h 822"/>
                <a:gd name="T120" fmla="*/ 298 w 1253"/>
                <a:gd name="T121" fmla="*/ 606 h 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53" h="822">
                  <a:moveTo>
                    <a:pt x="755" y="9"/>
                  </a:moveTo>
                  <a:cubicBezTo>
                    <a:pt x="755" y="11"/>
                    <a:pt x="757" y="10"/>
                    <a:pt x="759" y="10"/>
                  </a:cubicBezTo>
                  <a:cubicBezTo>
                    <a:pt x="759" y="12"/>
                    <a:pt x="756" y="12"/>
                    <a:pt x="755" y="12"/>
                  </a:cubicBezTo>
                  <a:cubicBezTo>
                    <a:pt x="761" y="18"/>
                    <a:pt x="767" y="9"/>
                    <a:pt x="778" y="12"/>
                  </a:cubicBezTo>
                  <a:cubicBezTo>
                    <a:pt x="781" y="15"/>
                    <a:pt x="785" y="18"/>
                    <a:pt x="790" y="19"/>
                  </a:cubicBezTo>
                  <a:cubicBezTo>
                    <a:pt x="791" y="21"/>
                    <a:pt x="790" y="23"/>
                    <a:pt x="790" y="25"/>
                  </a:cubicBezTo>
                  <a:cubicBezTo>
                    <a:pt x="791" y="27"/>
                    <a:pt x="794" y="27"/>
                    <a:pt x="793" y="30"/>
                  </a:cubicBezTo>
                  <a:cubicBezTo>
                    <a:pt x="790" y="29"/>
                    <a:pt x="790" y="32"/>
                    <a:pt x="790" y="34"/>
                  </a:cubicBezTo>
                  <a:cubicBezTo>
                    <a:pt x="789" y="33"/>
                    <a:pt x="787" y="32"/>
                    <a:pt x="784" y="33"/>
                  </a:cubicBezTo>
                  <a:cubicBezTo>
                    <a:pt x="782" y="33"/>
                    <a:pt x="784" y="35"/>
                    <a:pt x="783" y="36"/>
                  </a:cubicBezTo>
                  <a:cubicBezTo>
                    <a:pt x="782" y="36"/>
                    <a:pt x="781" y="34"/>
                    <a:pt x="780" y="34"/>
                  </a:cubicBezTo>
                  <a:cubicBezTo>
                    <a:pt x="779" y="34"/>
                    <a:pt x="775" y="37"/>
                    <a:pt x="771" y="36"/>
                  </a:cubicBezTo>
                  <a:cubicBezTo>
                    <a:pt x="769" y="35"/>
                    <a:pt x="770" y="38"/>
                    <a:pt x="769" y="39"/>
                  </a:cubicBezTo>
                  <a:cubicBezTo>
                    <a:pt x="769" y="39"/>
                    <a:pt x="767" y="38"/>
                    <a:pt x="766" y="39"/>
                  </a:cubicBezTo>
                  <a:cubicBezTo>
                    <a:pt x="766" y="40"/>
                    <a:pt x="769" y="41"/>
                    <a:pt x="766" y="44"/>
                  </a:cubicBezTo>
                  <a:cubicBezTo>
                    <a:pt x="766" y="42"/>
                    <a:pt x="758" y="45"/>
                    <a:pt x="762" y="46"/>
                  </a:cubicBezTo>
                  <a:cubicBezTo>
                    <a:pt x="759" y="49"/>
                    <a:pt x="754" y="47"/>
                    <a:pt x="750" y="49"/>
                  </a:cubicBezTo>
                  <a:cubicBezTo>
                    <a:pt x="748" y="50"/>
                    <a:pt x="746" y="54"/>
                    <a:pt x="743" y="53"/>
                  </a:cubicBezTo>
                  <a:cubicBezTo>
                    <a:pt x="743" y="55"/>
                    <a:pt x="743" y="58"/>
                    <a:pt x="741" y="58"/>
                  </a:cubicBezTo>
                  <a:cubicBezTo>
                    <a:pt x="742" y="60"/>
                    <a:pt x="743" y="58"/>
                    <a:pt x="744" y="58"/>
                  </a:cubicBezTo>
                  <a:cubicBezTo>
                    <a:pt x="749" y="58"/>
                    <a:pt x="750" y="55"/>
                    <a:pt x="753" y="53"/>
                  </a:cubicBezTo>
                  <a:cubicBezTo>
                    <a:pt x="755" y="53"/>
                    <a:pt x="756" y="55"/>
                    <a:pt x="758" y="55"/>
                  </a:cubicBezTo>
                  <a:cubicBezTo>
                    <a:pt x="759" y="55"/>
                    <a:pt x="759" y="52"/>
                    <a:pt x="761" y="52"/>
                  </a:cubicBezTo>
                  <a:cubicBezTo>
                    <a:pt x="764" y="50"/>
                    <a:pt x="767" y="52"/>
                    <a:pt x="771" y="50"/>
                  </a:cubicBezTo>
                  <a:cubicBezTo>
                    <a:pt x="773" y="50"/>
                    <a:pt x="770" y="48"/>
                    <a:pt x="772" y="47"/>
                  </a:cubicBezTo>
                  <a:cubicBezTo>
                    <a:pt x="773" y="47"/>
                    <a:pt x="775" y="48"/>
                    <a:pt x="775" y="47"/>
                  </a:cubicBezTo>
                  <a:cubicBezTo>
                    <a:pt x="776" y="47"/>
                    <a:pt x="777" y="44"/>
                    <a:pt x="777" y="44"/>
                  </a:cubicBezTo>
                  <a:cubicBezTo>
                    <a:pt x="777" y="44"/>
                    <a:pt x="781" y="46"/>
                    <a:pt x="783" y="46"/>
                  </a:cubicBezTo>
                  <a:cubicBezTo>
                    <a:pt x="786" y="46"/>
                    <a:pt x="786" y="45"/>
                    <a:pt x="790" y="44"/>
                  </a:cubicBezTo>
                  <a:cubicBezTo>
                    <a:pt x="790" y="46"/>
                    <a:pt x="790" y="47"/>
                    <a:pt x="790" y="49"/>
                  </a:cubicBezTo>
                  <a:cubicBezTo>
                    <a:pt x="792" y="47"/>
                    <a:pt x="793" y="48"/>
                    <a:pt x="793" y="50"/>
                  </a:cubicBezTo>
                  <a:cubicBezTo>
                    <a:pt x="801" y="49"/>
                    <a:pt x="814" y="51"/>
                    <a:pt x="826" y="50"/>
                  </a:cubicBezTo>
                  <a:cubicBezTo>
                    <a:pt x="825" y="57"/>
                    <a:pt x="836" y="52"/>
                    <a:pt x="835" y="59"/>
                  </a:cubicBezTo>
                  <a:cubicBezTo>
                    <a:pt x="836" y="57"/>
                    <a:pt x="838" y="59"/>
                    <a:pt x="841" y="59"/>
                  </a:cubicBezTo>
                  <a:cubicBezTo>
                    <a:pt x="845" y="59"/>
                    <a:pt x="851" y="58"/>
                    <a:pt x="852" y="59"/>
                  </a:cubicBezTo>
                  <a:cubicBezTo>
                    <a:pt x="855" y="59"/>
                    <a:pt x="853" y="53"/>
                    <a:pt x="855" y="52"/>
                  </a:cubicBezTo>
                  <a:cubicBezTo>
                    <a:pt x="860" y="53"/>
                    <a:pt x="865" y="52"/>
                    <a:pt x="870" y="53"/>
                  </a:cubicBezTo>
                  <a:cubicBezTo>
                    <a:pt x="870" y="53"/>
                    <a:pt x="870" y="55"/>
                    <a:pt x="870" y="55"/>
                  </a:cubicBezTo>
                  <a:cubicBezTo>
                    <a:pt x="873" y="55"/>
                    <a:pt x="875" y="54"/>
                    <a:pt x="878" y="55"/>
                  </a:cubicBezTo>
                  <a:cubicBezTo>
                    <a:pt x="878" y="55"/>
                    <a:pt x="879" y="57"/>
                    <a:pt x="879" y="58"/>
                  </a:cubicBezTo>
                  <a:cubicBezTo>
                    <a:pt x="881" y="59"/>
                    <a:pt x="885" y="57"/>
                    <a:pt x="887" y="59"/>
                  </a:cubicBezTo>
                  <a:cubicBezTo>
                    <a:pt x="886" y="62"/>
                    <a:pt x="886" y="66"/>
                    <a:pt x="882" y="65"/>
                  </a:cubicBezTo>
                  <a:cubicBezTo>
                    <a:pt x="882" y="68"/>
                    <a:pt x="885" y="69"/>
                    <a:pt x="888" y="68"/>
                  </a:cubicBezTo>
                  <a:cubicBezTo>
                    <a:pt x="887" y="77"/>
                    <a:pt x="894" y="77"/>
                    <a:pt x="897" y="81"/>
                  </a:cubicBezTo>
                  <a:cubicBezTo>
                    <a:pt x="900" y="80"/>
                    <a:pt x="902" y="79"/>
                    <a:pt x="904" y="77"/>
                  </a:cubicBezTo>
                  <a:cubicBezTo>
                    <a:pt x="905" y="76"/>
                    <a:pt x="905" y="73"/>
                    <a:pt x="906" y="73"/>
                  </a:cubicBezTo>
                  <a:cubicBezTo>
                    <a:pt x="907" y="72"/>
                    <a:pt x="909" y="73"/>
                    <a:pt x="909" y="71"/>
                  </a:cubicBezTo>
                  <a:cubicBezTo>
                    <a:pt x="913" y="70"/>
                    <a:pt x="912" y="74"/>
                    <a:pt x="913" y="76"/>
                  </a:cubicBezTo>
                  <a:cubicBezTo>
                    <a:pt x="917" y="76"/>
                    <a:pt x="920" y="76"/>
                    <a:pt x="924" y="76"/>
                  </a:cubicBezTo>
                  <a:cubicBezTo>
                    <a:pt x="925" y="74"/>
                    <a:pt x="929" y="75"/>
                    <a:pt x="928" y="71"/>
                  </a:cubicBezTo>
                  <a:cubicBezTo>
                    <a:pt x="933" y="73"/>
                    <a:pt x="944" y="68"/>
                    <a:pt x="944" y="74"/>
                  </a:cubicBezTo>
                  <a:cubicBezTo>
                    <a:pt x="949" y="74"/>
                    <a:pt x="947" y="69"/>
                    <a:pt x="953" y="71"/>
                  </a:cubicBezTo>
                  <a:cubicBezTo>
                    <a:pt x="953" y="70"/>
                    <a:pt x="951" y="70"/>
                    <a:pt x="950" y="70"/>
                  </a:cubicBezTo>
                  <a:cubicBezTo>
                    <a:pt x="952" y="68"/>
                    <a:pt x="951" y="66"/>
                    <a:pt x="953" y="65"/>
                  </a:cubicBezTo>
                  <a:cubicBezTo>
                    <a:pt x="957" y="65"/>
                    <a:pt x="956" y="60"/>
                    <a:pt x="962" y="62"/>
                  </a:cubicBezTo>
                  <a:cubicBezTo>
                    <a:pt x="964" y="62"/>
                    <a:pt x="962" y="60"/>
                    <a:pt x="962" y="61"/>
                  </a:cubicBezTo>
                  <a:cubicBezTo>
                    <a:pt x="965" y="57"/>
                    <a:pt x="969" y="60"/>
                    <a:pt x="974" y="59"/>
                  </a:cubicBezTo>
                  <a:cubicBezTo>
                    <a:pt x="973" y="67"/>
                    <a:pt x="982" y="57"/>
                    <a:pt x="980" y="64"/>
                  </a:cubicBezTo>
                  <a:cubicBezTo>
                    <a:pt x="987" y="64"/>
                    <a:pt x="991" y="63"/>
                    <a:pt x="996" y="62"/>
                  </a:cubicBezTo>
                  <a:cubicBezTo>
                    <a:pt x="997" y="66"/>
                    <a:pt x="990" y="63"/>
                    <a:pt x="992" y="68"/>
                  </a:cubicBezTo>
                  <a:cubicBezTo>
                    <a:pt x="993" y="71"/>
                    <a:pt x="998" y="70"/>
                    <a:pt x="1001" y="70"/>
                  </a:cubicBezTo>
                  <a:cubicBezTo>
                    <a:pt x="1006" y="70"/>
                    <a:pt x="1011" y="70"/>
                    <a:pt x="1015" y="68"/>
                  </a:cubicBezTo>
                  <a:cubicBezTo>
                    <a:pt x="1017" y="74"/>
                    <a:pt x="1024" y="74"/>
                    <a:pt x="1026" y="79"/>
                  </a:cubicBezTo>
                  <a:cubicBezTo>
                    <a:pt x="1029" y="77"/>
                    <a:pt x="1030" y="80"/>
                    <a:pt x="1033" y="80"/>
                  </a:cubicBezTo>
                  <a:cubicBezTo>
                    <a:pt x="1042" y="81"/>
                    <a:pt x="1053" y="79"/>
                    <a:pt x="1061" y="80"/>
                  </a:cubicBezTo>
                  <a:cubicBezTo>
                    <a:pt x="1065" y="81"/>
                    <a:pt x="1068" y="85"/>
                    <a:pt x="1072" y="83"/>
                  </a:cubicBezTo>
                  <a:cubicBezTo>
                    <a:pt x="1071" y="86"/>
                    <a:pt x="1073" y="86"/>
                    <a:pt x="1075" y="86"/>
                  </a:cubicBezTo>
                  <a:cubicBezTo>
                    <a:pt x="1075" y="88"/>
                    <a:pt x="1075" y="90"/>
                    <a:pt x="1075" y="92"/>
                  </a:cubicBezTo>
                  <a:cubicBezTo>
                    <a:pt x="1074" y="95"/>
                    <a:pt x="1080" y="92"/>
                    <a:pt x="1081" y="93"/>
                  </a:cubicBezTo>
                  <a:cubicBezTo>
                    <a:pt x="1082" y="95"/>
                    <a:pt x="1081" y="93"/>
                    <a:pt x="1084" y="93"/>
                  </a:cubicBezTo>
                  <a:cubicBezTo>
                    <a:pt x="1084" y="93"/>
                    <a:pt x="1084" y="95"/>
                    <a:pt x="1085" y="95"/>
                  </a:cubicBezTo>
                  <a:cubicBezTo>
                    <a:pt x="1087" y="95"/>
                    <a:pt x="1103" y="97"/>
                    <a:pt x="1104" y="95"/>
                  </a:cubicBezTo>
                  <a:cubicBezTo>
                    <a:pt x="1104" y="95"/>
                    <a:pt x="1104" y="93"/>
                    <a:pt x="1104" y="93"/>
                  </a:cubicBezTo>
                  <a:cubicBezTo>
                    <a:pt x="1106" y="93"/>
                    <a:pt x="1108" y="95"/>
                    <a:pt x="1109" y="95"/>
                  </a:cubicBezTo>
                  <a:cubicBezTo>
                    <a:pt x="1110" y="94"/>
                    <a:pt x="1113" y="92"/>
                    <a:pt x="1113" y="95"/>
                  </a:cubicBezTo>
                  <a:cubicBezTo>
                    <a:pt x="1116" y="92"/>
                    <a:pt x="1121" y="91"/>
                    <a:pt x="1125" y="90"/>
                  </a:cubicBezTo>
                  <a:cubicBezTo>
                    <a:pt x="1124" y="95"/>
                    <a:pt x="1126" y="97"/>
                    <a:pt x="1127" y="101"/>
                  </a:cubicBezTo>
                  <a:cubicBezTo>
                    <a:pt x="1133" y="101"/>
                    <a:pt x="1135" y="103"/>
                    <a:pt x="1140" y="101"/>
                  </a:cubicBezTo>
                  <a:cubicBezTo>
                    <a:pt x="1140" y="98"/>
                    <a:pt x="1139" y="98"/>
                    <a:pt x="1137" y="98"/>
                  </a:cubicBezTo>
                  <a:cubicBezTo>
                    <a:pt x="1138" y="96"/>
                    <a:pt x="1139" y="94"/>
                    <a:pt x="1138" y="92"/>
                  </a:cubicBezTo>
                  <a:cubicBezTo>
                    <a:pt x="1142" y="89"/>
                    <a:pt x="1151" y="90"/>
                    <a:pt x="1153" y="93"/>
                  </a:cubicBezTo>
                  <a:cubicBezTo>
                    <a:pt x="1160" y="94"/>
                    <a:pt x="1166" y="93"/>
                    <a:pt x="1173" y="93"/>
                  </a:cubicBezTo>
                  <a:cubicBezTo>
                    <a:pt x="1175" y="94"/>
                    <a:pt x="1179" y="97"/>
                    <a:pt x="1180" y="93"/>
                  </a:cubicBezTo>
                  <a:cubicBezTo>
                    <a:pt x="1183" y="95"/>
                    <a:pt x="1183" y="97"/>
                    <a:pt x="1187" y="98"/>
                  </a:cubicBezTo>
                  <a:cubicBezTo>
                    <a:pt x="1189" y="98"/>
                    <a:pt x="1190" y="101"/>
                    <a:pt x="1190" y="101"/>
                  </a:cubicBezTo>
                  <a:cubicBezTo>
                    <a:pt x="1191" y="101"/>
                    <a:pt x="1192" y="100"/>
                    <a:pt x="1192" y="99"/>
                  </a:cubicBezTo>
                  <a:cubicBezTo>
                    <a:pt x="1194" y="100"/>
                    <a:pt x="1192" y="101"/>
                    <a:pt x="1193" y="102"/>
                  </a:cubicBezTo>
                  <a:cubicBezTo>
                    <a:pt x="1194" y="103"/>
                    <a:pt x="1196" y="102"/>
                    <a:pt x="1196" y="102"/>
                  </a:cubicBezTo>
                  <a:cubicBezTo>
                    <a:pt x="1197" y="103"/>
                    <a:pt x="1200" y="104"/>
                    <a:pt x="1204" y="105"/>
                  </a:cubicBezTo>
                  <a:cubicBezTo>
                    <a:pt x="1206" y="106"/>
                    <a:pt x="1210" y="107"/>
                    <a:pt x="1213" y="108"/>
                  </a:cubicBezTo>
                  <a:cubicBezTo>
                    <a:pt x="1213" y="108"/>
                    <a:pt x="1214" y="111"/>
                    <a:pt x="1214" y="111"/>
                  </a:cubicBezTo>
                  <a:cubicBezTo>
                    <a:pt x="1215" y="111"/>
                    <a:pt x="1216" y="111"/>
                    <a:pt x="1217" y="111"/>
                  </a:cubicBezTo>
                  <a:cubicBezTo>
                    <a:pt x="1218" y="112"/>
                    <a:pt x="1217" y="114"/>
                    <a:pt x="1217" y="114"/>
                  </a:cubicBezTo>
                  <a:cubicBezTo>
                    <a:pt x="1217" y="115"/>
                    <a:pt x="1220" y="114"/>
                    <a:pt x="1220" y="114"/>
                  </a:cubicBezTo>
                  <a:cubicBezTo>
                    <a:pt x="1221" y="116"/>
                    <a:pt x="1218" y="121"/>
                    <a:pt x="1224" y="119"/>
                  </a:cubicBezTo>
                  <a:cubicBezTo>
                    <a:pt x="1224" y="122"/>
                    <a:pt x="1224" y="125"/>
                    <a:pt x="1224" y="129"/>
                  </a:cubicBezTo>
                  <a:cubicBezTo>
                    <a:pt x="1230" y="129"/>
                    <a:pt x="1234" y="127"/>
                    <a:pt x="1235" y="123"/>
                  </a:cubicBezTo>
                  <a:cubicBezTo>
                    <a:pt x="1239" y="125"/>
                    <a:pt x="1244" y="124"/>
                    <a:pt x="1248" y="126"/>
                  </a:cubicBezTo>
                  <a:cubicBezTo>
                    <a:pt x="1249" y="126"/>
                    <a:pt x="1248" y="129"/>
                    <a:pt x="1248" y="129"/>
                  </a:cubicBezTo>
                  <a:cubicBezTo>
                    <a:pt x="1249" y="130"/>
                    <a:pt x="1252" y="128"/>
                    <a:pt x="1253" y="129"/>
                  </a:cubicBezTo>
                  <a:cubicBezTo>
                    <a:pt x="1252" y="130"/>
                    <a:pt x="1249" y="130"/>
                    <a:pt x="1250" y="133"/>
                  </a:cubicBezTo>
                  <a:cubicBezTo>
                    <a:pt x="1247" y="134"/>
                    <a:pt x="1247" y="132"/>
                    <a:pt x="1245" y="132"/>
                  </a:cubicBezTo>
                  <a:cubicBezTo>
                    <a:pt x="1244" y="133"/>
                    <a:pt x="1244" y="135"/>
                    <a:pt x="1241" y="135"/>
                  </a:cubicBezTo>
                  <a:cubicBezTo>
                    <a:pt x="1241" y="137"/>
                    <a:pt x="1245" y="136"/>
                    <a:pt x="1244" y="141"/>
                  </a:cubicBezTo>
                  <a:cubicBezTo>
                    <a:pt x="1238" y="136"/>
                    <a:pt x="1243" y="143"/>
                    <a:pt x="1239" y="144"/>
                  </a:cubicBezTo>
                  <a:cubicBezTo>
                    <a:pt x="1238" y="144"/>
                    <a:pt x="1237" y="145"/>
                    <a:pt x="1236" y="147"/>
                  </a:cubicBezTo>
                  <a:cubicBezTo>
                    <a:pt x="1234" y="146"/>
                    <a:pt x="1233" y="146"/>
                    <a:pt x="1232" y="145"/>
                  </a:cubicBezTo>
                  <a:cubicBezTo>
                    <a:pt x="1231" y="145"/>
                    <a:pt x="1230" y="143"/>
                    <a:pt x="1229" y="142"/>
                  </a:cubicBezTo>
                  <a:cubicBezTo>
                    <a:pt x="1227" y="141"/>
                    <a:pt x="1225" y="142"/>
                    <a:pt x="1223" y="141"/>
                  </a:cubicBezTo>
                  <a:cubicBezTo>
                    <a:pt x="1222" y="140"/>
                    <a:pt x="1221" y="138"/>
                    <a:pt x="1220" y="138"/>
                  </a:cubicBezTo>
                  <a:cubicBezTo>
                    <a:pt x="1218" y="137"/>
                    <a:pt x="1216" y="138"/>
                    <a:pt x="1214" y="138"/>
                  </a:cubicBezTo>
                  <a:cubicBezTo>
                    <a:pt x="1214" y="138"/>
                    <a:pt x="1214" y="136"/>
                    <a:pt x="1213" y="136"/>
                  </a:cubicBezTo>
                  <a:cubicBezTo>
                    <a:pt x="1211" y="136"/>
                    <a:pt x="1209" y="131"/>
                    <a:pt x="1207" y="135"/>
                  </a:cubicBezTo>
                  <a:cubicBezTo>
                    <a:pt x="1205" y="135"/>
                    <a:pt x="1205" y="132"/>
                    <a:pt x="1205" y="130"/>
                  </a:cubicBezTo>
                  <a:cubicBezTo>
                    <a:pt x="1202" y="130"/>
                    <a:pt x="1199" y="130"/>
                    <a:pt x="1196" y="130"/>
                  </a:cubicBezTo>
                  <a:cubicBezTo>
                    <a:pt x="1193" y="131"/>
                    <a:pt x="1196" y="134"/>
                    <a:pt x="1196" y="133"/>
                  </a:cubicBezTo>
                  <a:cubicBezTo>
                    <a:pt x="1196" y="135"/>
                    <a:pt x="1193" y="136"/>
                    <a:pt x="1193" y="139"/>
                  </a:cubicBezTo>
                  <a:cubicBezTo>
                    <a:pt x="1187" y="139"/>
                    <a:pt x="1186" y="144"/>
                    <a:pt x="1178" y="142"/>
                  </a:cubicBezTo>
                  <a:cubicBezTo>
                    <a:pt x="1177" y="143"/>
                    <a:pt x="1177" y="146"/>
                    <a:pt x="1174" y="145"/>
                  </a:cubicBezTo>
                  <a:cubicBezTo>
                    <a:pt x="1175" y="147"/>
                    <a:pt x="1178" y="146"/>
                    <a:pt x="1180" y="147"/>
                  </a:cubicBezTo>
                  <a:cubicBezTo>
                    <a:pt x="1182" y="147"/>
                    <a:pt x="1182" y="149"/>
                    <a:pt x="1184" y="150"/>
                  </a:cubicBezTo>
                  <a:cubicBezTo>
                    <a:pt x="1183" y="154"/>
                    <a:pt x="1183" y="153"/>
                    <a:pt x="1186" y="156"/>
                  </a:cubicBezTo>
                  <a:cubicBezTo>
                    <a:pt x="1187" y="159"/>
                    <a:pt x="1191" y="159"/>
                    <a:pt x="1193" y="162"/>
                  </a:cubicBezTo>
                  <a:cubicBezTo>
                    <a:pt x="1193" y="162"/>
                    <a:pt x="1189" y="166"/>
                    <a:pt x="1189" y="166"/>
                  </a:cubicBezTo>
                  <a:cubicBezTo>
                    <a:pt x="1185" y="167"/>
                    <a:pt x="1185" y="163"/>
                    <a:pt x="1183" y="163"/>
                  </a:cubicBezTo>
                  <a:cubicBezTo>
                    <a:pt x="1183" y="163"/>
                    <a:pt x="1185" y="166"/>
                    <a:pt x="1183" y="166"/>
                  </a:cubicBezTo>
                  <a:cubicBezTo>
                    <a:pt x="1179" y="166"/>
                    <a:pt x="1171" y="166"/>
                    <a:pt x="1167" y="167"/>
                  </a:cubicBezTo>
                  <a:cubicBezTo>
                    <a:pt x="1164" y="168"/>
                    <a:pt x="1159" y="170"/>
                    <a:pt x="1159" y="173"/>
                  </a:cubicBezTo>
                  <a:cubicBezTo>
                    <a:pt x="1153" y="172"/>
                    <a:pt x="1152" y="177"/>
                    <a:pt x="1147" y="178"/>
                  </a:cubicBezTo>
                  <a:cubicBezTo>
                    <a:pt x="1146" y="179"/>
                    <a:pt x="1146" y="180"/>
                    <a:pt x="1144" y="181"/>
                  </a:cubicBezTo>
                  <a:cubicBezTo>
                    <a:pt x="1143" y="182"/>
                    <a:pt x="1141" y="184"/>
                    <a:pt x="1140" y="184"/>
                  </a:cubicBezTo>
                  <a:cubicBezTo>
                    <a:pt x="1139" y="184"/>
                    <a:pt x="1137" y="185"/>
                    <a:pt x="1137" y="187"/>
                  </a:cubicBezTo>
                  <a:cubicBezTo>
                    <a:pt x="1132" y="186"/>
                    <a:pt x="1124" y="189"/>
                    <a:pt x="1122" y="185"/>
                  </a:cubicBezTo>
                  <a:cubicBezTo>
                    <a:pt x="1121" y="187"/>
                    <a:pt x="1117" y="186"/>
                    <a:pt x="1118" y="190"/>
                  </a:cubicBezTo>
                  <a:cubicBezTo>
                    <a:pt x="1109" y="190"/>
                    <a:pt x="1108" y="190"/>
                    <a:pt x="1100" y="190"/>
                  </a:cubicBezTo>
                  <a:cubicBezTo>
                    <a:pt x="1099" y="190"/>
                    <a:pt x="1098" y="191"/>
                    <a:pt x="1097" y="191"/>
                  </a:cubicBezTo>
                  <a:cubicBezTo>
                    <a:pt x="1096" y="192"/>
                    <a:pt x="1093" y="193"/>
                    <a:pt x="1093" y="196"/>
                  </a:cubicBezTo>
                  <a:cubicBezTo>
                    <a:pt x="1092" y="200"/>
                    <a:pt x="1086" y="198"/>
                    <a:pt x="1087" y="205"/>
                  </a:cubicBezTo>
                  <a:cubicBezTo>
                    <a:pt x="1086" y="209"/>
                    <a:pt x="1090" y="209"/>
                    <a:pt x="1093" y="210"/>
                  </a:cubicBezTo>
                  <a:cubicBezTo>
                    <a:pt x="1092" y="214"/>
                    <a:pt x="1091" y="218"/>
                    <a:pt x="1087" y="218"/>
                  </a:cubicBezTo>
                  <a:cubicBezTo>
                    <a:pt x="1087" y="221"/>
                    <a:pt x="1086" y="222"/>
                    <a:pt x="1084" y="222"/>
                  </a:cubicBezTo>
                  <a:cubicBezTo>
                    <a:pt x="1084" y="224"/>
                    <a:pt x="1084" y="226"/>
                    <a:pt x="1084" y="228"/>
                  </a:cubicBezTo>
                  <a:cubicBezTo>
                    <a:pt x="1084" y="231"/>
                    <a:pt x="1086" y="227"/>
                    <a:pt x="1087" y="230"/>
                  </a:cubicBezTo>
                  <a:cubicBezTo>
                    <a:pt x="1088" y="233"/>
                    <a:pt x="1084" y="232"/>
                    <a:pt x="1084" y="233"/>
                  </a:cubicBezTo>
                  <a:cubicBezTo>
                    <a:pt x="1083" y="233"/>
                    <a:pt x="1083" y="237"/>
                    <a:pt x="1082" y="237"/>
                  </a:cubicBezTo>
                  <a:cubicBezTo>
                    <a:pt x="1081" y="238"/>
                    <a:pt x="1076" y="237"/>
                    <a:pt x="1075" y="239"/>
                  </a:cubicBezTo>
                  <a:cubicBezTo>
                    <a:pt x="1074" y="240"/>
                    <a:pt x="1076" y="244"/>
                    <a:pt x="1075" y="245"/>
                  </a:cubicBezTo>
                  <a:cubicBezTo>
                    <a:pt x="1073" y="245"/>
                    <a:pt x="1074" y="242"/>
                    <a:pt x="1073" y="242"/>
                  </a:cubicBezTo>
                  <a:cubicBezTo>
                    <a:pt x="1072" y="241"/>
                    <a:pt x="1069" y="243"/>
                    <a:pt x="1072" y="249"/>
                  </a:cubicBezTo>
                  <a:cubicBezTo>
                    <a:pt x="1069" y="248"/>
                    <a:pt x="1070" y="251"/>
                    <a:pt x="1069" y="252"/>
                  </a:cubicBezTo>
                  <a:cubicBezTo>
                    <a:pt x="1068" y="252"/>
                    <a:pt x="1066" y="251"/>
                    <a:pt x="1066" y="252"/>
                  </a:cubicBezTo>
                  <a:cubicBezTo>
                    <a:pt x="1065" y="253"/>
                    <a:pt x="1066" y="256"/>
                    <a:pt x="1063" y="255"/>
                  </a:cubicBezTo>
                  <a:cubicBezTo>
                    <a:pt x="1063" y="258"/>
                    <a:pt x="1061" y="258"/>
                    <a:pt x="1061" y="261"/>
                  </a:cubicBezTo>
                  <a:cubicBezTo>
                    <a:pt x="1059" y="261"/>
                    <a:pt x="1056" y="260"/>
                    <a:pt x="1055" y="262"/>
                  </a:cubicBezTo>
                  <a:cubicBezTo>
                    <a:pt x="1053" y="262"/>
                    <a:pt x="1056" y="260"/>
                    <a:pt x="1055" y="258"/>
                  </a:cubicBezTo>
                  <a:cubicBezTo>
                    <a:pt x="1056" y="258"/>
                    <a:pt x="1054" y="257"/>
                    <a:pt x="1054" y="256"/>
                  </a:cubicBezTo>
                  <a:cubicBezTo>
                    <a:pt x="1054" y="255"/>
                    <a:pt x="1054" y="254"/>
                    <a:pt x="1054" y="253"/>
                  </a:cubicBezTo>
                  <a:cubicBezTo>
                    <a:pt x="1053" y="253"/>
                    <a:pt x="1052" y="251"/>
                    <a:pt x="1051" y="250"/>
                  </a:cubicBezTo>
                  <a:cubicBezTo>
                    <a:pt x="1050" y="250"/>
                    <a:pt x="1050" y="249"/>
                    <a:pt x="1048" y="249"/>
                  </a:cubicBezTo>
                  <a:cubicBezTo>
                    <a:pt x="1050" y="247"/>
                    <a:pt x="1050" y="243"/>
                    <a:pt x="1050" y="240"/>
                  </a:cubicBezTo>
                  <a:cubicBezTo>
                    <a:pt x="1049" y="238"/>
                    <a:pt x="1048" y="238"/>
                    <a:pt x="1048" y="236"/>
                  </a:cubicBezTo>
                  <a:cubicBezTo>
                    <a:pt x="1047" y="230"/>
                    <a:pt x="1049" y="224"/>
                    <a:pt x="1048" y="219"/>
                  </a:cubicBezTo>
                  <a:cubicBezTo>
                    <a:pt x="1053" y="224"/>
                    <a:pt x="1049" y="217"/>
                    <a:pt x="1051" y="213"/>
                  </a:cubicBezTo>
                  <a:cubicBezTo>
                    <a:pt x="1051" y="213"/>
                    <a:pt x="1053" y="218"/>
                    <a:pt x="1054" y="215"/>
                  </a:cubicBezTo>
                  <a:cubicBezTo>
                    <a:pt x="1054" y="214"/>
                    <a:pt x="1054" y="213"/>
                    <a:pt x="1054" y="212"/>
                  </a:cubicBezTo>
                  <a:cubicBezTo>
                    <a:pt x="1055" y="210"/>
                    <a:pt x="1061" y="206"/>
                    <a:pt x="1063" y="205"/>
                  </a:cubicBezTo>
                  <a:cubicBezTo>
                    <a:pt x="1063" y="204"/>
                    <a:pt x="1065" y="204"/>
                    <a:pt x="1064" y="203"/>
                  </a:cubicBezTo>
                  <a:cubicBezTo>
                    <a:pt x="1062" y="201"/>
                    <a:pt x="1065" y="202"/>
                    <a:pt x="1067" y="202"/>
                  </a:cubicBezTo>
                  <a:cubicBezTo>
                    <a:pt x="1070" y="200"/>
                    <a:pt x="1071" y="198"/>
                    <a:pt x="1070" y="194"/>
                  </a:cubicBezTo>
                  <a:cubicBezTo>
                    <a:pt x="1071" y="194"/>
                    <a:pt x="1076" y="192"/>
                    <a:pt x="1075" y="191"/>
                  </a:cubicBezTo>
                  <a:cubicBezTo>
                    <a:pt x="1075" y="191"/>
                    <a:pt x="1073" y="191"/>
                    <a:pt x="1073" y="191"/>
                  </a:cubicBezTo>
                  <a:cubicBezTo>
                    <a:pt x="1073" y="191"/>
                    <a:pt x="1075" y="188"/>
                    <a:pt x="1075" y="188"/>
                  </a:cubicBezTo>
                  <a:cubicBezTo>
                    <a:pt x="1076" y="188"/>
                    <a:pt x="1078" y="192"/>
                    <a:pt x="1078" y="185"/>
                  </a:cubicBezTo>
                  <a:cubicBezTo>
                    <a:pt x="1080" y="185"/>
                    <a:pt x="1083" y="185"/>
                    <a:pt x="1085" y="184"/>
                  </a:cubicBezTo>
                  <a:cubicBezTo>
                    <a:pt x="1086" y="183"/>
                    <a:pt x="1086" y="181"/>
                    <a:pt x="1087" y="181"/>
                  </a:cubicBezTo>
                  <a:cubicBezTo>
                    <a:pt x="1087" y="180"/>
                    <a:pt x="1089" y="181"/>
                    <a:pt x="1090" y="181"/>
                  </a:cubicBezTo>
                  <a:cubicBezTo>
                    <a:pt x="1090" y="180"/>
                    <a:pt x="1092" y="179"/>
                    <a:pt x="1093" y="178"/>
                  </a:cubicBezTo>
                  <a:cubicBezTo>
                    <a:pt x="1093" y="177"/>
                    <a:pt x="1094" y="178"/>
                    <a:pt x="1094" y="176"/>
                  </a:cubicBezTo>
                  <a:cubicBezTo>
                    <a:pt x="1094" y="175"/>
                    <a:pt x="1096" y="170"/>
                    <a:pt x="1098" y="173"/>
                  </a:cubicBezTo>
                  <a:cubicBezTo>
                    <a:pt x="1098" y="171"/>
                    <a:pt x="1098" y="168"/>
                    <a:pt x="1098" y="166"/>
                  </a:cubicBezTo>
                  <a:cubicBezTo>
                    <a:pt x="1095" y="165"/>
                    <a:pt x="1093" y="166"/>
                    <a:pt x="1091" y="167"/>
                  </a:cubicBezTo>
                  <a:cubicBezTo>
                    <a:pt x="1090" y="169"/>
                    <a:pt x="1089" y="169"/>
                    <a:pt x="1088" y="170"/>
                  </a:cubicBezTo>
                  <a:cubicBezTo>
                    <a:pt x="1087" y="171"/>
                    <a:pt x="1087" y="170"/>
                    <a:pt x="1087" y="172"/>
                  </a:cubicBezTo>
                  <a:cubicBezTo>
                    <a:pt x="1086" y="175"/>
                    <a:pt x="1081" y="174"/>
                    <a:pt x="1081" y="178"/>
                  </a:cubicBezTo>
                  <a:cubicBezTo>
                    <a:pt x="1078" y="177"/>
                    <a:pt x="1076" y="178"/>
                    <a:pt x="1076" y="181"/>
                  </a:cubicBezTo>
                  <a:cubicBezTo>
                    <a:pt x="1074" y="181"/>
                    <a:pt x="1075" y="178"/>
                    <a:pt x="1075" y="178"/>
                  </a:cubicBezTo>
                  <a:cubicBezTo>
                    <a:pt x="1074" y="178"/>
                    <a:pt x="1072" y="178"/>
                    <a:pt x="1072" y="178"/>
                  </a:cubicBezTo>
                  <a:cubicBezTo>
                    <a:pt x="1071" y="177"/>
                    <a:pt x="1072" y="175"/>
                    <a:pt x="1072" y="173"/>
                  </a:cubicBezTo>
                  <a:cubicBezTo>
                    <a:pt x="1066" y="174"/>
                    <a:pt x="1061" y="172"/>
                    <a:pt x="1057" y="173"/>
                  </a:cubicBezTo>
                  <a:cubicBezTo>
                    <a:pt x="1055" y="174"/>
                    <a:pt x="1057" y="176"/>
                    <a:pt x="1055" y="176"/>
                  </a:cubicBezTo>
                  <a:cubicBezTo>
                    <a:pt x="1053" y="178"/>
                    <a:pt x="1051" y="177"/>
                    <a:pt x="1050" y="178"/>
                  </a:cubicBezTo>
                  <a:cubicBezTo>
                    <a:pt x="1047" y="179"/>
                    <a:pt x="1047" y="180"/>
                    <a:pt x="1045" y="182"/>
                  </a:cubicBezTo>
                  <a:cubicBezTo>
                    <a:pt x="1044" y="184"/>
                    <a:pt x="1043" y="185"/>
                    <a:pt x="1041" y="185"/>
                  </a:cubicBezTo>
                  <a:cubicBezTo>
                    <a:pt x="1039" y="189"/>
                    <a:pt x="1043" y="189"/>
                    <a:pt x="1042" y="193"/>
                  </a:cubicBezTo>
                  <a:cubicBezTo>
                    <a:pt x="1040" y="193"/>
                    <a:pt x="1039" y="195"/>
                    <a:pt x="1039" y="197"/>
                  </a:cubicBezTo>
                  <a:cubicBezTo>
                    <a:pt x="1033" y="196"/>
                    <a:pt x="1032" y="199"/>
                    <a:pt x="1026" y="199"/>
                  </a:cubicBezTo>
                  <a:cubicBezTo>
                    <a:pt x="1024" y="197"/>
                    <a:pt x="1025" y="196"/>
                    <a:pt x="1026" y="194"/>
                  </a:cubicBezTo>
                  <a:cubicBezTo>
                    <a:pt x="1023" y="195"/>
                    <a:pt x="1023" y="193"/>
                    <a:pt x="1023" y="191"/>
                  </a:cubicBezTo>
                  <a:cubicBezTo>
                    <a:pt x="1021" y="191"/>
                    <a:pt x="1017" y="192"/>
                    <a:pt x="1017" y="190"/>
                  </a:cubicBezTo>
                  <a:cubicBezTo>
                    <a:pt x="1010" y="194"/>
                    <a:pt x="1001" y="196"/>
                    <a:pt x="992" y="197"/>
                  </a:cubicBezTo>
                  <a:cubicBezTo>
                    <a:pt x="991" y="195"/>
                    <a:pt x="987" y="196"/>
                    <a:pt x="989" y="191"/>
                  </a:cubicBezTo>
                  <a:cubicBezTo>
                    <a:pt x="987" y="191"/>
                    <a:pt x="985" y="191"/>
                    <a:pt x="983" y="191"/>
                  </a:cubicBezTo>
                  <a:cubicBezTo>
                    <a:pt x="977" y="193"/>
                    <a:pt x="972" y="194"/>
                    <a:pt x="967" y="197"/>
                  </a:cubicBezTo>
                  <a:cubicBezTo>
                    <a:pt x="963" y="199"/>
                    <a:pt x="959" y="203"/>
                    <a:pt x="955" y="205"/>
                  </a:cubicBezTo>
                  <a:cubicBezTo>
                    <a:pt x="955" y="207"/>
                    <a:pt x="954" y="209"/>
                    <a:pt x="952" y="209"/>
                  </a:cubicBezTo>
                  <a:cubicBezTo>
                    <a:pt x="953" y="213"/>
                    <a:pt x="950" y="213"/>
                    <a:pt x="950" y="216"/>
                  </a:cubicBezTo>
                  <a:cubicBezTo>
                    <a:pt x="947" y="214"/>
                    <a:pt x="944" y="222"/>
                    <a:pt x="943" y="221"/>
                  </a:cubicBezTo>
                  <a:cubicBezTo>
                    <a:pt x="940" y="218"/>
                    <a:pt x="942" y="222"/>
                    <a:pt x="938" y="222"/>
                  </a:cubicBezTo>
                  <a:cubicBezTo>
                    <a:pt x="936" y="222"/>
                    <a:pt x="936" y="223"/>
                    <a:pt x="935" y="225"/>
                  </a:cubicBezTo>
                  <a:cubicBezTo>
                    <a:pt x="928" y="223"/>
                    <a:pt x="931" y="230"/>
                    <a:pt x="925" y="230"/>
                  </a:cubicBezTo>
                  <a:cubicBezTo>
                    <a:pt x="926" y="231"/>
                    <a:pt x="930" y="237"/>
                    <a:pt x="931" y="234"/>
                  </a:cubicBezTo>
                  <a:cubicBezTo>
                    <a:pt x="933" y="235"/>
                    <a:pt x="932" y="238"/>
                    <a:pt x="932" y="240"/>
                  </a:cubicBezTo>
                  <a:cubicBezTo>
                    <a:pt x="935" y="239"/>
                    <a:pt x="937" y="242"/>
                    <a:pt x="937" y="242"/>
                  </a:cubicBezTo>
                  <a:cubicBezTo>
                    <a:pt x="938" y="242"/>
                    <a:pt x="940" y="239"/>
                    <a:pt x="943" y="240"/>
                  </a:cubicBezTo>
                  <a:cubicBezTo>
                    <a:pt x="943" y="240"/>
                    <a:pt x="945" y="241"/>
                    <a:pt x="944" y="242"/>
                  </a:cubicBezTo>
                  <a:cubicBezTo>
                    <a:pt x="946" y="241"/>
                    <a:pt x="948" y="237"/>
                    <a:pt x="949" y="240"/>
                  </a:cubicBezTo>
                  <a:cubicBezTo>
                    <a:pt x="950" y="240"/>
                    <a:pt x="950" y="238"/>
                    <a:pt x="950" y="237"/>
                  </a:cubicBezTo>
                  <a:cubicBezTo>
                    <a:pt x="953" y="238"/>
                    <a:pt x="953" y="248"/>
                    <a:pt x="956" y="243"/>
                  </a:cubicBezTo>
                  <a:cubicBezTo>
                    <a:pt x="960" y="242"/>
                    <a:pt x="955" y="250"/>
                    <a:pt x="961" y="247"/>
                  </a:cubicBezTo>
                  <a:cubicBezTo>
                    <a:pt x="961" y="249"/>
                    <a:pt x="958" y="248"/>
                    <a:pt x="958" y="249"/>
                  </a:cubicBezTo>
                  <a:cubicBezTo>
                    <a:pt x="957" y="249"/>
                    <a:pt x="960" y="253"/>
                    <a:pt x="959" y="255"/>
                  </a:cubicBezTo>
                  <a:cubicBezTo>
                    <a:pt x="959" y="255"/>
                    <a:pt x="958" y="255"/>
                    <a:pt x="958" y="256"/>
                  </a:cubicBezTo>
                  <a:cubicBezTo>
                    <a:pt x="958" y="257"/>
                    <a:pt x="956" y="258"/>
                    <a:pt x="956" y="259"/>
                  </a:cubicBezTo>
                  <a:cubicBezTo>
                    <a:pt x="955" y="264"/>
                    <a:pt x="958" y="273"/>
                    <a:pt x="953" y="268"/>
                  </a:cubicBezTo>
                  <a:cubicBezTo>
                    <a:pt x="955" y="281"/>
                    <a:pt x="948" y="287"/>
                    <a:pt x="946" y="296"/>
                  </a:cubicBezTo>
                  <a:cubicBezTo>
                    <a:pt x="944" y="298"/>
                    <a:pt x="943" y="297"/>
                    <a:pt x="941" y="296"/>
                  </a:cubicBezTo>
                  <a:cubicBezTo>
                    <a:pt x="941" y="298"/>
                    <a:pt x="942" y="300"/>
                    <a:pt x="941" y="301"/>
                  </a:cubicBezTo>
                  <a:cubicBezTo>
                    <a:pt x="941" y="302"/>
                    <a:pt x="938" y="301"/>
                    <a:pt x="937" y="302"/>
                  </a:cubicBezTo>
                  <a:cubicBezTo>
                    <a:pt x="936" y="303"/>
                    <a:pt x="937" y="305"/>
                    <a:pt x="937" y="305"/>
                  </a:cubicBezTo>
                  <a:cubicBezTo>
                    <a:pt x="936" y="306"/>
                    <a:pt x="934" y="305"/>
                    <a:pt x="934" y="305"/>
                  </a:cubicBezTo>
                  <a:cubicBezTo>
                    <a:pt x="933" y="306"/>
                    <a:pt x="935" y="307"/>
                    <a:pt x="935" y="307"/>
                  </a:cubicBezTo>
                  <a:cubicBezTo>
                    <a:pt x="934" y="308"/>
                    <a:pt x="932" y="308"/>
                    <a:pt x="931" y="310"/>
                  </a:cubicBezTo>
                  <a:cubicBezTo>
                    <a:pt x="930" y="311"/>
                    <a:pt x="930" y="313"/>
                    <a:pt x="929" y="314"/>
                  </a:cubicBezTo>
                  <a:cubicBezTo>
                    <a:pt x="928" y="315"/>
                    <a:pt x="926" y="315"/>
                    <a:pt x="925" y="316"/>
                  </a:cubicBezTo>
                  <a:cubicBezTo>
                    <a:pt x="924" y="317"/>
                    <a:pt x="925" y="319"/>
                    <a:pt x="924" y="320"/>
                  </a:cubicBezTo>
                  <a:cubicBezTo>
                    <a:pt x="923" y="321"/>
                    <a:pt x="921" y="320"/>
                    <a:pt x="921" y="320"/>
                  </a:cubicBezTo>
                  <a:cubicBezTo>
                    <a:pt x="920" y="320"/>
                    <a:pt x="920" y="324"/>
                    <a:pt x="919" y="323"/>
                  </a:cubicBezTo>
                  <a:cubicBezTo>
                    <a:pt x="918" y="322"/>
                    <a:pt x="917" y="321"/>
                    <a:pt x="916" y="326"/>
                  </a:cubicBezTo>
                  <a:cubicBezTo>
                    <a:pt x="909" y="327"/>
                    <a:pt x="909" y="326"/>
                    <a:pt x="901" y="326"/>
                  </a:cubicBezTo>
                  <a:cubicBezTo>
                    <a:pt x="901" y="327"/>
                    <a:pt x="895" y="330"/>
                    <a:pt x="898" y="330"/>
                  </a:cubicBezTo>
                  <a:cubicBezTo>
                    <a:pt x="900" y="334"/>
                    <a:pt x="888" y="331"/>
                    <a:pt x="894" y="333"/>
                  </a:cubicBezTo>
                  <a:cubicBezTo>
                    <a:pt x="894" y="335"/>
                    <a:pt x="891" y="335"/>
                    <a:pt x="891" y="333"/>
                  </a:cubicBezTo>
                  <a:cubicBezTo>
                    <a:pt x="887" y="337"/>
                    <a:pt x="889" y="340"/>
                    <a:pt x="889" y="345"/>
                  </a:cubicBezTo>
                  <a:cubicBezTo>
                    <a:pt x="885" y="346"/>
                    <a:pt x="887" y="346"/>
                    <a:pt x="882" y="345"/>
                  </a:cubicBezTo>
                  <a:cubicBezTo>
                    <a:pt x="884" y="347"/>
                    <a:pt x="883" y="348"/>
                    <a:pt x="881" y="348"/>
                  </a:cubicBezTo>
                  <a:cubicBezTo>
                    <a:pt x="880" y="351"/>
                    <a:pt x="882" y="364"/>
                    <a:pt x="884" y="360"/>
                  </a:cubicBezTo>
                  <a:cubicBezTo>
                    <a:pt x="887" y="360"/>
                    <a:pt x="884" y="372"/>
                    <a:pt x="888" y="372"/>
                  </a:cubicBezTo>
                  <a:cubicBezTo>
                    <a:pt x="892" y="372"/>
                    <a:pt x="887" y="376"/>
                    <a:pt x="891" y="378"/>
                  </a:cubicBezTo>
                  <a:cubicBezTo>
                    <a:pt x="890" y="378"/>
                    <a:pt x="890" y="381"/>
                    <a:pt x="889" y="381"/>
                  </a:cubicBezTo>
                  <a:cubicBezTo>
                    <a:pt x="888" y="381"/>
                    <a:pt x="886" y="379"/>
                    <a:pt x="887" y="379"/>
                  </a:cubicBezTo>
                  <a:cubicBezTo>
                    <a:pt x="885" y="380"/>
                    <a:pt x="886" y="382"/>
                    <a:pt x="885" y="382"/>
                  </a:cubicBezTo>
                  <a:cubicBezTo>
                    <a:pt x="884" y="383"/>
                    <a:pt x="882" y="382"/>
                    <a:pt x="881" y="382"/>
                  </a:cubicBezTo>
                  <a:cubicBezTo>
                    <a:pt x="877" y="383"/>
                    <a:pt x="873" y="386"/>
                    <a:pt x="870" y="384"/>
                  </a:cubicBezTo>
                  <a:cubicBezTo>
                    <a:pt x="869" y="381"/>
                    <a:pt x="871" y="380"/>
                    <a:pt x="872" y="378"/>
                  </a:cubicBezTo>
                  <a:cubicBezTo>
                    <a:pt x="872" y="375"/>
                    <a:pt x="870" y="370"/>
                    <a:pt x="873" y="369"/>
                  </a:cubicBezTo>
                  <a:cubicBezTo>
                    <a:pt x="873" y="367"/>
                    <a:pt x="869" y="368"/>
                    <a:pt x="870" y="363"/>
                  </a:cubicBezTo>
                  <a:cubicBezTo>
                    <a:pt x="867" y="361"/>
                    <a:pt x="864" y="364"/>
                    <a:pt x="861" y="360"/>
                  </a:cubicBezTo>
                  <a:cubicBezTo>
                    <a:pt x="860" y="356"/>
                    <a:pt x="866" y="358"/>
                    <a:pt x="864" y="353"/>
                  </a:cubicBezTo>
                  <a:cubicBezTo>
                    <a:pt x="864" y="351"/>
                    <a:pt x="863" y="352"/>
                    <a:pt x="863" y="353"/>
                  </a:cubicBezTo>
                  <a:cubicBezTo>
                    <a:pt x="861" y="353"/>
                    <a:pt x="861" y="351"/>
                    <a:pt x="860" y="350"/>
                  </a:cubicBezTo>
                  <a:cubicBezTo>
                    <a:pt x="859" y="349"/>
                    <a:pt x="857" y="348"/>
                    <a:pt x="857" y="347"/>
                  </a:cubicBezTo>
                  <a:cubicBezTo>
                    <a:pt x="856" y="348"/>
                    <a:pt x="854" y="348"/>
                    <a:pt x="852" y="348"/>
                  </a:cubicBezTo>
                  <a:cubicBezTo>
                    <a:pt x="851" y="349"/>
                    <a:pt x="852" y="350"/>
                    <a:pt x="852" y="350"/>
                  </a:cubicBezTo>
                  <a:cubicBezTo>
                    <a:pt x="852" y="354"/>
                    <a:pt x="848" y="346"/>
                    <a:pt x="849" y="353"/>
                  </a:cubicBezTo>
                  <a:cubicBezTo>
                    <a:pt x="845" y="350"/>
                    <a:pt x="846" y="356"/>
                    <a:pt x="841" y="353"/>
                  </a:cubicBezTo>
                  <a:cubicBezTo>
                    <a:pt x="845" y="349"/>
                    <a:pt x="841" y="347"/>
                    <a:pt x="845" y="344"/>
                  </a:cubicBezTo>
                  <a:cubicBezTo>
                    <a:pt x="847" y="342"/>
                    <a:pt x="838" y="343"/>
                    <a:pt x="838" y="345"/>
                  </a:cubicBezTo>
                  <a:cubicBezTo>
                    <a:pt x="837" y="349"/>
                    <a:pt x="836" y="344"/>
                    <a:pt x="836" y="344"/>
                  </a:cubicBezTo>
                  <a:cubicBezTo>
                    <a:pt x="833" y="344"/>
                    <a:pt x="834" y="348"/>
                    <a:pt x="832" y="348"/>
                  </a:cubicBezTo>
                  <a:cubicBezTo>
                    <a:pt x="831" y="348"/>
                    <a:pt x="828" y="351"/>
                    <a:pt x="827" y="351"/>
                  </a:cubicBezTo>
                  <a:cubicBezTo>
                    <a:pt x="826" y="352"/>
                    <a:pt x="826" y="352"/>
                    <a:pt x="826" y="354"/>
                  </a:cubicBezTo>
                  <a:cubicBezTo>
                    <a:pt x="820" y="353"/>
                    <a:pt x="821" y="353"/>
                    <a:pt x="815" y="354"/>
                  </a:cubicBezTo>
                  <a:cubicBezTo>
                    <a:pt x="817" y="354"/>
                    <a:pt x="816" y="358"/>
                    <a:pt x="817" y="359"/>
                  </a:cubicBezTo>
                  <a:cubicBezTo>
                    <a:pt x="818" y="359"/>
                    <a:pt x="820" y="358"/>
                    <a:pt x="821" y="359"/>
                  </a:cubicBezTo>
                  <a:cubicBezTo>
                    <a:pt x="822" y="359"/>
                    <a:pt x="821" y="361"/>
                    <a:pt x="821" y="362"/>
                  </a:cubicBezTo>
                  <a:cubicBezTo>
                    <a:pt x="822" y="362"/>
                    <a:pt x="825" y="361"/>
                    <a:pt x="826" y="362"/>
                  </a:cubicBezTo>
                  <a:cubicBezTo>
                    <a:pt x="826" y="362"/>
                    <a:pt x="825" y="364"/>
                    <a:pt x="826" y="365"/>
                  </a:cubicBezTo>
                  <a:cubicBezTo>
                    <a:pt x="827" y="366"/>
                    <a:pt x="829" y="365"/>
                    <a:pt x="830" y="366"/>
                  </a:cubicBezTo>
                  <a:cubicBezTo>
                    <a:pt x="832" y="366"/>
                    <a:pt x="831" y="363"/>
                    <a:pt x="833" y="363"/>
                  </a:cubicBezTo>
                  <a:cubicBezTo>
                    <a:pt x="839" y="362"/>
                    <a:pt x="843" y="364"/>
                    <a:pt x="844" y="369"/>
                  </a:cubicBezTo>
                  <a:cubicBezTo>
                    <a:pt x="842" y="371"/>
                    <a:pt x="838" y="371"/>
                    <a:pt x="836" y="369"/>
                  </a:cubicBezTo>
                  <a:cubicBezTo>
                    <a:pt x="835" y="371"/>
                    <a:pt x="834" y="373"/>
                    <a:pt x="835" y="376"/>
                  </a:cubicBezTo>
                  <a:cubicBezTo>
                    <a:pt x="832" y="376"/>
                    <a:pt x="832" y="378"/>
                    <a:pt x="833" y="378"/>
                  </a:cubicBezTo>
                  <a:cubicBezTo>
                    <a:pt x="833" y="380"/>
                    <a:pt x="829" y="379"/>
                    <a:pt x="827" y="379"/>
                  </a:cubicBezTo>
                  <a:cubicBezTo>
                    <a:pt x="829" y="385"/>
                    <a:pt x="835" y="387"/>
                    <a:pt x="835" y="394"/>
                  </a:cubicBezTo>
                  <a:cubicBezTo>
                    <a:pt x="838" y="390"/>
                    <a:pt x="836" y="393"/>
                    <a:pt x="839" y="396"/>
                  </a:cubicBezTo>
                  <a:cubicBezTo>
                    <a:pt x="839" y="401"/>
                    <a:pt x="840" y="409"/>
                    <a:pt x="838" y="412"/>
                  </a:cubicBezTo>
                  <a:cubicBezTo>
                    <a:pt x="840" y="415"/>
                    <a:pt x="841" y="420"/>
                    <a:pt x="841" y="427"/>
                  </a:cubicBezTo>
                  <a:cubicBezTo>
                    <a:pt x="836" y="424"/>
                    <a:pt x="839" y="434"/>
                    <a:pt x="836" y="431"/>
                  </a:cubicBezTo>
                  <a:cubicBezTo>
                    <a:pt x="834" y="429"/>
                    <a:pt x="836" y="431"/>
                    <a:pt x="835" y="433"/>
                  </a:cubicBezTo>
                  <a:cubicBezTo>
                    <a:pt x="834" y="434"/>
                    <a:pt x="830" y="434"/>
                    <a:pt x="832" y="439"/>
                  </a:cubicBezTo>
                  <a:cubicBezTo>
                    <a:pt x="827" y="437"/>
                    <a:pt x="831" y="443"/>
                    <a:pt x="826" y="442"/>
                  </a:cubicBezTo>
                  <a:cubicBezTo>
                    <a:pt x="830" y="445"/>
                    <a:pt x="820" y="447"/>
                    <a:pt x="821" y="449"/>
                  </a:cubicBezTo>
                  <a:cubicBezTo>
                    <a:pt x="824" y="452"/>
                    <a:pt x="821" y="449"/>
                    <a:pt x="818" y="452"/>
                  </a:cubicBezTo>
                  <a:cubicBezTo>
                    <a:pt x="817" y="453"/>
                    <a:pt x="818" y="455"/>
                    <a:pt x="817" y="456"/>
                  </a:cubicBezTo>
                  <a:cubicBezTo>
                    <a:pt x="816" y="457"/>
                    <a:pt x="814" y="456"/>
                    <a:pt x="814" y="456"/>
                  </a:cubicBezTo>
                  <a:cubicBezTo>
                    <a:pt x="813" y="457"/>
                    <a:pt x="814" y="459"/>
                    <a:pt x="814" y="459"/>
                  </a:cubicBezTo>
                  <a:cubicBezTo>
                    <a:pt x="812" y="461"/>
                    <a:pt x="808" y="458"/>
                    <a:pt x="809" y="462"/>
                  </a:cubicBezTo>
                  <a:cubicBezTo>
                    <a:pt x="800" y="463"/>
                    <a:pt x="801" y="464"/>
                    <a:pt x="792" y="462"/>
                  </a:cubicBezTo>
                  <a:cubicBezTo>
                    <a:pt x="790" y="463"/>
                    <a:pt x="790" y="465"/>
                    <a:pt x="790" y="467"/>
                  </a:cubicBezTo>
                  <a:cubicBezTo>
                    <a:pt x="786" y="464"/>
                    <a:pt x="782" y="471"/>
                    <a:pt x="781" y="470"/>
                  </a:cubicBezTo>
                  <a:cubicBezTo>
                    <a:pt x="779" y="467"/>
                    <a:pt x="781" y="471"/>
                    <a:pt x="775" y="471"/>
                  </a:cubicBezTo>
                  <a:cubicBezTo>
                    <a:pt x="773" y="472"/>
                    <a:pt x="777" y="474"/>
                    <a:pt x="774" y="474"/>
                  </a:cubicBezTo>
                  <a:cubicBezTo>
                    <a:pt x="771" y="478"/>
                    <a:pt x="769" y="472"/>
                    <a:pt x="765" y="471"/>
                  </a:cubicBezTo>
                  <a:cubicBezTo>
                    <a:pt x="760" y="470"/>
                    <a:pt x="760" y="473"/>
                    <a:pt x="756" y="473"/>
                  </a:cubicBezTo>
                  <a:cubicBezTo>
                    <a:pt x="754" y="474"/>
                    <a:pt x="753" y="476"/>
                    <a:pt x="753" y="479"/>
                  </a:cubicBezTo>
                  <a:cubicBezTo>
                    <a:pt x="748" y="477"/>
                    <a:pt x="749" y="481"/>
                    <a:pt x="746" y="482"/>
                  </a:cubicBezTo>
                  <a:cubicBezTo>
                    <a:pt x="744" y="486"/>
                    <a:pt x="748" y="484"/>
                    <a:pt x="749" y="488"/>
                  </a:cubicBezTo>
                  <a:cubicBezTo>
                    <a:pt x="749" y="489"/>
                    <a:pt x="749" y="490"/>
                    <a:pt x="750" y="491"/>
                  </a:cubicBezTo>
                  <a:cubicBezTo>
                    <a:pt x="752" y="491"/>
                    <a:pt x="751" y="493"/>
                    <a:pt x="752" y="494"/>
                  </a:cubicBezTo>
                  <a:cubicBezTo>
                    <a:pt x="753" y="495"/>
                    <a:pt x="755" y="494"/>
                    <a:pt x="756" y="495"/>
                  </a:cubicBezTo>
                  <a:cubicBezTo>
                    <a:pt x="757" y="495"/>
                    <a:pt x="756" y="498"/>
                    <a:pt x="756" y="498"/>
                  </a:cubicBezTo>
                  <a:cubicBezTo>
                    <a:pt x="757" y="498"/>
                    <a:pt x="759" y="497"/>
                    <a:pt x="759" y="498"/>
                  </a:cubicBezTo>
                  <a:cubicBezTo>
                    <a:pt x="760" y="499"/>
                    <a:pt x="760" y="503"/>
                    <a:pt x="762" y="505"/>
                  </a:cubicBezTo>
                  <a:cubicBezTo>
                    <a:pt x="763" y="507"/>
                    <a:pt x="766" y="510"/>
                    <a:pt x="766" y="510"/>
                  </a:cubicBezTo>
                  <a:cubicBezTo>
                    <a:pt x="767" y="511"/>
                    <a:pt x="766" y="514"/>
                    <a:pt x="766" y="516"/>
                  </a:cubicBezTo>
                  <a:cubicBezTo>
                    <a:pt x="767" y="518"/>
                    <a:pt x="768" y="519"/>
                    <a:pt x="768" y="522"/>
                  </a:cubicBezTo>
                  <a:cubicBezTo>
                    <a:pt x="768" y="524"/>
                    <a:pt x="767" y="524"/>
                    <a:pt x="766" y="526"/>
                  </a:cubicBezTo>
                  <a:cubicBezTo>
                    <a:pt x="766" y="529"/>
                    <a:pt x="767" y="532"/>
                    <a:pt x="763" y="529"/>
                  </a:cubicBezTo>
                  <a:cubicBezTo>
                    <a:pt x="766" y="535"/>
                    <a:pt x="759" y="532"/>
                    <a:pt x="761" y="536"/>
                  </a:cubicBezTo>
                  <a:cubicBezTo>
                    <a:pt x="755" y="534"/>
                    <a:pt x="756" y="540"/>
                    <a:pt x="752" y="539"/>
                  </a:cubicBezTo>
                  <a:cubicBezTo>
                    <a:pt x="750" y="539"/>
                    <a:pt x="751" y="542"/>
                    <a:pt x="750" y="542"/>
                  </a:cubicBezTo>
                  <a:cubicBezTo>
                    <a:pt x="750" y="543"/>
                    <a:pt x="746" y="543"/>
                    <a:pt x="747" y="544"/>
                  </a:cubicBezTo>
                  <a:cubicBezTo>
                    <a:pt x="748" y="545"/>
                    <a:pt x="748" y="544"/>
                    <a:pt x="747" y="545"/>
                  </a:cubicBezTo>
                  <a:cubicBezTo>
                    <a:pt x="746" y="547"/>
                    <a:pt x="745" y="549"/>
                    <a:pt x="743" y="548"/>
                  </a:cubicBezTo>
                  <a:cubicBezTo>
                    <a:pt x="744" y="541"/>
                    <a:pt x="740" y="547"/>
                    <a:pt x="740" y="544"/>
                  </a:cubicBezTo>
                  <a:cubicBezTo>
                    <a:pt x="740" y="542"/>
                    <a:pt x="739" y="540"/>
                    <a:pt x="737" y="538"/>
                  </a:cubicBezTo>
                  <a:cubicBezTo>
                    <a:pt x="736" y="537"/>
                    <a:pt x="734" y="538"/>
                    <a:pt x="734" y="538"/>
                  </a:cubicBezTo>
                  <a:cubicBezTo>
                    <a:pt x="733" y="537"/>
                    <a:pt x="734" y="535"/>
                    <a:pt x="734" y="535"/>
                  </a:cubicBezTo>
                  <a:cubicBezTo>
                    <a:pt x="733" y="534"/>
                    <a:pt x="729" y="535"/>
                    <a:pt x="728" y="533"/>
                  </a:cubicBezTo>
                  <a:cubicBezTo>
                    <a:pt x="728" y="533"/>
                    <a:pt x="728" y="531"/>
                    <a:pt x="728" y="531"/>
                  </a:cubicBezTo>
                  <a:cubicBezTo>
                    <a:pt x="727" y="530"/>
                    <a:pt x="725" y="531"/>
                    <a:pt x="723" y="531"/>
                  </a:cubicBezTo>
                  <a:cubicBezTo>
                    <a:pt x="722" y="531"/>
                    <a:pt x="723" y="527"/>
                    <a:pt x="722" y="526"/>
                  </a:cubicBezTo>
                  <a:cubicBezTo>
                    <a:pt x="721" y="526"/>
                    <a:pt x="720" y="527"/>
                    <a:pt x="721" y="528"/>
                  </a:cubicBezTo>
                  <a:cubicBezTo>
                    <a:pt x="718" y="525"/>
                    <a:pt x="719" y="525"/>
                    <a:pt x="716" y="522"/>
                  </a:cubicBezTo>
                  <a:cubicBezTo>
                    <a:pt x="712" y="520"/>
                    <a:pt x="713" y="527"/>
                    <a:pt x="712" y="529"/>
                  </a:cubicBezTo>
                  <a:cubicBezTo>
                    <a:pt x="711" y="530"/>
                    <a:pt x="709" y="530"/>
                    <a:pt x="709" y="531"/>
                  </a:cubicBezTo>
                  <a:cubicBezTo>
                    <a:pt x="708" y="533"/>
                    <a:pt x="710" y="537"/>
                    <a:pt x="707" y="539"/>
                  </a:cubicBezTo>
                  <a:cubicBezTo>
                    <a:pt x="708" y="541"/>
                    <a:pt x="709" y="542"/>
                    <a:pt x="709" y="544"/>
                  </a:cubicBezTo>
                  <a:cubicBezTo>
                    <a:pt x="709" y="546"/>
                    <a:pt x="711" y="548"/>
                    <a:pt x="712" y="545"/>
                  </a:cubicBezTo>
                  <a:cubicBezTo>
                    <a:pt x="715" y="549"/>
                    <a:pt x="713" y="551"/>
                    <a:pt x="713" y="556"/>
                  </a:cubicBezTo>
                  <a:cubicBezTo>
                    <a:pt x="713" y="557"/>
                    <a:pt x="715" y="557"/>
                    <a:pt x="715" y="559"/>
                  </a:cubicBezTo>
                  <a:cubicBezTo>
                    <a:pt x="716" y="559"/>
                    <a:pt x="717" y="561"/>
                    <a:pt x="718" y="562"/>
                  </a:cubicBezTo>
                  <a:cubicBezTo>
                    <a:pt x="720" y="563"/>
                    <a:pt x="722" y="564"/>
                    <a:pt x="725" y="566"/>
                  </a:cubicBezTo>
                  <a:cubicBezTo>
                    <a:pt x="726" y="567"/>
                    <a:pt x="725" y="568"/>
                    <a:pt x="726" y="568"/>
                  </a:cubicBezTo>
                  <a:cubicBezTo>
                    <a:pt x="728" y="568"/>
                    <a:pt x="728" y="569"/>
                    <a:pt x="728" y="571"/>
                  </a:cubicBezTo>
                  <a:cubicBezTo>
                    <a:pt x="728" y="572"/>
                    <a:pt x="730" y="571"/>
                    <a:pt x="731" y="572"/>
                  </a:cubicBezTo>
                  <a:cubicBezTo>
                    <a:pt x="732" y="573"/>
                    <a:pt x="730" y="576"/>
                    <a:pt x="731" y="578"/>
                  </a:cubicBezTo>
                  <a:cubicBezTo>
                    <a:pt x="731" y="579"/>
                    <a:pt x="734" y="581"/>
                    <a:pt x="734" y="581"/>
                  </a:cubicBezTo>
                  <a:cubicBezTo>
                    <a:pt x="734" y="582"/>
                    <a:pt x="730" y="586"/>
                    <a:pt x="735" y="587"/>
                  </a:cubicBezTo>
                  <a:cubicBezTo>
                    <a:pt x="735" y="590"/>
                    <a:pt x="732" y="589"/>
                    <a:pt x="729" y="588"/>
                  </a:cubicBezTo>
                  <a:cubicBezTo>
                    <a:pt x="727" y="588"/>
                    <a:pt x="723" y="588"/>
                    <a:pt x="722" y="587"/>
                  </a:cubicBezTo>
                  <a:cubicBezTo>
                    <a:pt x="723" y="587"/>
                    <a:pt x="724" y="580"/>
                    <a:pt x="721" y="585"/>
                  </a:cubicBezTo>
                  <a:cubicBezTo>
                    <a:pt x="718" y="584"/>
                    <a:pt x="719" y="580"/>
                    <a:pt x="718" y="578"/>
                  </a:cubicBezTo>
                  <a:cubicBezTo>
                    <a:pt x="717" y="576"/>
                    <a:pt x="715" y="576"/>
                    <a:pt x="713" y="574"/>
                  </a:cubicBezTo>
                  <a:cubicBezTo>
                    <a:pt x="713" y="571"/>
                    <a:pt x="713" y="569"/>
                    <a:pt x="715" y="569"/>
                  </a:cubicBezTo>
                  <a:cubicBezTo>
                    <a:pt x="712" y="566"/>
                    <a:pt x="711" y="562"/>
                    <a:pt x="707" y="560"/>
                  </a:cubicBezTo>
                  <a:cubicBezTo>
                    <a:pt x="707" y="558"/>
                    <a:pt x="705" y="556"/>
                    <a:pt x="707" y="556"/>
                  </a:cubicBezTo>
                  <a:cubicBezTo>
                    <a:pt x="706" y="554"/>
                    <a:pt x="704" y="553"/>
                    <a:pt x="703" y="553"/>
                  </a:cubicBezTo>
                  <a:cubicBezTo>
                    <a:pt x="703" y="551"/>
                    <a:pt x="703" y="549"/>
                    <a:pt x="701" y="548"/>
                  </a:cubicBezTo>
                  <a:cubicBezTo>
                    <a:pt x="701" y="545"/>
                    <a:pt x="702" y="544"/>
                    <a:pt x="703" y="542"/>
                  </a:cubicBezTo>
                  <a:cubicBezTo>
                    <a:pt x="703" y="540"/>
                    <a:pt x="702" y="539"/>
                    <a:pt x="700" y="538"/>
                  </a:cubicBezTo>
                  <a:cubicBezTo>
                    <a:pt x="701" y="537"/>
                    <a:pt x="702" y="535"/>
                    <a:pt x="700" y="535"/>
                  </a:cubicBezTo>
                  <a:cubicBezTo>
                    <a:pt x="700" y="533"/>
                    <a:pt x="703" y="534"/>
                    <a:pt x="706" y="533"/>
                  </a:cubicBezTo>
                  <a:cubicBezTo>
                    <a:pt x="705" y="532"/>
                    <a:pt x="704" y="532"/>
                    <a:pt x="704" y="531"/>
                  </a:cubicBezTo>
                  <a:cubicBezTo>
                    <a:pt x="704" y="529"/>
                    <a:pt x="706" y="529"/>
                    <a:pt x="706" y="528"/>
                  </a:cubicBezTo>
                  <a:cubicBezTo>
                    <a:pt x="705" y="526"/>
                    <a:pt x="703" y="523"/>
                    <a:pt x="703" y="520"/>
                  </a:cubicBezTo>
                  <a:cubicBezTo>
                    <a:pt x="702" y="517"/>
                    <a:pt x="703" y="513"/>
                    <a:pt x="703" y="511"/>
                  </a:cubicBezTo>
                  <a:cubicBezTo>
                    <a:pt x="702" y="509"/>
                    <a:pt x="701" y="510"/>
                    <a:pt x="700" y="508"/>
                  </a:cubicBezTo>
                  <a:cubicBezTo>
                    <a:pt x="699" y="507"/>
                    <a:pt x="699" y="505"/>
                    <a:pt x="698" y="504"/>
                  </a:cubicBezTo>
                  <a:cubicBezTo>
                    <a:pt x="697" y="501"/>
                    <a:pt x="696" y="499"/>
                    <a:pt x="694" y="498"/>
                  </a:cubicBezTo>
                  <a:cubicBezTo>
                    <a:pt x="689" y="497"/>
                    <a:pt x="692" y="503"/>
                    <a:pt x="688" y="499"/>
                  </a:cubicBezTo>
                  <a:cubicBezTo>
                    <a:pt x="686" y="499"/>
                    <a:pt x="687" y="503"/>
                    <a:pt x="686" y="504"/>
                  </a:cubicBezTo>
                  <a:cubicBezTo>
                    <a:pt x="686" y="504"/>
                    <a:pt x="684" y="503"/>
                    <a:pt x="683" y="504"/>
                  </a:cubicBezTo>
                  <a:cubicBezTo>
                    <a:pt x="683" y="505"/>
                    <a:pt x="684" y="507"/>
                    <a:pt x="682" y="507"/>
                  </a:cubicBezTo>
                  <a:cubicBezTo>
                    <a:pt x="678" y="507"/>
                    <a:pt x="678" y="506"/>
                    <a:pt x="678" y="502"/>
                  </a:cubicBezTo>
                  <a:cubicBezTo>
                    <a:pt x="677" y="501"/>
                    <a:pt x="676" y="501"/>
                    <a:pt x="676" y="501"/>
                  </a:cubicBezTo>
                  <a:cubicBezTo>
                    <a:pt x="675" y="499"/>
                    <a:pt x="677" y="499"/>
                    <a:pt x="678" y="498"/>
                  </a:cubicBezTo>
                  <a:cubicBezTo>
                    <a:pt x="678" y="497"/>
                    <a:pt x="674" y="490"/>
                    <a:pt x="678" y="488"/>
                  </a:cubicBezTo>
                  <a:cubicBezTo>
                    <a:pt x="676" y="486"/>
                    <a:pt x="673" y="485"/>
                    <a:pt x="675" y="479"/>
                  </a:cubicBezTo>
                  <a:cubicBezTo>
                    <a:pt x="673" y="479"/>
                    <a:pt x="673" y="480"/>
                    <a:pt x="673" y="482"/>
                  </a:cubicBezTo>
                  <a:cubicBezTo>
                    <a:pt x="671" y="481"/>
                    <a:pt x="672" y="475"/>
                    <a:pt x="670" y="473"/>
                  </a:cubicBezTo>
                  <a:cubicBezTo>
                    <a:pt x="669" y="472"/>
                    <a:pt x="668" y="471"/>
                    <a:pt x="667" y="470"/>
                  </a:cubicBezTo>
                  <a:cubicBezTo>
                    <a:pt x="667" y="469"/>
                    <a:pt x="666" y="467"/>
                    <a:pt x="666" y="467"/>
                  </a:cubicBezTo>
                  <a:cubicBezTo>
                    <a:pt x="664" y="466"/>
                    <a:pt x="660" y="466"/>
                    <a:pt x="661" y="462"/>
                  </a:cubicBezTo>
                  <a:cubicBezTo>
                    <a:pt x="656" y="462"/>
                    <a:pt x="655" y="465"/>
                    <a:pt x="652" y="467"/>
                  </a:cubicBezTo>
                  <a:cubicBezTo>
                    <a:pt x="650" y="467"/>
                    <a:pt x="648" y="467"/>
                    <a:pt x="648" y="468"/>
                  </a:cubicBezTo>
                  <a:cubicBezTo>
                    <a:pt x="644" y="468"/>
                    <a:pt x="641" y="468"/>
                    <a:pt x="638" y="468"/>
                  </a:cubicBezTo>
                  <a:cubicBezTo>
                    <a:pt x="637" y="469"/>
                    <a:pt x="635" y="470"/>
                    <a:pt x="635" y="471"/>
                  </a:cubicBezTo>
                  <a:cubicBezTo>
                    <a:pt x="634" y="472"/>
                    <a:pt x="633" y="471"/>
                    <a:pt x="633" y="473"/>
                  </a:cubicBezTo>
                  <a:cubicBezTo>
                    <a:pt x="633" y="474"/>
                    <a:pt x="630" y="475"/>
                    <a:pt x="629" y="476"/>
                  </a:cubicBezTo>
                  <a:cubicBezTo>
                    <a:pt x="626" y="479"/>
                    <a:pt x="622" y="484"/>
                    <a:pt x="617" y="486"/>
                  </a:cubicBezTo>
                  <a:cubicBezTo>
                    <a:pt x="613" y="489"/>
                    <a:pt x="612" y="494"/>
                    <a:pt x="606" y="495"/>
                  </a:cubicBezTo>
                  <a:cubicBezTo>
                    <a:pt x="609" y="498"/>
                    <a:pt x="608" y="498"/>
                    <a:pt x="603" y="498"/>
                  </a:cubicBezTo>
                  <a:cubicBezTo>
                    <a:pt x="603" y="500"/>
                    <a:pt x="604" y="501"/>
                    <a:pt x="605" y="501"/>
                  </a:cubicBezTo>
                  <a:cubicBezTo>
                    <a:pt x="605" y="503"/>
                    <a:pt x="602" y="502"/>
                    <a:pt x="602" y="501"/>
                  </a:cubicBezTo>
                  <a:cubicBezTo>
                    <a:pt x="600" y="502"/>
                    <a:pt x="601" y="506"/>
                    <a:pt x="596" y="504"/>
                  </a:cubicBezTo>
                  <a:cubicBezTo>
                    <a:pt x="595" y="505"/>
                    <a:pt x="594" y="507"/>
                    <a:pt x="592" y="507"/>
                  </a:cubicBezTo>
                  <a:cubicBezTo>
                    <a:pt x="591" y="509"/>
                    <a:pt x="593" y="509"/>
                    <a:pt x="593" y="511"/>
                  </a:cubicBezTo>
                  <a:cubicBezTo>
                    <a:pt x="593" y="514"/>
                    <a:pt x="591" y="518"/>
                    <a:pt x="590" y="523"/>
                  </a:cubicBezTo>
                  <a:cubicBezTo>
                    <a:pt x="589" y="530"/>
                    <a:pt x="590" y="537"/>
                    <a:pt x="589" y="539"/>
                  </a:cubicBezTo>
                  <a:cubicBezTo>
                    <a:pt x="588" y="540"/>
                    <a:pt x="586" y="539"/>
                    <a:pt x="586" y="539"/>
                  </a:cubicBezTo>
                  <a:cubicBezTo>
                    <a:pt x="584" y="541"/>
                    <a:pt x="585" y="544"/>
                    <a:pt x="584" y="545"/>
                  </a:cubicBezTo>
                  <a:cubicBezTo>
                    <a:pt x="583" y="547"/>
                    <a:pt x="580" y="546"/>
                    <a:pt x="578" y="547"/>
                  </a:cubicBezTo>
                  <a:cubicBezTo>
                    <a:pt x="577" y="548"/>
                    <a:pt x="577" y="551"/>
                    <a:pt x="574" y="550"/>
                  </a:cubicBezTo>
                  <a:cubicBezTo>
                    <a:pt x="570" y="546"/>
                    <a:pt x="568" y="541"/>
                    <a:pt x="566" y="535"/>
                  </a:cubicBezTo>
                  <a:cubicBezTo>
                    <a:pt x="565" y="534"/>
                    <a:pt x="564" y="533"/>
                    <a:pt x="563" y="532"/>
                  </a:cubicBezTo>
                  <a:cubicBezTo>
                    <a:pt x="563" y="531"/>
                    <a:pt x="562" y="530"/>
                    <a:pt x="560" y="531"/>
                  </a:cubicBezTo>
                  <a:cubicBezTo>
                    <a:pt x="559" y="526"/>
                    <a:pt x="563" y="526"/>
                    <a:pt x="563" y="523"/>
                  </a:cubicBezTo>
                  <a:cubicBezTo>
                    <a:pt x="563" y="521"/>
                    <a:pt x="560" y="519"/>
                    <a:pt x="559" y="517"/>
                  </a:cubicBezTo>
                  <a:cubicBezTo>
                    <a:pt x="558" y="516"/>
                    <a:pt x="557" y="513"/>
                    <a:pt x="555" y="513"/>
                  </a:cubicBezTo>
                  <a:cubicBezTo>
                    <a:pt x="554" y="510"/>
                    <a:pt x="553" y="507"/>
                    <a:pt x="552" y="504"/>
                  </a:cubicBezTo>
                  <a:cubicBezTo>
                    <a:pt x="550" y="501"/>
                    <a:pt x="550" y="491"/>
                    <a:pt x="549" y="483"/>
                  </a:cubicBezTo>
                  <a:cubicBezTo>
                    <a:pt x="548" y="479"/>
                    <a:pt x="547" y="471"/>
                    <a:pt x="546" y="465"/>
                  </a:cubicBezTo>
                  <a:cubicBezTo>
                    <a:pt x="543" y="466"/>
                    <a:pt x="539" y="472"/>
                    <a:pt x="543" y="473"/>
                  </a:cubicBezTo>
                  <a:cubicBezTo>
                    <a:pt x="542" y="477"/>
                    <a:pt x="537" y="473"/>
                    <a:pt x="535" y="473"/>
                  </a:cubicBezTo>
                  <a:cubicBezTo>
                    <a:pt x="534" y="473"/>
                    <a:pt x="533" y="473"/>
                    <a:pt x="532" y="473"/>
                  </a:cubicBezTo>
                  <a:cubicBezTo>
                    <a:pt x="530" y="472"/>
                    <a:pt x="529" y="466"/>
                    <a:pt x="526" y="468"/>
                  </a:cubicBezTo>
                  <a:cubicBezTo>
                    <a:pt x="526" y="466"/>
                    <a:pt x="528" y="466"/>
                    <a:pt x="529" y="465"/>
                  </a:cubicBezTo>
                  <a:cubicBezTo>
                    <a:pt x="528" y="463"/>
                    <a:pt x="529" y="463"/>
                    <a:pt x="529" y="461"/>
                  </a:cubicBezTo>
                  <a:cubicBezTo>
                    <a:pt x="529" y="458"/>
                    <a:pt x="525" y="460"/>
                    <a:pt x="523" y="459"/>
                  </a:cubicBezTo>
                  <a:cubicBezTo>
                    <a:pt x="522" y="459"/>
                    <a:pt x="520" y="452"/>
                    <a:pt x="519" y="456"/>
                  </a:cubicBezTo>
                  <a:cubicBezTo>
                    <a:pt x="516" y="456"/>
                    <a:pt x="517" y="451"/>
                    <a:pt x="517" y="452"/>
                  </a:cubicBezTo>
                  <a:cubicBezTo>
                    <a:pt x="517" y="450"/>
                    <a:pt x="514" y="451"/>
                    <a:pt x="515" y="448"/>
                  </a:cubicBezTo>
                  <a:cubicBezTo>
                    <a:pt x="513" y="447"/>
                    <a:pt x="509" y="449"/>
                    <a:pt x="509" y="448"/>
                  </a:cubicBezTo>
                  <a:cubicBezTo>
                    <a:pt x="508" y="447"/>
                    <a:pt x="509" y="445"/>
                    <a:pt x="509" y="445"/>
                  </a:cubicBezTo>
                  <a:cubicBezTo>
                    <a:pt x="505" y="444"/>
                    <a:pt x="502" y="446"/>
                    <a:pt x="500" y="446"/>
                  </a:cubicBezTo>
                  <a:cubicBezTo>
                    <a:pt x="499" y="446"/>
                    <a:pt x="498" y="446"/>
                    <a:pt x="497" y="446"/>
                  </a:cubicBezTo>
                  <a:cubicBezTo>
                    <a:pt x="495" y="446"/>
                    <a:pt x="494" y="444"/>
                    <a:pt x="494" y="448"/>
                  </a:cubicBezTo>
                  <a:cubicBezTo>
                    <a:pt x="480" y="448"/>
                    <a:pt x="469" y="447"/>
                    <a:pt x="458" y="445"/>
                  </a:cubicBezTo>
                  <a:cubicBezTo>
                    <a:pt x="459" y="441"/>
                    <a:pt x="455" y="442"/>
                    <a:pt x="455" y="440"/>
                  </a:cubicBezTo>
                  <a:cubicBezTo>
                    <a:pt x="455" y="437"/>
                    <a:pt x="448" y="443"/>
                    <a:pt x="452" y="437"/>
                  </a:cubicBezTo>
                  <a:cubicBezTo>
                    <a:pt x="451" y="437"/>
                    <a:pt x="450" y="437"/>
                    <a:pt x="449" y="436"/>
                  </a:cubicBezTo>
                  <a:cubicBezTo>
                    <a:pt x="446" y="438"/>
                    <a:pt x="434" y="435"/>
                    <a:pt x="430" y="434"/>
                  </a:cubicBezTo>
                  <a:cubicBezTo>
                    <a:pt x="428" y="434"/>
                    <a:pt x="427" y="434"/>
                    <a:pt x="427" y="431"/>
                  </a:cubicBezTo>
                  <a:cubicBezTo>
                    <a:pt x="421" y="433"/>
                    <a:pt x="422" y="426"/>
                    <a:pt x="417" y="427"/>
                  </a:cubicBezTo>
                  <a:cubicBezTo>
                    <a:pt x="416" y="421"/>
                    <a:pt x="413" y="418"/>
                    <a:pt x="411" y="413"/>
                  </a:cubicBezTo>
                  <a:cubicBezTo>
                    <a:pt x="398" y="411"/>
                    <a:pt x="398" y="418"/>
                    <a:pt x="399" y="425"/>
                  </a:cubicBezTo>
                  <a:cubicBezTo>
                    <a:pt x="399" y="428"/>
                    <a:pt x="405" y="430"/>
                    <a:pt x="409" y="436"/>
                  </a:cubicBezTo>
                  <a:cubicBezTo>
                    <a:pt x="410" y="437"/>
                    <a:pt x="413" y="445"/>
                    <a:pt x="417" y="443"/>
                  </a:cubicBezTo>
                  <a:cubicBezTo>
                    <a:pt x="416" y="447"/>
                    <a:pt x="419" y="446"/>
                    <a:pt x="418" y="451"/>
                  </a:cubicBezTo>
                  <a:cubicBezTo>
                    <a:pt x="422" y="451"/>
                    <a:pt x="430" y="449"/>
                    <a:pt x="426" y="454"/>
                  </a:cubicBezTo>
                  <a:cubicBezTo>
                    <a:pt x="429" y="455"/>
                    <a:pt x="428" y="451"/>
                    <a:pt x="429" y="451"/>
                  </a:cubicBezTo>
                  <a:cubicBezTo>
                    <a:pt x="430" y="449"/>
                    <a:pt x="434" y="450"/>
                    <a:pt x="434" y="448"/>
                  </a:cubicBezTo>
                  <a:cubicBezTo>
                    <a:pt x="435" y="446"/>
                    <a:pt x="436" y="446"/>
                    <a:pt x="437" y="446"/>
                  </a:cubicBezTo>
                  <a:cubicBezTo>
                    <a:pt x="439" y="446"/>
                    <a:pt x="438" y="444"/>
                    <a:pt x="439" y="443"/>
                  </a:cubicBezTo>
                  <a:cubicBezTo>
                    <a:pt x="441" y="442"/>
                    <a:pt x="445" y="442"/>
                    <a:pt x="448" y="442"/>
                  </a:cubicBezTo>
                  <a:cubicBezTo>
                    <a:pt x="448" y="442"/>
                    <a:pt x="446" y="444"/>
                    <a:pt x="446" y="445"/>
                  </a:cubicBezTo>
                  <a:cubicBezTo>
                    <a:pt x="447" y="445"/>
                    <a:pt x="449" y="444"/>
                    <a:pt x="449" y="445"/>
                  </a:cubicBezTo>
                  <a:cubicBezTo>
                    <a:pt x="450" y="447"/>
                    <a:pt x="449" y="449"/>
                    <a:pt x="451" y="451"/>
                  </a:cubicBezTo>
                  <a:cubicBezTo>
                    <a:pt x="450" y="454"/>
                    <a:pt x="455" y="452"/>
                    <a:pt x="455" y="455"/>
                  </a:cubicBezTo>
                  <a:cubicBezTo>
                    <a:pt x="455" y="459"/>
                    <a:pt x="458" y="456"/>
                    <a:pt x="461" y="458"/>
                  </a:cubicBezTo>
                  <a:cubicBezTo>
                    <a:pt x="463" y="459"/>
                    <a:pt x="462" y="462"/>
                    <a:pt x="466" y="462"/>
                  </a:cubicBezTo>
                  <a:cubicBezTo>
                    <a:pt x="462" y="466"/>
                    <a:pt x="466" y="470"/>
                    <a:pt x="466" y="474"/>
                  </a:cubicBezTo>
                  <a:cubicBezTo>
                    <a:pt x="464" y="474"/>
                    <a:pt x="463" y="474"/>
                    <a:pt x="461" y="474"/>
                  </a:cubicBezTo>
                  <a:cubicBezTo>
                    <a:pt x="463" y="480"/>
                    <a:pt x="457" y="478"/>
                    <a:pt x="458" y="483"/>
                  </a:cubicBezTo>
                  <a:cubicBezTo>
                    <a:pt x="455" y="483"/>
                    <a:pt x="454" y="483"/>
                    <a:pt x="454" y="486"/>
                  </a:cubicBezTo>
                  <a:cubicBezTo>
                    <a:pt x="452" y="486"/>
                    <a:pt x="450" y="486"/>
                    <a:pt x="448" y="486"/>
                  </a:cubicBezTo>
                  <a:cubicBezTo>
                    <a:pt x="446" y="486"/>
                    <a:pt x="447" y="489"/>
                    <a:pt x="446" y="491"/>
                  </a:cubicBezTo>
                  <a:cubicBezTo>
                    <a:pt x="446" y="491"/>
                    <a:pt x="444" y="490"/>
                    <a:pt x="443" y="491"/>
                  </a:cubicBezTo>
                  <a:cubicBezTo>
                    <a:pt x="443" y="491"/>
                    <a:pt x="444" y="494"/>
                    <a:pt x="443" y="495"/>
                  </a:cubicBezTo>
                  <a:cubicBezTo>
                    <a:pt x="440" y="494"/>
                    <a:pt x="439" y="495"/>
                    <a:pt x="439" y="498"/>
                  </a:cubicBezTo>
                  <a:cubicBezTo>
                    <a:pt x="436" y="498"/>
                    <a:pt x="435" y="498"/>
                    <a:pt x="433" y="499"/>
                  </a:cubicBezTo>
                  <a:cubicBezTo>
                    <a:pt x="430" y="501"/>
                    <a:pt x="431" y="501"/>
                    <a:pt x="427" y="502"/>
                  </a:cubicBezTo>
                  <a:cubicBezTo>
                    <a:pt x="425" y="503"/>
                    <a:pt x="418" y="505"/>
                    <a:pt x="418" y="510"/>
                  </a:cubicBezTo>
                  <a:cubicBezTo>
                    <a:pt x="416" y="510"/>
                    <a:pt x="414" y="509"/>
                    <a:pt x="412" y="510"/>
                  </a:cubicBezTo>
                  <a:cubicBezTo>
                    <a:pt x="411" y="511"/>
                    <a:pt x="412" y="512"/>
                    <a:pt x="411" y="513"/>
                  </a:cubicBezTo>
                  <a:cubicBezTo>
                    <a:pt x="410" y="513"/>
                    <a:pt x="409" y="513"/>
                    <a:pt x="408" y="513"/>
                  </a:cubicBezTo>
                  <a:cubicBezTo>
                    <a:pt x="408" y="513"/>
                    <a:pt x="403" y="514"/>
                    <a:pt x="403" y="514"/>
                  </a:cubicBezTo>
                  <a:cubicBezTo>
                    <a:pt x="401" y="517"/>
                    <a:pt x="389" y="516"/>
                    <a:pt x="384" y="519"/>
                  </a:cubicBezTo>
                  <a:cubicBezTo>
                    <a:pt x="379" y="519"/>
                    <a:pt x="388" y="521"/>
                    <a:pt x="381" y="522"/>
                  </a:cubicBezTo>
                  <a:cubicBezTo>
                    <a:pt x="380" y="522"/>
                    <a:pt x="379" y="521"/>
                    <a:pt x="378" y="522"/>
                  </a:cubicBezTo>
                  <a:cubicBezTo>
                    <a:pt x="377" y="522"/>
                    <a:pt x="377" y="525"/>
                    <a:pt x="374" y="525"/>
                  </a:cubicBezTo>
                  <a:cubicBezTo>
                    <a:pt x="375" y="521"/>
                    <a:pt x="371" y="523"/>
                    <a:pt x="371" y="522"/>
                  </a:cubicBezTo>
                  <a:cubicBezTo>
                    <a:pt x="370" y="520"/>
                    <a:pt x="372" y="515"/>
                    <a:pt x="368" y="516"/>
                  </a:cubicBezTo>
                  <a:cubicBezTo>
                    <a:pt x="367" y="513"/>
                    <a:pt x="369" y="513"/>
                    <a:pt x="369" y="511"/>
                  </a:cubicBezTo>
                  <a:cubicBezTo>
                    <a:pt x="368" y="510"/>
                    <a:pt x="365" y="509"/>
                    <a:pt x="368" y="508"/>
                  </a:cubicBezTo>
                  <a:cubicBezTo>
                    <a:pt x="367" y="506"/>
                    <a:pt x="366" y="505"/>
                    <a:pt x="363" y="505"/>
                  </a:cubicBezTo>
                  <a:cubicBezTo>
                    <a:pt x="365" y="501"/>
                    <a:pt x="361" y="497"/>
                    <a:pt x="363" y="496"/>
                  </a:cubicBezTo>
                  <a:cubicBezTo>
                    <a:pt x="364" y="495"/>
                    <a:pt x="361" y="496"/>
                    <a:pt x="360" y="495"/>
                  </a:cubicBezTo>
                  <a:cubicBezTo>
                    <a:pt x="359" y="494"/>
                    <a:pt x="360" y="490"/>
                    <a:pt x="360" y="491"/>
                  </a:cubicBezTo>
                  <a:cubicBezTo>
                    <a:pt x="360" y="490"/>
                    <a:pt x="358" y="488"/>
                    <a:pt x="357" y="488"/>
                  </a:cubicBezTo>
                  <a:cubicBezTo>
                    <a:pt x="357" y="487"/>
                    <a:pt x="358" y="486"/>
                    <a:pt x="356" y="486"/>
                  </a:cubicBezTo>
                  <a:cubicBezTo>
                    <a:pt x="355" y="486"/>
                    <a:pt x="354" y="481"/>
                    <a:pt x="353" y="482"/>
                  </a:cubicBezTo>
                  <a:cubicBezTo>
                    <a:pt x="353" y="482"/>
                    <a:pt x="353" y="483"/>
                    <a:pt x="353" y="483"/>
                  </a:cubicBezTo>
                  <a:cubicBezTo>
                    <a:pt x="350" y="481"/>
                    <a:pt x="350" y="476"/>
                    <a:pt x="346" y="476"/>
                  </a:cubicBezTo>
                  <a:cubicBezTo>
                    <a:pt x="349" y="470"/>
                    <a:pt x="342" y="468"/>
                    <a:pt x="343" y="461"/>
                  </a:cubicBezTo>
                  <a:cubicBezTo>
                    <a:pt x="342" y="459"/>
                    <a:pt x="340" y="460"/>
                    <a:pt x="340" y="458"/>
                  </a:cubicBezTo>
                  <a:cubicBezTo>
                    <a:pt x="339" y="455"/>
                    <a:pt x="335" y="457"/>
                    <a:pt x="334" y="455"/>
                  </a:cubicBezTo>
                  <a:cubicBezTo>
                    <a:pt x="335" y="453"/>
                    <a:pt x="335" y="452"/>
                    <a:pt x="332" y="452"/>
                  </a:cubicBezTo>
                  <a:cubicBezTo>
                    <a:pt x="334" y="450"/>
                    <a:pt x="333" y="449"/>
                    <a:pt x="332" y="445"/>
                  </a:cubicBezTo>
                  <a:cubicBezTo>
                    <a:pt x="332" y="444"/>
                    <a:pt x="333" y="442"/>
                    <a:pt x="332" y="442"/>
                  </a:cubicBezTo>
                  <a:cubicBezTo>
                    <a:pt x="332" y="442"/>
                    <a:pt x="331" y="442"/>
                    <a:pt x="331" y="442"/>
                  </a:cubicBezTo>
                  <a:cubicBezTo>
                    <a:pt x="330" y="438"/>
                    <a:pt x="333" y="439"/>
                    <a:pt x="331" y="436"/>
                  </a:cubicBezTo>
                  <a:cubicBezTo>
                    <a:pt x="329" y="434"/>
                    <a:pt x="328" y="443"/>
                    <a:pt x="328" y="436"/>
                  </a:cubicBezTo>
                  <a:cubicBezTo>
                    <a:pt x="327" y="430"/>
                    <a:pt x="323" y="426"/>
                    <a:pt x="317" y="421"/>
                  </a:cubicBezTo>
                  <a:cubicBezTo>
                    <a:pt x="313" y="424"/>
                    <a:pt x="316" y="425"/>
                    <a:pt x="314" y="430"/>
                  </a:cubicBezTo>
                  <a:cubicBezTo>
                    <a:pt x="311" y="431"/>
                    <a:pt x="312" y="427"/>
                    <a:pt x="310" y="427"/>
                  </a:cubicBezTo>
                  <a:cubicBezTo>
                    <a:pt x="308" y="427"/>
                    <a:pt x="307" y="425"/>
                    <a:pt x="306" y="425"/>
                  </a:cubicBezTo>
                  <a:cubicBezTo>
                    <a:pt x="308" y="427"/>
                    <a:pt x="306" y="434"/>
                    <a:pt x="311" y="434"/>
                  </a:cubicBezTo>
                  <a:cubicBezTo>
                    <a:pt x="309" y="438"/>
                    <a:pt x="312" y="442"/>
                    <a:pt x="314" y="448"/>
                  </a:cubicBezTo>
                  <a:cubicBezTo>
                    <a:pt x="315" y="448"/>
                    <a:pt x="314" y="450"/>
                    <a:pt x="314" y="451"/>
                  </a:cubicBezTo>
                  <a:cubicBezTo>
                    <a:pt x="316" y="452"/>
                    <a:pt x="317" y="459"/>
                    <a:pt x="319" y="462"/>
                  </a:cubicBezTo>
                  <a:cubicBezTo>
                    <a:pt x="321" y="462"/>
                    <a:pt x="323" y="462"/>
                    <a:pt x="325" y="462"/>
                  </a:cubicBezTo>
                  <a:cubicBezTo>
                    <a:pt x="324" y="464"/>
                    <a:pt x="323" y="465"/>
                    <a:pt x="323" y="467"/>
                  </a:cubicBezTo>
                  <a:cubicBezTo>
                    <a:pt x="325" y="467"/>
                    <a:pt x="326" y="466"/>
                    <a:pt x="326" y="465"/>
                  </a:cubicBezTo>
                  <a:cubicBezTo>
                    <a:pt x="329" y="467"/>
                    <a:pt x="328" y="470"/>
                    <a:pt x="329" y="473"/>
                  </a:cubicBezTo>
                  <a:cubicBezTo>
                    <a:pt x="330" y="474"/>
                    <a:pt x="332" y="474"/>
                    <a:pt x="332" y="474"/>
                  </a:cubicBezTo>
                  <a:cubicBezTo>
                    <a:pt x="333" y="475"/>
                    <a:pt x="332" y="477"/>
                    <a:pt x="332" y="477"/>
                  </a:cubicBezTo>
                  <a:cubicBezTo>
                    <a:pt x="332" y="477"/>
                    <a:pt x="334" y="477"/>
                    <a:pt x="334" y="477"/>
                  </a:cubicBezTo>
                  <a:cubicBezTo>
                    <a:pt x="334" y="479"/>
                    <a:pt x="332" y="480"/>
                    <a:pt x="332" y="480"/>
                  </a:cubicBezTo>
                  <a:cubicBezTo>
                    <a:pt x="333" y="482"/>
                    <a:pt x="334" y="482"/>
                    <a:pt x="335" y="483"/>
                  </a:cubicBezTo>
                  <a:cubicBezTo>
                    <a:pt x="336" y="484"/>
                    <a:pt x="335" y="486"/>
                    <a:pt x="335" y="486"/>
                  </a:cubicBezTo>
                  <a:cubicBezTo>
                    <a:pt x="335" y="486"/>
                    <a:pt x="337" y="486"/>
                    <a:pt x="337" y="486"/>
                  </a:cubicBezTo>
                  <a:cubicBezTo>
                    <a:pt x="337" y="488"/>
                    <a:pt x="335" y="493"/>
                    <a:pt x="340" y="492"/>
                  </a:cubicBezTo>
                  <a:cubicBezTo>
                    <a:pt x="340" y="495"/>
                    <a:pt x="339" y="498"/>
                    <a:pt x="341" y="501"/>
                  </a:cubicBezTo>
                  <a:cubicBezTo>
                    <a:pt x="342" y="502"/>
                    <a:pt x="344" y="503"/>
                    <a:pt x="344" y="504"/>
                  </a:cubicBezTo>
                  <a:cubicBezTo>
                    <a:pt x="345" y="505"/>
                    <a:pt x="345" y="507"/>
                    <a:pt x="346" y="508"/>
                  </a:cubicBezTo>
                  <a:cubicBezTo>
                    <a:pt x="346" y="509"/>
                    <a:pt x="348" y="509"/>
                    <a:pt x="349" y="510"/>
                  </a:cubicBezTo>
                  <a:cubicBezTo>
                    <a:pt x="350" y="511"/>
                    <a:pt x="347" y="514"/>
                    <a:pt x="350" y="514"/>
                  </a:cubicBezTo>
                  <a:cubicBezTo>
                    <a:pt x="352" y="514"/>
                    <a:pt x="351" y="518"/>
                    <a:pt x="351" y="520"/>
                  </a:cubicBezTo>
                  <a:cubicBezTo>
                    <a:pt x="357" y="517"/>
                    <a:pt x="356" y="523"/>
                    <a:pt x="363" y="522"/>
                  </a:cubicBezTo>
                  <a:cubicBezTo>
                    <a:pt x="364" y="526"/>
                    <a:pt x="366" y="528"/>
                    <a:pt x="366" y="532"/>
                  </a:cubicBezTo>
                  <a:cubicBezTo>
                    <a:pt x="372" y="541"/>
                    <a:pt x="389" y="538"/>
                    <a:pt x="400" y="536"/>
                  </a:cubicBezTo>
                  <a:cubicBezTo>
                    <a:pt x="402" y="537"/>
                    <a:pt x="401" y="534"/>
                    <a:pt x="402" y="533"/>
                  </a:cubicBezTo>
                  <a:cubicBezTo>
                    <a:pt x="405" y="532"/>
                    <a:pt x="412" y="536"/>
                    <a:pt x="411" y="531"/>
                  </a:cubicBezTo>
                  <a:cubicBezTo>
                    <a:pt x="414" y="532"/>
                    <a:pt x="413" y="535"/>
                    <a:pt x="412" y="538"/>
                  </a:cubicBezTo>
                  <a:cubicBezTo>
                    <a:pt x="412" y="538"/>
                    <a:pt x="411" y="540"/>
                    <a:pt x="411" y="539"/>
                  </a:cubicBezTo>
                  <a:cubicBezTo>
                    <a:pt x="410" y="542"/>
                    <a:pt x="412" y="546"/>
                    <a:pt x="411" y="548"/>
                  </a:cubicBezTo>
                  <a:cubicBezTo>
                    <a:pt x="411" y="549"/>
                    <a:pt x="408" y="548"/>
                    <a:pt x="408" y="548"/>
                  </a:cubicBezTo>
                  <a:cubicBezTo>
                    <a:pt x="408" y="549"/>
                    <a:pt x="408" y="555"/>
                    <a:pt x="406" y="557"/>
                  </a:cubicBezTo>
                  <a:cubicBezTo>
                    <a:pt x="406" y="558"/>
                    <a:pt x="402" y="559"/>
                    <a:pt x="403" y="565"/>
                  </a:cubicBezTo>
                  <a:cubicBezTo>
                    <a:pt x="399" y="565"/>
                    <a:pt x="401" y="573"/>
                    <a:pt x="396" y="572"/>
                  </a:cubicBezTo>
                  <a:cubicBezTo>
                    <a:pt x="397" y="577"/>
                    <a:pt x="394" y="577"/>
                    <a:pt x="394" y="581"/>
                  </a:cubicBezTo>
                  <a:cubicBezTo>
                    <a:pt x="389" y="579"/>
                    <a:pt x="392" y="587"/>
                    <a:pt x="387" y="585"/>
                  </a:cubicBezTo>
                  <a:cubicBezTo>
                    <a:pt x="387" y="587"/>
                    <a:pt x="387" y="588"/>
                    <a:pt x="387" y="590"/>
                  </a:cubicBezTo>
                  <a:cubicBezTo>
                    <a:pt x="386" y="590"/>
                    <a:pt x="385" y="588"/>
                    <a:pt x="384" y="588"/>
                  </a:cubicBezTo>
                  <a:cubicBezTo>
                    <a:pt x="381" y="590"/>
                    <a:pt x="383" y="592"/>
                    <a:pt x="378" y="593"/>
                  </a:cubicBezTo>
                  <a:cubicBezTo>
                    <a:pt x="378" y="593"/>
                    <a:pt x="374" y="594"/>
                    <a:pt x="374" y="594"/>
                  </a:cubicBezTo>
                  <a:cubicBezTo>
                    <a:pt x="374" y="594"/>
                    <a:pt x="374" y="596"/>
                    <a:pt x="374" y="596"/>
                  </a:cubicBezTo>
                  <a:cubicBezTo>
                    <a:pt x="372" y="597"/>
                    <a:pt x="369" y="598"/>
                    <a:pt x="368" y="599"/>
                  </a:cubicBezTo>
                  <a:cubicBezTo>
                    <a:pt x="364" y="601"/>
                    <a:pt x="362" y="606"/>
                    <a:pt x="357" y="606"/>
                  </a:cubicBezTo>
                  <a:cubicBezTo>
                    <a:pt x="359" y="610"/>
                    <a:pt x="355" y="610"/>
                    <a:pt x="356" y="614"/>
                  </a:cubicBezTo>
                  <a:cubicBezTo>
                    <a:pt x="354" y="615"/>
                    <a:pt x="354" y="614"/>
                    <a:pt x="351" y="614"/>
                  </a:cubicBezTo>
                  <a:cubicBezTo>
                    <a:pt x="353" y="615"/>
                    <a:pt x="349" y="617"/>
                    <a:pt x="350" y="618"/>
                  </a:cubicBezTo>
                  <a:cubicBezTo>
                    <a:pt x="353" y="621"/>
                    <a:pt x="349" y="618"/>
                    <a:pt x="349" y="622"/>
                  </a:cubicBezTo>
                  <a:cubicBezTo>
                    <a:pt x="348" y="624"/>
                    <a:pt x="346" y="623"/>
                    <a:pt x="346" y="624"/>
                  </a:cubicBezTo>
                  <a:cubicBezTo>
                    <a:pt x="345" y="625"/>
                    <a:pt x="346" y="626"/>
                    <a:pt x="346" y="627"/>
                  </a:cubicBezTo>
                  <a:cubicBezTo>
                    <a:pt x="345" y="628"/>
                    <a:pt x="342" y="640"/>
                    <a:pt x="343" y="643"/>
                  </a:cubicBezTo>
                  <a:cubicBezTo>
                    <a:pt x="343" y="646"/>
                    <a:pt x="344" y="647"/>
                    <a:pt x="346" y="649"/>
                  </a:cubicBezTo>
                  <a:cubicBezTo>
                    <a:pt x="346" y="653"/>
                    <a:pt x="345" y="655"/>
                    <a:pt x="346" y="658"/>
                  </a:cubicBezTo>
                  <a:cubicBezTo>
                    <a:pt x="346" y="658"/>
                    <a:pt x="347" y="664"/>
                    <a:pt x="349" y="664"/>
                  </a:cubicBezTo>
                  <a:cubicBezTo>
                    <a:pt x="353" y="664"/>
                    <a:pt x="344" y="670"/>
                    <a:pt x="351" y="671"/>
                  </a:cubicBezTo>
                  <a:cubicBezTo>
                    <a:pt x="351" y="679"/>
                    <a:pt x="353" y="684"/>
                    <a:pt x="351" y="691"/>
                  </a:cubicBezTo>
                  <a:cubicBezTo>
                    <a:pt x="351" y="695"/>
                    <a:pt x="347" y="699"/>
                    <a:pt x="347" y="702"/>
                  </a:cubicBezTo>
                  <a:cubicBezTo>
                    <a:pt x="343" y="703"/>
                    <a:pt x="338" y="707"/>
                    <a:pt x="337" y="708"/>
                  </a:cubicBezTo>
                  <a:cubicBezTo>
                    <a:pt x="336" y="709"/>
                    <a:pt x="335" y="709"/>
                    <a:pt x="337" y="710"/>
                  </a:cubicBezTo>
                  <a:cubicBezTo>
                    <a:pt x="337" y="712"/>
                    <a:pt x="334" y="711"/>
                    <a:pt x="332" y="711"/>
                  </a:cubicBezTo>
                  <a:cubicBezTo>
                    <a:pt x="331" y="712"/>
                    <a:pt x="332" y="714"/>
                    <a:pt x="331" y="714"/>
                  </a:cubicBezTo>
                  <a:cubicBezTo>
                    <a:pt x="330" y="715"/>
                    <a:pt x="328" y="711"/>
                    <a:pt x="328" y="714"/>
                  </a:cubicBezTo>
                  <a:cubicBezTo>
                    <a:pt x="328" y="716"/>
                    <a:pt x="326" y="715"/>
                    <a:pt x="325" y="716"/>
                  </a:cubicBezTo>
                  <a:cubicBezTo>
                    <a:pt x="323" y="717"/>
                    <a:pt x="323" y="721"/>
                    <a:pt x="319" y="720"/>
                  </a:cubicBezTo>
                  <a:cubicBezTo>
                    <a:pt x="317" y="728"/>
                    <a:pt x="319" y="741"/>
                    <a:pt x="320" y="753"/>
                  </a:cubicBezTo>
                  <a:cubicBezTo>
                    <a:pt x="319" y="754"/>
                    <a:pt x="318" y="755"/>
                    <a:pt x="317" y="753"/>
                  </a:cubicBezTo>
                  <a:cubicBezTo>
                    <a:pt x="316" y="752"/>
                    <a:pt x="317" y="755"/>
                    <a:pt x="316" y="756"/>
                  </a:cubicBezTo>
                  <a:cubicBezTo>
                    <a:pt x="314" y="757"/>
                    <a:pt x="312" y="755"/>
                    <a:pt x="311" y="757"/>
                  </a:cubicBezTo>
                  <a:cubicBezTo>
                    <a:pt x="311" y="759"/>
                    <a:pt x="306" y="759"/>
                    <a:pt x="304" y="762"/>
                  </a:cubicBezTo>
                  <a:cubicBezTo>
                    <a:pt x="304" y="765"/>
                    <a:pt x="304" y="768"/>
                    <a:pt x="304" y="771"/>
                  </a:cubicBezTo>
                  <a:cubicBezTo>
                    <a:pt x="301" y="771"/>
                    <a:pt x="302" y="776"/>
                    <a:pt x="301" y="778"/>
                  </a:cubicBezTo>
                  <a:cubicBezTo>
                    <a:pt x="301" y="779"/>
                    <a:pt x="298" y="779"/>
                    <a:pt x="298" y="780"/>
                  </a:cubicBezTo>
                  <a:cubicBezTo>
                    <a:pt x="297" y="782"/>
                    <a:pt x="298" y="785"/>
                    <a:pt x="295" y="787"/>
                  </a:cubicBezTo>
                  <a:cubicBezTo>
                    <a:pt x="295" y="787"/>
                    <a:pt x="295" y="789"/>
                    <a:pt x="295" y="790"/>
                  </a:cubicBezTo>
                  <a:cubicBezTo>
                    <a:pt x="295" y="790"/>
                    <a:pt x="292" y="789"/>
                    <a:pt x="292" y="790"/>
                  </a:cubicBezTo>
                  <a:cubicBezTo>
                    <a:pt x="292" y="791"/>
                    <a:pt x="293" y="793"/>
                    <a:pt x="292" y="794"/>
                  </a:cubicBezTo>
                  <a:cubicBezTo>
                    <a:pt x="292" y="795"/>
                    <a:pt x="290" y="794"/>
                    <a:pt x="289" y="794"/>
                  </a:cubicBezTo>
                  <a:cubicBezTo>
                    <a:pt x="289" y="795"/>
                    <a:pt x="290" y="797"/>
                    <a:pt x="289" y="797"/>
                  </a:cubicBezTo>
                  <a:cubicBezTo>
                    <a:pt x="289" y="798"/>
                    <a:pt x="287" y="797"/>
                    <a:pt x="286" y="797"/>
                  </a:cubicBezTo>
                  <a:cubicBezTo>
                    <a:pt x="285" y="798"/>
                    <a:pt x="283" y="801"/>
                    <a:pt x="283" y="802"/>
                  </a:cubicBezTo>
                  <a:cubicBezTo>
                    <a:pt x="283" y="804"/>
                    <a:pt x="281" y="802"/>
                    <a:pt x="280" y="803"/>
                  </a:cubicBezTo>
                  <a:cubicBezTo>
                    <a:pt x="280" y="804"/>
                    <a:pt x="281" y="806"/>
                    <a:pt x="280" y="806"/>
                  </a:cubicBezTo>
                  <a:cubicBezTo>
                    <a:pt x="280" y="807"/>
                    <a:pt x="278" y="806"/>
                    <a:pt x="277" y="806"/>
                  </a:cubicBezTo>
                  <a:cubicBezTo>
                    <a:pt x="276" y="807"/>
                    <a:pt x="275" y="808"/>
                    <a:pt x="274" y="809"/>
                  </a:cubicBezTo>
                  <a:cubicBezTo>
                    <a:pt x="274" y="810"/>
                    <a:pt x="272" y="812"/>
                    <a:pt x="271" y="812"/>
                  </a:cubicBezTo>
                  <a:cubicBezTo>
                    <a:pt x="271" y="812"/>
                    <a:pt x="267" y="814"/>
                    <a:pt x="267" y="814"/>
                  </a:cubicBezTo>
                  <a:cubicBezTo>
                    <a:pt x="266" y="813"/>
                    <a:pt x="266" y="813"/>
                    <a:pt x="264" y="814"/>
                  </a:cubicBezTo>
                  <a:cubicBezTo>
                    <a:pt x="262" y="815"/>
                    <a:pt x="261" y="814"/>
                    <a:pt x="258" y="815"/>
                  </a:cubicBezTo>
                  <a:cubicBezTo>
                    <a:pt x="257" y="815"/>
                    <a:pt x="247" y="819"/>
                    <a:pt x="245" y="815"/>
                  </a:cubicBezTo>
                  <a:cubicBezTo>
                    <a:pt x="243" y="815"/>
                    <a:pt x="245" y="817"/>
                    <a:pt x="245" y="817"/>
                  </a:cubicBezTo>
                  <a:cubicBezTo>
                    <a:pt x="242" y="820"/>
                    <a:pt x="239" y="817"/>
                    <a:pt x="234" y="818"/>
                  </a:cubicBezTo>
                  <a:cubicBezTo>
                    <a:pt x="233" y="818"/>
                    <a:pt x="234" y="820"/>
                    <a:pt x="234" y="820"/>
                  </a:cubicBezTo>
                  <a:cubicBezTo>
                    <a:pt x="233" y="822"/>
                    <a:pt x="225" y="818"/>
                    <a:pt x="221" y="818"/>
                  </a:cubicBezTo>
                  <a:cubicBezTo>
                    <a:pt x="221" y="811"/>
                    <a:pt x="214" y="807"/>
                    <a:pt x="218" y="800"/>
                  </a:cubicBezTo>
                  <a:cubicBezTo>
                    <a:pt x="215" y="798"/>
                    <a:pt x="211" y="795"/>
                    <a:pt x="212" y="788"/>
                  </a:cubicBezTo>
                  <a:cubicBezTo>
                    <a:pt x="208" y="793"/>
                    <a:pt x="211" y="791"/>
                    <a:pt x="209" y="784"/>
                  </a:cubicBezTo>
                  <a:cubicBezTo>
                    <a:pt x="207" y="777"/>
                    <a:pt x="198" y="772"/>
                    <a:pt x="200" y="763"/>
                  </a:cubicBezTo>
                  <a:cubicBezTo>
                    <a:pt x="199" y="762"/>
                    <a:pt x="199" y="766"/>
                    <a:pt x="199" y="766"/>
                  </a:cubicBezTo>
                  <a:cubicBezTo>
                    <a:pt x="195" y="765"/>
                    <a:pt x="199" y="756"/>
                    <a:pt x="196" y="760"/>
                  </a:cubicBezTo>
                  <a:cubicBezTo>
                    <a:pt x="193" y="758"/>
                    <a:pt x="194" y="753"/>
                    <a:pt x="194" y="750"/>
                  </a:cubicBezTo>
                  <a:cubicBezTo>
                    <a:pt x="195" y="745"/>
                    <a:pt x="195" y="742"/>
                    <a:pt x="193" y="737"/>
                  </a:cubicBezTo>
                  <a:cubicBezTo>
                    <a:pt x="194" y="734"/>
                    <a:pt x="189" y="736"/>
                    <a:pt x="188" y="735"/>
                  </a:cubicBezTo>
                  <a:cubicBezTo>
                    <a:pt x="188" y="734"/>
                    <a:pt x="192" y="731"/>
                    <a:pt x="186" y="732"/>
                  </a:cubicBezTo>
                  <a:cubicBezTo>
                    <a:pt x="185" y="731"/>
                    <a:pt x="186" y="728"/>
                    <a:pt x="186" y="728"/>
                  </a:cubicBezTo>
                  <a:cubicBezTo>
                    <a:pt x="185" y="727"/>
                    <a:pt x="183" y="728"/>
                    <a:pt x="183" y="728"/>
                  </a:cubicBezTo>
                  <a:cubicBezTo>
                    <a:pt x="182" y="727"/>
                    <a:pt x="187" y="722"/>
                    <a:pt x="181" y="723"/>
                  </a:cubicBezTo>
                  <a:cubicBezTo>
                    <a:pt x="181" y="721"/>
                    <a:pt x="183" y="720"/>
                    <a:pt x="183" y="717"/>
                  </a:cubicBezTo>
                  <a:cubicBezTo>
                    <a:pt x="180" y="716"/>
                    <a:pt x="183" y="710"/>
                    <a:pt x="178" y="711"/>
                  </a:cubicBezTo>
                  <a:cubicBezTo>
                    <a:pt x="178" y="697"/>
                    <a:pt x="179" y="693"/>
                    <a:pt x="186" y="685"/>
                  </a:cubicBezTo>
                  <a:cubicBezTo>
                    <a:pt x="185" y="683"/>
                    <a:pt x="187" y="677"/>
                    <a:pt x="184" y="677"/>
                  </a:cubicBezTo>
                  <a:cubicBezTo>
                    <a:pt x="184" y="675"/>
                    <a:pt x="187" y="677"/>
                    <a:pt x="188" y="676"/>
                  </a:cubicBezTo>
                  <a:cubicBezTo>
                    <a:pt x="189" y="675"/>
                    <a:pt x="188" y="672"/>
                    <a:pt x="190" y="673"/>
                  </a:cubicBezTo>
                  <a:cubicBezTo>
                    <a:pt x="190" y="671"/>
                    <a:pt x="189" y="657"/>
                    <a:pt x="187" y="661"/>
                  </a:cubicBezTo>
                  <a:cubicBezTo>
                    <a:pt x="184" y="658"/>
                    <a:pt x="186" y="655"/>
                    <a:pt x="186" y="652"/>
                  </a:cubicBezTo>
                  <a:cubicBezTo>
                    <a:pt x="185" y="649"/>
                    <a:pt x="186" y="645"/>
                    <a:pt x="186" y="642"/>
                  </a:cubicBezTo>
                  <a:cubicBezTo>
                    <a:pt x="185" y="640"/>
                    <a:pt x="183" y="641"/>
                    <a:pt x="183" y="640"/>
                  </a:cubicBezTo>
                  <a:cubicBezTo>
                    <a:pt x="182" y="639"/>
                    <a:pt x="184" y="638"/>
                    <a:pt x="184" y="637"/>
                  </a:cubicBezTo>
                  <a:cubicBezTo>
                    <a:pt x="184" y="637"/>
                    <a:pt x="183" y="637"/>
                    <a:pt x="183" y="636"/>
                  </a:cubicBezTo>
                  <a:cubicBezTo>
                    <a:pt x="182" y="632"/>
                    <a:pt x="181" y="633"/>
                    <a:pt x="180" y="631"/>
                  </a:cubicBezTo>
                  <a:cubicBezTo>
                    <a:pt x="179" y="631"/>
                    <a:pt x="180" y="629"/>
                    <a:pt x="180" y="628"/>
                  </a:cubicBezTo>
                  <a:cubicBezTo>
                    <a:pt x="179" y="628"/>
                    <a:pt x="175" y="628"/>
                    <a:pt x="177" y="627"/>
                  </a:cubicBezTo>
                  <a:cubicBezTo>
                    <a:pt x="177" y="627"/>
                    <a:pt x="178" y="627"/>
                    <a:pt x="178" y="627"/>
                  </a:cubicBezTo>
                  <a:cubicBezTo>
                    <a:pt x="176" y="624"/>
                    <a:pt x="174" y="623"/>
                    <a:pt x="171" y="621"/>
                  </a:cubicBezTo>
                  <a:cubicBezTo>
                    <a:pt x="170" y="620"/>
                    <a:pt x="171" y="620"/>
                    <a:pt x="169" y="619"/>
                  </a:cubicBezTo>
                  <a:cubicBezTo>
                    <a:pt x="168" y="619"/>
                    <a:pt x="168" y="615"/>
                    <a:pt x="165" y="617"/>
                  </a:cubicBezTo>
                  <a:cubicBezTo>
                    <a:pt x="162" y="604"/>
                    <a:pt x="165" y="593"/>
                    <a:pt x="165" y="579"/>
                  </a:cubicBezTo>
                  <a:cubicBezTo>
                    <a:pt x="164" y="577"/>
                    <a:pt x="161" y="582"/>
                    <a:pt x="162" y="575"/>
                  </a:cubicBezTo>
                  <a:cubicBezTo>
                    <a:pt x="153" y="576"/>
                    <a:pt x="146" y="575"/>
                    <a:pt x="141" y="572"/>
                  </a:cubicBezTo>
                  <a:cubicBezTo>
                    <a:pt x="143" y="564"/>
                    <a:pt x="137" y="573"/>
                    <a:pt x="138" y="565"/>
                  </a:cubicBezTo>
                  <a:cubicBezTo>
                    <a:pt x="132" y="563"/>
                    <a:pt x="130" y="561"/>
                    <a:pt x="122" y="563"/>
                  </a:cubicBezTo>
                  <a:cubicBezTo>
                    <a:pt x="120" y="563"/>
                    <a:pt x="118" y="564"/>
                    <a:pt x="116" y="565"/>
                  </a:cubicBezTo>
                  <a:cubicBezTo>
                    <a:pt x="115" y="565"/>
                    <a:pt x="111" y="567"/>
                    <a:pt x="107" y="566"/>
                  </a:cubicBezTo>
                  <a:cubicBezTo>
                    <a:pt x="109" y="570"/>
                    <a:pt x="111" y="568"/>
                    <a:pt x="104" y="569"/>
                  </a:cubicBezTo>
                  <a:cubicBezTo>
                    <a:pt x="99" y="570"/>
                    <a:pt x="96" y="572"/>
                    <a:pt x="88" y="572"/>
                  </a:cubicBezTo>
                  <a:cubicBezTo>
                    <a:pt x="85" y="572"/>
                    <a:pt x="85" y="571"/>
                    <a:pt x="83" y="571"/>
                  </a:cubicBezTo>
                  <a:cubicBezTo>
                    <a:pt x="74" y="569"/>
                    <a:pt x="63" y="575"/>
                    <a:pt x="55" y="574"/>
                  </a:cubicBezTo>
                  <a:cubicBezTo>
                    <a:pt x="56" y="568"/>
                    <a:pt x="50" y="570"/>
                    <a:pt x="48" y="569"/>
                  </a:cubicBezTo>
                  <a:cubicBezTo>
                    <a:pt x="47" y="569"/>
                    <a:pt x="48" y="567"/>
                    <a:pt x="48" y="566"/>
                  </a:cubicBezTo>
                  <a:cubicBezTo>
                    <a:pt x="47" y="565"/>
                    <a:pt x="44" y="567"/>
                    <a:pt x="43" y="566"/>
                  </a:cubicBezTo>
                  <a:cubicBezTo>
                    <a:pt x="43" y="566"/>
                    <a:pt x="44" y="564"/>
                    <a:pt x="43" y="563"/>
                  </a:cubicBezTo>
                  <a:cubicBezTo>
                    <a:pt x="42" y="562"/>
                    <a:pt x="40" y="564"/>
                    <a:pt x="40" y="562"/>
                  </a:cubicBezTo>
                  <a:cubicBezTo>
                    <a:pt x="40" y="561"/>
                    <a:pt x="38" y="559"/>
                    <a:pt x="37" y="559"/>
                  </a:cubicBezTo>
                  <a:cubicBezTo>
                    <a:pt x="36" y="558"/>
                    <a:pt x="38" y="557"/>
                    <a:pt x="36" y="557"/>
                  </a:cubicBezTo>
                  <a:cubicBezTo>
                    <a:pt x="34" y="557"/>
                    <a:pt x="35" y="555"/>
                    <a:pt x="34" y="554"/>
                  </a:cubicBezTo>
                  <a:cubicBezTo>
                    <a:pt x="34" y="552"/>
                    <a:pt x="32" y="554"/>
                    <a:pt x="31" y="553"/>
                  </a:cubicBezTo>
                  <a:cubicBezTo>
                    <a:pt x="31" y="552"/>
                    <a:pt x="32" y="551"/>
                    <a:pt x="31" y="550"/>
                  </a:cubicBezTo>
                  <a:cubicBezTo>
                    <a:pt x="30" y="548"/>
                    <a:pt x="28" y="550"/>
                    <a:pt x="28" y="548"/>
                  </a:cubicBezTo>
                  <a:cubicBezTo>
                    <a:pt x="28" y="548"/>
                    <a:pt x="30" y="546"/>
                    <a:pt x="30" y="547"/>
                  </a:cubicBezTo>
                  <a:cubicBezTo>
                    <a:pt x="28" y="542"/>
                    <a:pt x="21" y="543"/>
                    <a:pt x="22" y="538"/>
                  </a:cubicBezTo>
                  <a:cubicBezTo>
                    <a:pt x="15" y="540"/>
                    <a:pt x="19" y="532"/>
                    <a:pt x="12" y="533"/>
                  </a:cubicBezTo>
                  <a:cubicBezTo>
                    <a:pt x="13" y="532"/>
                    <a:pt x="14" y="531"/>
                    <a:pt x="14" y="529"/>
                  </a:cubicBezTo>
                  <a:cubicBezTo>
                    <a:pt x="13" y="527"/>
                    <a:pt x="10" y="528"/>
                    <a:pt x="8" y="528"/>
                  </a:cubicBezTo>
                  <a:cubicBezTo>
                    <a:pt x="9" y="525"/>
                    <a:pt x="5" y="524"/>
                    <a:pt x="5" y="523"/>
                  </a:cubicBezTo>
                  <a:cubicBezTo>
                    <a:pt x="4" y="521"/>
                    <a:pt x="7" y="521"/>
                    <a:pt x="5" y="517"/>
                  </a:cubicBezTo>
                  <a:cubicBezTo>
                    <a:pt x="4" y="516"/>
                    <a:pt x="3" y="517"/>
                    <a:pt x="3" y="516"/>
                  </a:cubicBezTo>
                  <a:cubicBezTo>
                    <a:pt x="3" y="515"/>
                    <a:pt x="2" y="511"/>
                    <a:pt x="0" y="510"/>
                  </a:cubicBezTo>
                  <a:cubicBezTo>
                    <a:pt x="0" y="508"/>
                    <a:pt x="3" y="509"/>
                    <a:pt x="5" y="508"/>
                  </a:cubicBezTo>
                  <a:cubicBezTo>
                    <a:pt x="6" y="507"/>
                    <a:pt x="5" y="503"/>
                    <a:pt x="8" y="504"/>
                  </a:cubicBezTo>
                  <a:cubicBezTo>
                    <a:pt x="8" y="495"/>
                    <a:pt x="8" y="487"/>
                    <a:pt x="8" y="479"/>
                  </a:cubicBezTo>
                  <a:cubicBezTo>
                    <a:pt x="8" y="477"/>
                    <a:pt x="5" y="478"/>
                    <a:pt x="5" y="477"/>
                  </a:cubicBezTo>
                  <a:cubicBezTo>
                    <a:pt x="4" y="477"/>
                    <a:pt x="6" y="475"/>
                    <a:pt x="6" y="474"/>
                  </a:cubicBezTo>
                  <a:cubicBezTo>
                    <a:pt x="7" y="472"/>
                    <a:pt x="4" y="471"/>
                    <a:pt x="5" y="468"/>
                  </a:cubicBezTo>
                  <a:cubicBezTo>
                    <a:pt x="10" y="474"/>
                    <a:pt x="5" y="458"/>
                    <a:pt x="11" y="464"/>
                  </a:cubicBezTo>
                  <a:cubicBezTo>
                    <a:pt x="12" y="462"/>
                    <a:pt x="10" y="457"/>
                    <a:pt x="12" y="455"/>
                  </a:cubicBezTo>
                  <a:cubicBezTo>
                    <a:pt x="12" y="455"/>
                    <a:pt x="15" y="455"/>
                    <a:pt x="15" y="455"/>
                  </a:cubicBezTo>
                  <a:cubicBezTo>
                    <a:pt x="15" y="454"/>
                    <a:pt x="13" y="452"/>
                    <a:pt x="14" y="451"/>
                  </a:cubicBezTo>
                  <a:cubicBezTo>
                    <a:pt x="19" y="449"/>
                    <a:pt x="18" y="441"/>
                    <a:pt x="24" y="440"/>
                  </a:cubicBezTo>
                  <a:cubicBezTo>
                    <a:pt x="24" y="435"/>
                    <a:pt x="29" y="435"/>
                    <a:pt x="28" y="430"/>
                  </a:cubicBezTo>
                  <a:cubicBezTo>
                    <a:pt x="31" y="430"/>
                    <a:pt x="31" y="429"/>
                    <a:pt x="31" y="427"/>
                  </a:cubicBezTo>
                  <a:cubicBezTo>
                    <a:pt x="40" y="426"/>
                    <a:pt x="47" y="423"/>
                    <a:pt x="46" y="412"/>
                  </a:cubicBezTo>
                  <a:cubicBezTo>
                    <a:pt x="52" y="413"/>
                    <a:pt x="47" y="404"/>
                    <a:pt x="52" y="405"/>
                  </a:cubicBezTo>
                  <a:cubicBezTo>
                    <a:pt x="52" y="402"/>
                    <a:pt x="52" y="399"/>
                    <a:pt x="52" y="396"/>
                  </a:cubicBezTo>
                  <a:cubicBezTo>
                    <a:pt x="55" y="396"/>
                    <a:pt x="55" y="394"/>
                    <a:pt x="58" y="394"/>
                  </a:cubicBezTo>
                  <a:cubicBezTo>
                    <a:pt x="60" y="391"/>
                    <a:pt x="63" y="389"/>
                    <a:pt x="65" y="385"/>
                  </a:cubicBezTo>
                  <a:cubicBezTo>
                    <a:pt x="66" y="384"/>
                    <a:pt x="67" y="386"/>
                    <a:pt x="67" y="384"/>
                  </a:cubicBezTo>
                  <a:cubicBezTo>
                    <a:pt x="67" y="382"/>
                    <a:pt x="71" y="382"/>
                    <a:pt x="70" y="379"/>
                  </a:cubicBezTo>
                  <a:cubicBezTo>
                    <a:pt x="77" y="381"/>
                    <a:pt x="77" y="376"/>
                    <a:pt x="83" y="376"/>
                  </a:cubicBezTo>
                  <a:cubicBezTo>
                    <a:pt x="81" y="382"/>
                    <a:pt x="90" y="377"/>
                    <a:pt x="88" y="382"/>
                  </a:cubicBezTo>
                  <a:cubicBezTo>
                    <a:pt x="91" y="379"/>
                    <a:pt x="103" y="384"/>
                    <a:pt x="103" y="378"/>
                  </a:cubicBezTo>
                  <a:cubicBezTo>
                    <a:pt x="109" y="377"/>
                    <a:pt x="116" y="375"/>
                    <a:pt x="119" y="370"/>
                  </a:cubicBezTo>
                  <a:cubicBezTo>
                    <a:pt x="121" y="371"/>
                    <a:pt x="123" y="371"/>
                    <a:pt x="123" y="369"/>
                  </a:cubicBezTo>
                  <a:cubicBezTo>
                    <a:pt x="126" y="369"/>
                    <a:pt x="126" y="370"/>
                    <a:pt x="129" y="370"/>
                  </a:cubicBezTo>
                  <a:cubicBezTo>
                    <a:pt x="133" y="371"/>
                    <a:pt x="135" y="369"/>
                    <a:pt x="138" y="369"/>
                  </a:cubicBezTo>
                  <a:cubicBezTo>
                    <a:pt x="138" y="369"/>
                    <a:pt x="139" y="370"/>
                    <a:pt x="140" y="370"/>
                  </a:cubicBezTo>
                  <a:cubicBezTo>
                    <a:pt x="143" y="371"/>
                    <a:pt x="149" y="373"/>
                    <a:pt x="156" y="372"/>
                  </a:cubicBezTo>
                  <a:cubicBezTo>
                    <a:pt x="159" y="371"/>
                    <a:pt x="163" y="367"/>
                    <a:pt x="166" y="370"/>
                  </a:cubicBezTo>
                  <a:cubicBezTo>
                    <a:pt x="169" y="373"/>
                    <a:pt x="168" y="371"/>
                    <a:pt x="172" y="370"/>
                  </a:cubicBezTo>
                  <a:cubicBezTo>
                    <a:pt x="172" y="372"/>
                    <a:pt x="174" y="372"/>
                    <a:pt x="174" y="373"/>
                  </a:cubicBezTo>
                  <a:cubicBezTo>
                    <a:pt x="174" y="374"/>
                    <a:pt x="171" y="375"/>
                    <a:pt x="171" y="375"/>
                  </a:cubicBezTo>
                  <a:cubicBezTo>
                    <a:pt x="170" y="377"/>
                    <a:pt x="172" y="376"/>
                    <a:pt x="172" y="376"/>
                  </a:cubicBezTo>
                  <a:cubicBezTo>
                    <a:pt x="172" y="378"/>
                    <a:pt x="171" y="378"/>
                    <a:pt x="171" y="378"/>
                  </a:cubicBezTo>
                  <a:cubicBezTo>
                    <a:pt x="171" y="379"/>
                    <a:pt x="172" y="379"/>
                    <a:pt x="172" y="381"/>
                  </a:cubicBezTo>
                  <a:cubicBezTo>
                    <a:pt x="172" y="385"/>
                    <a:pt x="170" y="387"/>
                    <a:pt x="174" y="393"/>
                  </a:cubicBezTo>
                  <a:cubicBezTo>
                    <a:pt x="174" y="396"/>
                    <a:pt x="176" y="391"/>
                    <a:pt x="178" y="394"/>
                  </a:cubicBezTo>
                  <a:cubicBezTo>
                    <a:pt x="178" y="396"/>
                    <a:pt x="181" y="395"/>
                    <a:pt x="181" y="396"/>
                  </a:cubicBezTo>
                  <a:cubicBezTo>
                    <a:pt x="181" y="396"/>
                    <a:pt x="181" y="398"/>
                    <a:pt x="181" y="399"/>
                  </a:cubicBezTo>
                  <a:cubicBezTo>
                    <a:pt x="182" y="400"/>
                    <a:pt x="186" y="398"/>
                    <a:pt x="186" y="400"/>
                  </a:cubicBezTo>
                  <a:cubicBezTo>
                    <a:pt x="190" y="398"/>
                    <a:pt x="194" y="405"/>
                    <a:pt x="196" y="400"/>
                  </a:cubicBezTo>
                  <a:cubicBezTo>
                    <a:pt x="198" y="400"/>
                    <a:pt x="197" y="403"/>
                    <a:pt x="197" y="403"/>
                  </a:cubicBezTo>
                  <a:cubicBezTo>
                    <a:pt x="200" y="405"/>
                    <a:pt x="201" y="403"/>
                    <a:pt x="205" y="405"/>
                  </a:cubicBezTo>
                  <a:cubicBezTo>
                    <a:pt x="206" y="405"/>
                    <a:pt x="206" y="407"/>
                    <a:pt x="206" y="408"/>
                  </a:cubicBezTo>
                  <a:cubicBezTo>
                    <a:pt x="207" y="408"/>
                    <a:pt x="209" y="407"/>
                    <a:pt x="209" y="408"/>
                  </a:cubicBezTo>
                  <a:cubicBezTo>
                    <a:pt x="211" y="409"/>
                    <a:pt x="211" y="408"/>
                    <a:pt x="214" y="409"/>
                  </a:cubicBezTo>
                  <a:cubicBezTo>
                    <a:pt x="214" y="409"/>
                    <a:pt x="215" y="412"/>
                    <a:pt x="215" y="412"/>
                  </a:cubicBezTo>
                  <a:cubicBezTo>
                    <a:pt x="216" y="412"/>
                    <a:pt x="218" y="410"/>
                    <a:pt x="220" y="410"/>
                  </a:cubicBezTo>
                  <a:cubicBezTo>
                    <a:pt x="219" y="410"/>
                    <a:pt x="221" y="412"/>
                    <a:pt x="221" y="412"/>
                  </a:cubicBezTo>
                  <a:cubicBezTo>
                    <a:pt x="222" y="412"/>
                    <a:pt x="223" y="412"/>
                    <a:pt x="224" y="412"/>
                  </a:cubicBezTo>
                  <a:cubicBezTo>
                    <a:pt x="225" y="411"/>
                    <a:pt x="226" y="410"/>
                    <a:pt x="227" y="409"/>
                  </a:cubicBezTo>
                  <a:cubicBezTo>
                    <a:pt x="227" y="409"/>
                    <a:pt x="230" y="408"/>
                    <a:pt x="228" y="408"/>
                  </a:cubicBezTo>
                  <a:cubicBezTo>
                    <a:pt x="225" y="405"/>
                    <a:pt x="233" y="405"/>
                    <a:pt x="233" y="400"/>
                  </a:cubicBezTo>
                  <a:cubicBezTo>
                    <a:pt x="237" y="401"/>
                    <a:pt x="237" y="397"/>
                    <a:pt x="242" y="399"/>
                  </a:cubicBezTo>
                  <a:cubicBezTo>
                    <a:pt x="243" y="399"/>
                    <a:pt x="243" y="400"/>
                    <a:pt x="243" y="400"/>
                  </a:cubicBezTo>
                  <a:cubicBezTo>
                    <a:pt x="245" y="400"/>
                    <a:pt x="248" y="399"/>
                    <a:pt x="249" y="400"/>
                  </a:cubicBezTo>
                  <a:cubicBezTo>
                    <a:pt x="250" y="400"/>
                    <a:pt x="252" y="403"/>
                    <a:pt x="252" y="403"/>
                  </a:cubicBezTo>
                  <a:cubicBezTo>
                    <a:pt x="253" y="403"/>
                    <a:pt x="255" y="401"/>
                    <a:pt x="257" y="402"/>
                  </a:cubicBezTo>
                  <a:cubicBezTo>
                    <a:pt x="257" y="402"/>
                    <a:pt x="256" y="405"/>
                    <a:pt x="257" y="405"/>
                  </a:cubicBezTo>
                  <a:cubicBezTo>
                    <a:pt x="258" y="405"/>
                    <a:pt x="260" y="402"/>
                    <a:pt x="263" y="403"/>
                  </a:cubicBezTo>
                  <a:cubicBezTo>
                    <a:pt x="263" y="404"/>
                    <a:pt x="260" y="405"/>
                    <a:pt x="260" y="405"/>
                  </a:cubicBezTo>
                  <a:cubicBezTo>
                    <a:pt x="261" y="407"/>
                    <a:pt x="270" y="407"/>
                    <a:pt x="274" y="408"/>
                  </a:cubicBezTo>
                  <a:cubicBezTo>
                    <a:pt x="274" y="413"/>
                    <a:pt x="287" y="411"/>
                    <a:pt x="289" y="408"/>
                  </a:cubicBezTo>
                  <a:cubicBezTo>
                    <a:pt x="290" y="409"/>
                    <a:pt x="297" y="406"/>
                    <a:pt x="298" y="408"/>
                  </a:cubicBezTo>
                  <a:cubicBezTo>
                    <a:pt x="300" y="409"/>
                    <a:pt x="299" y="407"/>
                    <a:pt x="301" y="408"/>
                  </a:cubicBezTo>
                  <a:cubicBezTo>
                    <a:pt x="304" y="408"/>
                    <a:pt x="306" y="409"/>
                    <a:pt x="309" y="409"/>
                  </a:cubicBezTo>
                  <a:cubicBezTo>
                    <a:pt x="311" y="409"/>
                    <a:pt x="312" y="406"/>
                    <a:pt x="316" y="406"/>
                  </a:cubicBezTo>
                  <a:cubicBezTo>
                    <a:pt x="317" y="403"/>
                    <a:pt x="317" y="398"/>
                    <a:pt x="320" y="397"/>
                  </a:cubicBezTo>
                  <a:cubicBezTo>
                    <a:pt x="321" y="395"/>
                    <a:pt x="319" y="394"/>
                    <a:pt x="319" y="391"/>
                  </a:cubicBezTo>
                  <a:cubicBezTo>
                    <a:pt x="324" y="392"/>
                    <a:pt x="323" y="382"/>
                    <a:pt x="328" y="387"/>
                  </a:cubicBezTo>
                  <a:cubicBezTo>
                    <a:pt x="329" y="381"/>
                    <a:pt x="326" y="380"/>
                    <a:pt x="322" y="379"/>
                  </a:cubicBezTo>
                  <a:cubicBezTo>
                    <a:pt x="323" y="378"/>
                    <a:pt x="323" y="376"/>
                    <a:pt x="323" y="373"/>
                  </a:cubicBezTo>
                  <a:cubicBezTo>
                    <a:pt x="322" y="369"/>
                    <a:pt x="313" y="372"/>
                    <a:pt x="311" y="368"/>
                  </a:cubicBezTo>
                  <a:cubicBezTo>
                    <a:pt x="309" y="370"/>
                    <a:pt x="304" y="369"/>
                    <a:pt x="303" y="372"/>
                  </a:cubicBezTo>
                  <a:cubicBezTo>
                    <a:pt x="301" y="372"/>
                    <a:pt x="302" y="369"/>
                    <a:pt x="301" y="369"/>
                  </a:cubicBezTo>
                  <a:cubicBezTo>
                    <a:pt x="299" y="368"/>
                    <a:pt x="294" y="370"/>
                    <a:pt x="291" y="369"/>
                  </a:cubicBezTo>
                  <a:cubicBezTo>
                    <a:pt x="289" y="370"/>
                    <a:pt x="289" y="372"/>
                    <a:pt x="286" y="372"/>
                  </a:cubicBezTo>
                  <a:cubicBezTo>
                    <a:pt x="282" y="372"/>
                    <a:pt x="283" y="366"/>
                    <a:pt x="276" y="368"/>
                  </a:cubicBezTo>
                  <a:cubicBezTo>
                    <a:pt x="276" y="365"/>
                    <a:pt x="274" y="364"/>
                    <a:pt x="274" y="362"/>
                  </a:cubicBezTo>
                  <a:cubicBezTo>
                    <a:pt x="273" y="362"/>
                    <a:pt x="272" y="361"/>
                    <a:pt x="271" y="360"/>
                  </a:cubicBezTo>
                  <a:cubicBezTo>
                    <a:pt x="270" y="358"/>
                    <a:pt x="268" y="357"/>
                    <a:pt x="266" y="357"/>
                  </a:cubicBezTo>
                  <a:cubicBezTo>
                    <a:pt x="268" y="354"/>
                    <a:pt x="267" y="345"/>
                    <a:pt x="266" y="341"/>
                  </a:cubicBezTo>
                  <a:cubicBezTo>
                    <a:pt x="262" y="343"/>
                    <a:pt x="257" y="338"/>
                    <a:pt x="257" y="345"/>
                  </a:cubicBezTo>
                  <a:cubicBezTo>
                    <a:pt x="252" y="343"/>
                    <a:pt x="252" y="346"/>
                    <a:pt x="248" y="344"/>
                  </a:cubicBezTo>
                  <a:cubicBezTo>
                    <a:pt x="248" y="346"/>
                    <a:pt x="247" y="346"/>
                    <a:pt x="246" y="347"/>
                  </a:cubicBezTo>
                  <a:cubicBezTo>
                    <a:pt x="247" y="348"/>
                    <a:pt x="248" y="349"/>
                    <a:pt x="249" y="350"/>
                  </a:cubicBezTo>
                  <a:cubicBezTo>
                    <a:pt x="250" y="351"/>
                    <a:pt x="249" y="354"/>
                    <a:pt x="252" y="353"/>
                  </a:cubicBezTo>
                  <a:cubicBezTo>
                    <a:pt x="251" y="357"/>
                    <a:pt x="251" y="356"/>
                    <a:pt x="254" y="359"/>
                  </a:cubicBezTo>
                  <a:cubicBezTo>
                    <a:pt x="255" y="362"/>
                    <a:pt x="252" y="361"/>
                    <a:pt x="251" y="362"/>
                  </a:cubicBezTo>
                  <a:cubicBezTo>
                    <a:pt x="250" y="362"/>
                    <a:pt x="249" y="367"/>
                    <a:pt x="248" y="366"/>
                  </a:cubicBezTo>
                  <a:cubicBezTo>
                    <a:pt x="245" y="363"/>
                    <a:pt x="248" y="370"/>
                    <a:pt x="242" y="369"/>
                  </a:cubicBezTo>
                  <a:cubicBezTo>
                    <a:pt x="241" y="368"/>
                    <a:pt x="240" y="366"/>
                    <a:pt x="239" y="366"/>
                  </a:cubicBezTo>
                  <a:cubicBezTo>
                    <a:pt x="238" y="364"/>
                    <a:pt x="240" y="363"/>
                    <a:pt x="242" y="363"/>
                  </a:cubicBezTo>
                  <a:cubicBezTo>
                    <a:pt x="240" y="361"/>
                    <a:pt x="235" y="359"/>
                    <a:pt x="239" y="356"/>
                  </a:cubicBezTo>
                  <a:cubicBezTo>
                    <a:pt x="238" y="355"/>
                    <a:pt x="234" y="357"/>
                    <a:pt x="233" y="356"/>
                  </a:cubicBezTo>
                  <a:cubicBezTo>
                    <a:pt x="232" y="355"/>
                    <a:pt x="236" y="354"/>
                    <a:pt x="236" y="354"/>
                  </a:cubicBezTo>
                  <a:cubicBezTo>
                    <a:pt x="236" y="354"/>
                    <a:pt x="232" y="351"/>
                    <a:pt x="228" y="348"/>
                  </a:cubicBezTo>
                  <a:cubicBezTo>
                    <a:pt x="229" y="341"/>
                    <a:pt x="225" y="340"/>
                    <a:pt x="226" y="333"/>
                  </a:cubicBezTo>
                  <a:cubicBezTo>
                    <a:pt x="226" y="331"/>
                    <a:pt x="222" y="333"/>
                    <a:pt x="221" y="332"/>
                  </a:cubicBezTo>
                  <a:cubicBezTo>
                    <a:pt x="221" y="332"/>
                    <a:pt x="223" y="330"/>
                    <a:pt x="223" y="329"/>
                  </a:cubicBezTo>
                  <a:cubicBezTo>
                    <a:pt x="219" y="327"/>
                    <a:pt x="219" y="330"/>
                    <a:pt x="217" y="328"/>
                  </a:cubicBezTo>
                  <a:cubicBezTo>
                    <a:pt x="216" y="327"/>
                    <a:pt x="218" y="325"/>
                    <a:pt x="218" y="325"/>
                  </a:cubicBezTo>
                  <a:cubicBezTo>
                    <a:pt x="218" y="323"/>
                    <a:pt x="216" y="326"/>
                    <a:pt x="217" y="326"/>
                  </a:cubicBezTo>
                  <a:cubicBezTo>
                    <a:pt x="215" y="326"/>
                    <a:pt x="215" y="324"/>
                    <a:pt x="215" y="323"/>
                  </a:cubicBezTo>
                  <a:cubicBezTo>
                    <a:pt x="209" y="324"/>
                    <a:pt x="209" y="319"/>
                    <a:pt x="203" y="320"/>
                  </a:cubicBezTo>
                  <a:cubicBezTo>
                    <a:pt x="203" y="318"/>
                    <a:pt x="201" y="318"/>
                    <a:pt x="200" y="317"/>
                  </a:cubicBezTo>
                  <a:cubicBezTo>
                    <a:pt x="200" y="317"/>
                    <a:pt x="201" y="315"/>
                    <a:pt x="200" y="314"/>
                  </a:cubicBezTo>
                  <a:cubicBezTo>
                    <a:pt x="200" y="314"/>
                    <a:pt x="198" y="315"/>
                    <a:pt x="197" y="314"/>
                  </a:cubicBezTo>
                  <a:cubicBezTo>
                    <a:pt x="197" y="314"/>
                    <a:pt x="197" y="308"/>
                    <a:pt x="196" y="310"/>
                  </a:cubicBezTo>
                  <a:cubicBezTo>
                    <a:pt x="195" y="311"/>
                    <a:pt x="194" y="310"/>
                    <a:pt x="193" y="308"/>
                  </a:cubicBezTo>
                  <a:cubicBezTo>
                    <a:pt x="192" y="308"/>
                    <a:pt x="191" y="307"/>
                    <a:pt x="191" y="305"/>
                  </a:cubicBezTo>
                  <a:cubicBezTo>
                    <a:pt x="186" y="305"/>
                    <a:pt x="187" y="307"/>
                    <a:pt x="183" y="305"/>
                  </a:cubicBezTo>
                  <a:cubicBezTo>
                    <a:pt x="181" y="306"/>
                    <a:pt x="182" y="308"/>
                    <a:pt x="180" y="308"/>
                  </a:cubicBezTo>
                  <a:cubicBezTo>
                    <a:pt x="178" y="312"/>
                    <a:pt x="182" y="311"/>
                    <a:pt x="183" y="314"/>
                  </a:cubicBezTo>
                  <a:cubicBezTo>
                    <a:pt x="183" y="315"/>
                    <a:pt x="185" y="318"/>
                    <a:pt x="186" y="319"/>
                  </a:cubicBezTo>
                  <a:cubicBezTo>
                    <a:pt x="186" y="319"/>
                    <a:pt x="187" y="320"/>
                    <a:pt x="188" y="320"/>
                  </a:cubicBezTo>
                  <a:cubicBezTo>
                    <a:pt x="186" y="325"/>
                    <a:pt x="191" y="324"/>
                    <a:pt x="193" y="326"/>
                  </a:cubicBezTo>
                  <a:cubicBezTo>
                    <a:pt x="193" y="326"/>
                    <a:pt x="194" y="332"/>
                    <a:pt x="196" y="330"/>
                  </a:cubicBezTo>
                  <a:cubicBezTo>
                    <a:pt x="198" y="328"/>
                    <a:pt x="196" y="331"/>
                    <a:pt x="197" y="332"/>
                  </a:cubicBezTo>
                  <a:cubicBezTo>
                    <a:pt x="199" y="333"/>
                    <a:pt x="202" y="332"/>
                    <a:pt x="203" y="336"/>
                  </a:cubicBezTo>
                  <a:cubicBezTo>
                    <a:pt x="205" y="335"/>
                    <a:pt x="206" y="338"/>
                    <a:pt x="206" y="338"/>
                  </a:cubicBezTo>
                  <a:cubicBezTo>
                    <a:pt x="207" y="338"/>
                    <a:pt x="208" y="337"/>
                    <a:pt x="208" y="336"/>
                  </a:cubicBezTo>
                  <a:cubicBezTo>
                    <a:pt x="209" y="337"/>
                    <a:pt x="210" y="341"/>
                    <a:pt x="211" y="338"/>
                  </a:cubicBezTo>
                  <a:cubicBezTo>
                    <a:pt x="214" y="337"/>
                    <a:pt x="210" y="345"/>
                    <a:pt x="215" y="342"/>
                  </a:cubicBezTo>
                  <a:cubicBezTo>
                    <a:pt x="215" y="346"/>
                    <a:pt x="209" y="343"/>
                    <a:pt x="206" y="344"/>
                  </a:cubicBezTo>
                  <a:cubicBezTo>
                    <a:pt x="207" y="345"/>
                    <a:pt x="209" y="345"/>
                    <a:pt x="209" y="347"/>
                  </a:cubicBezTo>
                  <a:cubicBezTo>
                    <a:pt x="210" y="350"/>
                    <a:pt x="207" y="354"/>
                    <a:pt x="209" y="354"/>
                  </a:cubicBezTo>
                  <a:cubicBezTo>
                    <a:pt x="208" y="356"/>
                    <a:pt x="204" y="356"/>
                    <a:pt x="202" y="357"/>
                  </a:cubicBezTo>
                  <a:cubicBezTo>
                    <a:pt x="204" y="356"/>
                    <a:pt x="202" y="351"/>
                    <a:pt x="205" y="351"/>
                  </a:cubicBezTo>
                  <a:cubicBezTo>
                    <a:pt x="203" y="350"/>
                    <a:pt x="204" y="347"/>
                    <a:pt x="202" y="347"/>
                  </a:cubicBezTo>
                  <a:cubicBezTo>
                    <a:pt x="200" y="347"/>
                    <a:pt x="203" y="345"/>
                    <a:pt x="199" y="342"/>
                  </a:cubicBezTo>
                  <a:cubicBezTo>
                    <a:pt x="197" y="341"/>
                    <a:pt x="194" y="342"/>
                    <a:pt x="194" y="338"/>
                  </a:cubicBezTo>
                  <a:cubicBezTo>
                    <a:pt x="188" y="339"/>
                    <a:pt x="187" y="335"/>
                    <a:pt x="183" y="335"/>
                  </a:cubicBezTo>
                  <a:cubicBezTo>
                    <a:pt x="182" y="331"/>
                    <a:pt x="179" y="330"/>
                    <a:pt x="177" y="326"/>
                  </a:cubicBezTo>
                  <a:cubicBezTo>
                    <a:pt x="176" y="325"/>
                    <a:pt x="175" y="326"/>
                    <a:pt x="175" y="325"/>
                  </a:cubicBezTo>
                  <a:cubicBezTo>
                    <a:pt x="175" y="323"/>
                    <a:pt x="173" y="324"/>
                    <a:pt x="172" y="323"/>
                  </a:cubicBezTo>
                  <a:cubicBezTo>
                    <a:pt x="172" y="323"/>
                    <a:pt x="173" y="320"/>
                    <a:pt x="172" y="320"/>
                  </a:cubicBezTo>
                  <a:cubicBezTo>
                    <a:pt x="171" y="319"/>
                    <a:pt x="168" y="321"/>
                    <a:pt x="166" y="320"/>
                  </a:cubicBezTo>
                  <a:cubicBezTo>
                    <a:pt x="165" y="320"/>
                    <a:pt x="169" y="318"/>
                    <a:pt x="169" y="319"/>
                  </a:cubicBezTo>
                  <a:cubicBezTo>
                    <a:pt x="167" y="315"/>
                    <a:pt x="159" y="315"/>
                    <a:pt x="154" y="317"/>
                  </a:cubicBezTo>
                  <a:cubicBezTo>
                    <a:pt x="154" y="318"/>
                    <a:pt x="157" y="319"/>
                    <a:pt x="157" y="319"/>
                  </a:cubicBezTo>
                  <a:cubicBezTo>
                    <a:pt x="156" y="321"/>
                    <a:pt x="155" y="319"/>
                    <a:pt x="153" y="320"/>
                  </a:cubicBezTo>
                  <a:cubicBezTo>
                    <a:pt x="150" y="322"/>
                    <a:pt x="150" y="327"/>
                    <a:pt x="147" y="326"/>
                  </a:cubicBezTo>
                  <a:cubicBezTo>
                    <a:pt x="141" y="326"/>
                    <a:pt x="140" y="321"/>
                    <a:pt x="132" y="322"/>
                  </a:cubicBezTo>
                  <a:cubicBezTo>
                    <a:pt x="130" y="322"/>
                    <a:pt x="131" y="326"/>
                    <a:pt x="126" y="325"/>
                  </a:cubicBezTo>
                  <a:cubicBezTo>
                    <a:pt x="126" y="328"/>
                    <a:pt x="126" y="331"/>
                    <a:pt x="126" y="335"/>
                  </a:cubicBezTo>
                  <a:cubicBezTo>
                    <a:pt x="122" y="337"/>
                    <a:pt x="112" y="335"/>
                    <a:pt x="114" y="344"/>
                  </a:cubicBezTo>
                  <a:cubicBezTo>
                    <a:pt x="105" y="342"/>
                    <a:pt x="113" y="350"/>
                    <a:pt x="104" y="350"/>
                  </a:cubicBezTo>
                  <a:cubicBezTo>
                    <a:pt x="104" y="352"/>
                    <a:pt x="109" y="355"/>
                    <a:pt x="105" y="356"/>
                  </a:cubicBezTo>
                  <a:cubicBezTo>
                    <a:pt x="105" y="361"/>
                    <a:pt x="103" y="356"/>
                    <a:pt x="100" y="360"/>
                  </a:cubicBezTo>
                  <a:cubicBezTo>
                    <a:pt x="99" y="362"/>
                    <a:pt x="100" y="363"/>
                    <a:pt x="101" y="363"/>
                  </a:cubicBezTo>
                  <a:cubicBezTo>
                    <a:pt x="101" y="366"/>
                    <a:pt x="96" y="364"/>
                    <a:pt x="94" y="365"/>
                  </a:cubicBezTo>
                  <a:cubicBezTo>
                    <a:pt x="92" y="365"/>
                    <a:pt x="92" y="368"/>
                    <a:pt x="91" y="369"/>
                  </a:cubicBezTo>
                  <a:cubicBezTo>
                    <a:pt x="86" y="371"/>
                    <a:pt x="79" y="368"/>
                    <a:pt x="74" y="373"/>
                  </a:cubicBezTo>
                  <a:cubicBezTo>
                    <a:pt x="72" y="372"/>
                    <a:pt x="71" y="370"/>
                    <a:pt x="70" y="368"/>
                  </a:cubicBezTo>
                  <a:cubicBezTo>
                    <a:pt x="63" y="366"/>
                    <a:pt x="56" y="369"/>
                    <a:pt x="54" y="368"/>
                  </a:cubicBezTo>
                  <a:cubicBezTo>
                    <a:pt x="55" y="362"/>
                    <a:pt x="57" y="356"/>
                    <a:pt x="52" y="353"/>
                  </a:cubicBezTo>
                  <a:cubicBezTo>
                    <a:pt x="51" y="350"/>
                    <a:pt x="54" y="349"/>
                    <a:pt x="55" y="347"/>
                  </a:cubicBezTo>
                  <a:cubicBezTo>
                    <a:pt x="56" y="343"/>
                    <a:pt x="54" y="338"/>
                    <a:pt x="57" y="335"/>
                  </a:cubicBezTo>
                  <a:cubicBezTo>
                    <a:pt x="55" y="332"/>
                    <a:pt x="56" y="327"/>
                    <a:pt x="52" y="326"/>
                  </a:cubicBezTo>
                  <a:cubicBezTo>
                    <a:pt x="53" y="325"/>
                    <a:pt x="56" y="324"/>
                    <a:pt x="55" y="322"/>
                  </a:cubicBezTo>
                  <a:cubicBezTo>
                    <a:pt x="59" y="323"/>
                    <a:pt x="68" y="319"/>
                    <a:pt x="67" y="325"/>
                  </a:cubicBezTo>
                  <a:cubicBezTo>
                    <a:pt x="71" y="322"/>
                    <a:pt x="85" y="328"/>
                    <a:pt x="88" y="325"/>
                  </a:cubicBezTo>
                  <a:cubicBezTo>
                    <a:pt x="89" y="323"/>
                    <a:pt x="89" y="324"/>
                    <a:pt x="91" y="325"/>
                  </a:cubicBezTo>
                  <a:cubicBezTo>
                    <a:pt x="90" y="324"/>
                    <a:pt x="91" y="322"/>
                    <a:pt x="92" y="323"/>
                  </a:cubicBezTo>
                  <a:cubicBezTo>
                    <a:pt x="92" y="323"/>
                    <a:pt x="92" y="325"/>
                    <a:pt x="92" y="325"/>
                  </a:cubicBezTo>
                  <a:cubicBezTo>
                    <a:pt x="96" y="323"/>
                    <a:pt x="98" y="322"/>
                    <a:pt x="100" y="317"/>
                  </a:cubicBezTo>
                  <a:cubicBezTo>
                    <a:pt x="100" y="316"/>
                    <a:pt x="103" y="308"/>
                    <a:pt x="100" y="304"/>
                  </a:cubicBezTo>
                  <a:cubicBezTo>
                    <a:pt x="98" y="302"/>
                    <a:pt x="101" y="302"/>
                    <a:pt x="98" y="298"/>
                  </a:cubicBezTo>
                  <a:cubicBezTo>
                    <a:pt x="98" y="296"/>
                    <a:pt x="95" y="297"/>
                    <a:pt x="94" y="296"/>
                  </a:cubicBezTo>
                  <a:cubicBezTo>
                    <a:pt x="94" y="295"/>
                    <a:pt x="95" y="294"/>
                    <a:pt x="95" y="292"/>
                  </a:cubicBezTo>
                  <a:cubicBezTo>
                    <a:pt x="94" y="291"/>
                    <a:pt x="92" y="293"/>
                    <a:pt x="92" y="293"/>
                  </a:cubicBezTo>
                  <a:cubicBezTo>
                    <a:pt x="90" y="293"/>
                    <a:pt x="92" y="291"/>
                    <a:pt x="91" y="290"/>
                  </a:cubicBezTo>
                  <a:cubicBezTo>
                    <a:pt x="90" y="290"/>
                    <a:pt x="85" y="290"/>
                    <a:pt x="83" y="289"/>
                  </a:cubicBezTo>
                  <a:cubicBezTo>
                    <a:pt x="83" y="289"/>
                    <a:pt x="83" y="288"/>
                    <a:pt x="82" y="288"/>
                  </a:cubicBezTo>
                  <a:cubicBezTo>
                    <a:pt x="80" y="287"/>
                    <a:pt x="79" y="287"/>
                    <a:pt x="79" y="286"/>
                  </a:cubicBezTo>
                  <a:cubicBezTo>
                    <a:pt x="78" y="282"/>
                    <a:pt x="82" y="284"/>
                    <a:pt x="82" y="285"/>
                  </a:cubicBezTo>
                  <a:cubicBezTo>
                    <a:pt x="86" y="283"/>
                    <a:pt x="89" y="280"/>
                    <a:pt x="98" y="282"/>
                  </a:cubicBezTo>
                  <a:cubicBezTo>
                    <a:pt x="99" y="279"/>
                    <a:pt x="97" y="279"/>
                    <a:pt x="95" y="279"/>
                  </a:cubicBezTo>
                  <a:cubicBezTo>
                    <a:pt x="97" y="274"/>
                    <a:pt x="102" y="279"/>
                    <a:pt x="104" y="279"/>
                  </a:cubicBezTo>
                  <a:cubicBezTo>
                    <a:pt x="105" y="279"/>
                    <a:pt x="108" y="275"/>
                    <a:pt x="108" y="279"/>
                  </a:cubicBezTo>
                  <a:cubicBezTo>
                    <a:pt x="112" y="276"/>
                    <a:pt x="112" y="271"/>
                    <a:pt x="117" y="271"/>
                  </a:cubicBezTo>
                  <a:cubicBezTo>
                    <a:pt x="115" y="266"/>
                    <a:pt x="121" y="268"/>
                    <a:pt x="120" y="264"/>
                  </a:cubicBezTo>
                  <a:cubicBezTo>
                    <a:pt x="123" y="264"/>
                    <a:pt x="126" y="264"/>
                    <a:pt x="129" y="264"/>
                  </a:cubicBezTo>
                  <a:cubicBezTo>
                    <a:pt x="129" y="262"/>
                    <a:pt x="127" y="263"/>
                    <a:pt x="126" y="262"/>
                  </a:cubicBezTo>
                  <a:cubicBezTo>
                    <a:pt x="127" y="260"/>
                    <a:pt x="131" y="261"/>
                    <a:pt x="129" y="256"/>
                  </a:cubicBezTo>
                  <a:cubicBezTo>
                    <a:pt x="133" y="256"/>
                    <a:pt x="132" y="259"/>
                    <a:pt x="135" y="256"/>
                  </a:cubicBezTo>
                  <a:cubicBezTo>
                    <a:pt x="132" y="249"/>
                    <a:pt x="138" y="252"/>
                    <a:pt x="138" y="245"/>
                  </a:cubicBezTo>
                  <a:cubicBezTo>
                    <a:pt x="140" y="244"/>
                    <a:pt x="142" y="245"/>
                    <a:pt x="144" y="245"/>
                  </a:cubicBezTo>
                  <a:cubicBezTo>
                    <a:pt x="146" y="244"/>
                    <a:pt x="146" y="242"/>
                    <a:pt x="147" y="242"/>
                  </a:cubicBezTo>
                  <a:cubicBezTo>
                    <a:pt x="149" y="241"/>
                    <a:pt x="148" y="243"/>
                    <a:pt x="148" y="243"/>
                  </a:cubicBezTo>
                  <a:cubicBezTo>
                    <a:pt x="150" y="243"/>
                    <a:pt x="149" y="242"/>
                    <a:pt x="150" y="242"/>
                  </a:cubicBezTo>
                  <a:cubicBezTo>
                    <a:pt x="152" y="241"/>
                    <a:pt x="154" y="242"/>
                    <a:pt x="156" y="242"/>
                  </a:cubicBezTo>
                  <a:cubicBezTo>
                    <a:pt x="158" y="241"/>
                    <a:pt x="158" y="237"/>
                    <a:pt x="162" y="239"/>
                  </a:cubicBezTo>
                  <a:cubicBezTo>
                    <a:pt x="161" y="235"/>
                    <a:pt x="157" y="236"/>
                    <a:pt x="157" y="231"/>
                  </a:cubicBezTo>
                  <a:cubicBezTo>
                    <a:pt x="161" y="230"/>
                    <a:pt x="159" y="229"/>
                    <a:pt x="159" y="224"/>
                  </a:cubicBezTo>
                  <a:cubicBezTo>
                    <a:pt x="159" y="220"/>
                    <a:pt x="161" y="217"/>
                    <a:pt x="160" y="213"/>
                  </a:cubicBezTo>
                  <a:cubicBezTo>
                    <a:pt x="162" y="213"/>
                    <a:pt x="164" y="213"/>
                    <a:pt x="166" y="213"/>
                  </a:cubicBezTo>
                  <a:cubicBezTo>
                    <a:pt x="170" y="213"/>
                    <a:pt x="163" y="209"/>
                    <a:pt x="169" y="210"/>
                  </a:cubicBezTo>
                  <a:cubicBezTo>
                    <a:pt x="169" y="212"/>
                    <a:pt x="171" y="212"/>
                    <a:pt x="172" y="212"/>
                  </a:cubicBezTo>
                  <a:cubicBezTo>
                    <a:pt x="170" y="215"/>
                    <a:pt x="170" y="212"/>
                    <a:pt x="171" y="216"/>
                  </a:cubicBezTo>
                  <a:cubicBezTo>
                    <a:pt x="171" y="219"/>
                    <a:pt x="170" y="221"/>
                    <a:pt x="174" y="221"/>
                  </a:cubicBezTo>
                  <a:cubicBezTo>
                    <a:pt x="174" y="223"/>
                    <a:pt x="174" y="225"/>
                    <a:pt x="172" y="225"/>
                  </a:cubicBezTo>
                  <a:cubicBezTo>
                    <a:pt x="172" y="228"/>
                    <a:pt x="178" y="223"/>
                    <a:pt x="181" y="227"/>
                  </a:cubicBezTo>
                  <a:cubicBezTo>
                    <a:pt x="180" y="231"/>
                    <a:pt x="171" y="228"/>
                    <a:pt x="171" y="233"/>
                  </a:cubicBezTo>
                  <a:cubicBezTo>
                    <a:pt x="169" y="236"/>
                    <a:pt x="174" y="236"/>
                    <a:pt x="175" y="237"/>
                  </a:cubicBezTo>
                  <a:cubicBezTo>
                    <a:pt x="176" y="238"/>
                    <a:pt x="177" y="241"/>
                    <a:pt x="180" y="240"/>
                  </a:cubicBezTo>
                  <a:cubicBezTo>
                    <a:pt x="178" y="237"/>
                    <a:pt x="174" y="238"/>
                    <a:pt x="181" y="237"/>
                  </a:cubicBezTo>
                  <a:cubicBezTo>
                    <a:pt x="183" y="237"/>
                    <a:pt x="185" y="237"/>
                    <a:pt x="187" y="237"/>
                  </a:cubicBezTo>
                  <a:cubicBezTo>
                    <a:pt x="190" y="237"/>
                    <a:pt x="190" y="239"/>
                    <a:pt x="193" y="239"/>
                  </a:cubicBezTo>
                  <a:cubicBezTo>
                    <a:pt x="197" y="239"/>
                    <a:pt x="198" y="236"/>
                    <a:pt x="202" y="237"/>
                  </a:cubicBezTo>
                  <a:cubicBezTo>
                    <a:pt x="202" y="237"/>
                    <a:pt x="207" y="240"/>
                    <a:pt x="209" y="237"/>
                  </a:cubicBezTo>
                  <a:cubicBezTo>
                    <a:pt x="209" y="237"/>
                    <a:pt x="209" y="236"/>
                    <a:pt x="209" y="236"/>
                  </a:cubicBezTo>
                  <a:cubicBezTo>
                    <a:pt x="213" y="234"/>
                    <a:pt x="218" y="236"/>
                    <a:pt x="220" y="233"/>
                  </a:cubicBezTo>
                  <a:cubicBezTo>
                    <a:pt x="225" y="239"/>
                    <a:pt x="229" y="227"/>
                    <a:pt x="233" y="231"/>
                  </a:cubicBezTo>
                  <a:cubicBezTo>
                    <a:pt x="233" y="229"/>
                    <a:pt x="233" y="227"/>
                    <a:pt x="233" y="225"/>
                  </a:cubicBezTo>
                  <a:cubicBezTo>
                    <a:pt x="236" y="226"/>
                    <a:pt x="235" y="224"/>
                    <a:pt x="236" y="222"/>
                  </a:cubicBezTo>
                  <a:cubicBezTo>
                    <a:pt x="236" y="222"/>
                    <a:pt x="237" y="218"/>
                    <a:pt x="237" y="218"/>
                  </a:cubicBezTo>
                  <a:cubicBezTo>
                    <a:pt x="239" y="217"/>
                    <a:pt x="237" y="216"/>
                    <a:pt x="237" y="213"/>
                  </a:cubicBezTo>
                  <a:cubicBezTo>
                    <a:pt x="241" y="214"/>
                    <a:pt x="243" y="213"/>
                    <a:pt x="243" y="210"/>
                  </a:cubicBezTo>
                  <a:cubicBezTo>
                    <a:pt x="245" y="210"/>
                    <a:pt x="244" y="212"/>
                    <a:pt x="245" y="213"/>
                  </a:cubicBezTo>
                  <a:cubicBezTo>
                    <a:pt x="246" y="212"/>
                    <a:pt x="248" y="212"/>
                    <a:pt x="251" y="212"/>
                  </a:cubicBezTo>
                  <a:cubicBezTo>
                    <a:pt x="252" y="212"/>
                    <a:pt x="252" y="209"/>
                    <a:pt x="254" y="209"/>
                  </a:cubicBezTo>
                  <a:cubicBezTo>
                    <a:pt x="254" y="206"/>
                    <a:pt x="253" y="203"/>
                    <a:pt x="251" y="203"/>
                  </a:cubicBezTo>
                  <a:cubicBezTo>
                    <a:pt x="252" y="202"/>
                    <a:pt x="252" y="200"/>
                    <a:pt x="252" y="197"/>
                  </a:cubicBezTo>
                  <a:cubicBezTo>
                    <a:pt x="255" y="198"/>
                    <a:pt x="257" y="197"/>
                    <a:pt x="257" y="194"/>
                  </a:cubicBezTo>
                  <a:cubicBezTo>
                    <a:pt x="260" y="198"/>
                    <a:pt x="261" y="192"/>
                    <a:pt x="267" y="194"/>
                  </a:cubicBezTo>
                  <a:cubicBezTo>
                    <a:pt x="268" y="194"/>
                    <a:pt x="269" y="196"/>
                    <a:pt x="268" y="196"/>
                  </a:cubicBezTo>
                  <a:cubicBezTo>
                    <a:pt x="270" y="196"/>
                    <a:pt x="270" y="194"/>
                    <a:pt x="271" y="194"/>
                  </a:cubicBezTo>
                  <a:cubicBezTo>
                    <a:pt x="273" y="194"/>
                    <a:pt x="275" y="196"/>
                    <a:pt x="274" y="196"/>
                  </a:cubicBezTo>
                  <a:cubicBezTo>
                    <a:pt x="276" y="195"/>
                    <a:pt x="275" y="194"/>
                    <a:pt x="276" y="193"/>
                  </a:cubicBezTo>
                  <a:cubicBezTo>
                    <a:pt x="277" y="192"/>
                    <a:pt x="278" y="193"/>
                    <a:pt x="279" y="193"/>
                  </a:cubicBezTo>
                  <a:cubicBezTo>
                    <a:pt x="281" y="191"/>
                    <a:pt x="281" y="188"/>
                    <a:pt x="285" y="190"/>
                  </a:cubicBezTo>
                  <a:cubicBezTo>
                    <a:pt x="283" y="188"/>
                    <a:pt x="284" y="182"/>
                    <a:pt x="280" y="182"/>
                  </a:cubicBezTo>
                  <a:cubicBezTo>
                    <a:pt x="277" y="180"/>
                    <a:pt x="278" y="185"/>
                    <a:pt x="277" y="185"/>
                  </a:cubicBezTo>
                  <a:cubicBezTo>
                    <a:pt x="276" y="186"/>
                    <a:pt x="276" y="184"/>
                    <a:pt x="274" y="184"/>
                  </a:cubicBezTo>
                  <a:cubicBezTo>
                    <a:pt x="274" y="184"/>
                    <a:pt x="273" y="185"/>
                    <a:pt x="273" y="185"/>
                  </a:cubicBezTo>
                  <a:cubicBezTo>
                    <a:pt x="272" y="185"/>
                    <a:pt x="271" y="184"/>
                    <a:pt x="270" y="184"/>
                  </a:cubicBezTo>
                  <a:cubicBezTo>
                    <a:pt x="268" y="184"/>
                    <a:pt x="266" y="186"/>
                    <a:pt x="263" y="185"/>
                  </a:cubicBezTo>
                  <a:cubicBezTo>
                    <a:pt x="261" y="185"/>
                    <a:pt x="261" y="187"/>
                    <a:pt x="261" y="188"/>
                  </a:cubicBezTo>
                  <a:cubicBezTo>
                    <a:pt x="255" y="187"/>
                    <a:pt x="248" y="189"/>
                    <a:pt x="243" y="187"/>
                  </a:cubicBezTo>
                  <a:cubicBezTo>
                    <a:pt x="243" y="187"/>
                    <a:pt x="244" y="184"/>
                    <a:pt x="243" y="184"/>
                  </a:cubicBezTo>
                  <a:cubicBezTo>
                    <a:pt x="242" y="182"/>
                    <a:pt x="238" y="184"/>
                    <a:pt x="237" y="182"/>
                  </a:cubicBezTo>
                  <a:cubicBezTo>
                    <a:pt x="241" y="174"/>
                    <a:pt x="239" y="169"/>
                    <a:pt x="237" y="160"/>
                  </a:cubicBezTo>
                  <a:cubicBezTo>
                    <a:pt x="241" y="160"/>
                    <a:pt x="247" y="154"/>
                    <a:pt x="249" y="157"/>
                  </a:cubicBezTo>
                  <a:cubicBezTo>
                    <a:pt x="251" y="156"/>
                    <a:pt x="249" y="155"/>
                    <a:pt x="251" y="151"/>
                  </a:cubicBezTo>
                  <a:cubicBezTo>
                    <a:pt x="255" y="151"/>
                    <a:pt x="256" y="143"/>
                    <a:pt x="257" y="141"/>
                  </a:cubicBezTo>
                  <a:cubicBezTo>
                    <a:pt x="257" y="141"/>
                    <a:pt x="260" y="141"/>
                    <a:pt x="260" y="141"/>
                  </a:cubicBezTo>
                  <a:cubicBezTo>
                    <a:pt x="260" y="138"/>
                    <a:pt x="254" y="137"/>
                    <a:pt x="257" y="133"/>
                  </a:cubicBezTo>
                  <a:cubicBezTo>
                    <a:pt x="255" y="135"/>
                    <a:pt x="251" y="133"/>
                    <a:pt x="248" y="133"/>
                  </a:cubicBezTo>
                  <a:cubicBezTo>
                    <a:pt x="244" y="134"/>
                    <a:pt x="241" y="137"/>
                    <a:pt x="237" y="136"/>
                  </a:cubicBezTo>
                  <a:cubicBezTo>
                    <a:pt x="235" y="134"/>
                    <a:pt x="235" y="145"/>
                    <a:pt x="236" y="142"/>
                  </a:cubicBezTo>
                  <a:cubicBezTo>
                    <a:pt x="235" y="145"/>
                    <a:pt x="234" y="141"/>
                    <a:pt x="233" y="142"/>
                  </a:cubicBezTo>
                  <a:cubicBezTo>
                    <a:pt x="232" y="144"/>
                    <a:pt x="234" y="147"/>
                    <a:pt x="233" y="148"/>
                  </a:cubicBezTo>
                  <a:cubicBezTo>
                    <a:pt x="233" y="149"/>
                    <a:pt x="229" y="152"/>
                    <a:pt x="227" y="154"/>
                  </a:cubicBezTo>
                  <a:cubicBezTo>
                    <a:pt x="223" y="159"/>
                    <a:pt x="223" y="162"/>
                    <a:pt x="217" y="162"/>
                  </a:cubicBezTo>
                  <a:cubicBezTo>
                    <a:pt x="216" y="164"/>
                    <a:pt x="219" y="166"/>
                    <a:pt x="217" y="166"/>
                  </a:cubicBezTo>
                  <a:cubicBezTo>
                    <a:pt x="215" y="166"/>
                    <a:pt x="216" y="168"/>
                    <a:pt x="215" y="169"/>
                  </a:cubicBezTo>
                  <a:cubicBezTo>
                    <a:pt x="215" y="169"/>
                    <a:pt x="213" y="168"/>
                    <a:pt x="212" y="169"/>
                  </a:cubicBezTo>
                  <a:cubicBezTo>
                    <a:pt x="212" y="169"/>
                    <a:pt x="213" y="171"/>
                    <a:pt x="212" y="172"/>
                  </a:cubicBezTo>
                  <a:cubicBezTo>
                    <a:pt x="212" y="172"/>
                    <a:pt x="211" y="172"/>
                    <a:pt x="211" y="172"/>
                  </a:cubicBezTo>
                  <a:cubicBezTo>
                    <a:pt x="210" y="174"/>
                    <a:pt x="212" y="178"/>
                    <a:pt x="209" y="178"/>
                  </a:cubicBezTo>
                  <a:cubicBezTo>
                    <a:pt x="210" y="179"/>
                    <a:pt x="213" y="180"/>
                    <a:pt x="211" y="181"/>
                  </a:cubicBezTo>
                  <a:cubicBezTo>
                    <a:pt x="213" y="183"/>
                    <a:pt x="214" y="185"/>
                    <a:pt x="218" y="185"/>
                  </a:cubicBezTo>
                  <a:cubicBezTo>
                    <a:pt x="218" y="188"/>
                    <a:pt x="219" y="189"/>
                    <a:pt x="221" y="190"/>
                  </a:cubicBezTo>
                  <a:cubicBezTo>
                    <a:pt x="220" y="191"/>
                    <a:pt x="219" y="191"/>
                    <a:pt x="218" y="193"/>
                  </a:cubicBezTo>
                  <a:cubicBezTo>
                    <a:pt x="217" y="194"/>
                    <a:pt x="218" y="196"/>
                    <a:pt x="217" y="197"/>
                  </a:cubicBezTo>
                  <a:cubicBezTo>
                    <a:pt x="215" y="198"/>
                    <a:pt x="213" y="199"/>
                    <a:pt x="211" y="199"/>
                  </a:cubicBezTo>
                  <a:cubicBezTo>
                    <a:pt x="210" y="205"/>
                    <a:pt x="205" y="207"/>
                    <a:pt x="206" y="215"/>
                  </a:cubicBezTo>
                  <a:cubicBezTo>
                    <a:pt x="201" y="213"/>
                    <a:pt x="201" y="222"/>
                    <a:pt x="197" y="222"/>
                  </a:cubicBezTo>
                  <a:cubicBezTo>
                    <a:pt x="197" y="222"/>
                    <a:pt x="196" y="222"/>
                    <a:pt x="196" y="222"/>
                  </a:cubicBezTo>
                  <a:cubicBezTo>
                    <a:pt x="194" y="223"/>
                    <a:pt x="195" y="225"/>
                    <a:pt x="194" y="225"/>
                  </a:cubicBezTo>
                  <a:cubicBezTo>
                    <a:pt x="192" y="226"/>
                    <a:pt x="189" y="223"/>
                    <a:pt x="187" y="227"/>
                  </a:cubicBezTo>
                  <a:cubicBezTo>
                    <a:pt x="184" y="227"/>
                    <a:pt x="186" y="220"/>
                    <a:pt x="186" y="218"/>
                  </a:cubicBezTo>
                  <a:cubicBezTo>
                    <a:pt x="184" y="217"/>
                    <a:pt x="185" y="214"/>
                    <a:pt x="183" y="213"/>
                  </a:cubicBezTo>
                  <a:cubicBezTo>
                    <a:pt x="179" y="213"/>
                    <a:pt x="184" y="209"/>
                    <a:pt x="178" y="209"/>
                  </a:cubicBezTo>
                  <a:cubicBezTo>
                    <a:pt x="181" y="206"/>
                    <a:pt x="175" y="204"/>
                    <a:pt x="175" y="203"/>
                  </a:cubicBezTo>
                  <a:cubicBezTo>
                    <a:pt x="175" y="202"/>
                    <a:pt x="177" y="201"/>
                    <a:pt x="177" y="200"/>
                  </a:cubicBezTo>
                  <a:cubicBezTo>
                    <a:pt x="176" y="196"/>
                    <a:pt x="173" y="194"/>
                    <a:pt x="169" y="191"/>
                  </a:cubicBezTo>
                  <a:cubicBezTo>
                    <a:pt x="165" y="193"/>
                    <a:pt x="166" y="200"/>
                    <a:pt x="159" y="199"/>
                  </a:cubicBezTo>
                  <a:cubicBezTo>
                    <a:pt x="159" y="200"/>
                    <a:pt x="161" y="200"/>
                    <a:pt x="162" y="200"/>
                  </a:cubicBezTo>
                  <a:cubicBezTo>
                    <a:pt x="162" y="201"/>
                    <a:pt x="160" y="201"/>
                    <a:pt x="159" y="202"/>
                  </a:cubicBezTo>
                  <a:cubicBezTo>
                    <a:pt x="156" y="202"/>
                    <a:pt x="158" y="206"/>
                    <a:pt x="154" y="206"/>
                  </a:cubicBezTo>
                  <a:cubicBezTo>
                    <a:pt x="147" y="207"/>
                    <a:pt x="149" y="200"/>
                    <a:pt x="143" y="202"/>
                  </a:cubicBezTo>
                  <a:cubicBezTo>
                    <a:pt x="143" y="200"/>
                    <a:pt x="144" y="200"/>
                    <a:pt x="145" y="200"/>
                  </a:cubicBezTo>
                  <a:cubicBezTo>
                    <a:pt x="148" y="196"/>
                    <a:pt x="141" y="193"/>
                    <a:pt x="145" y="191"/>
                  </a:cubicBezTo>
                  <a:cubicBezTo>
                    <a:pt x="144" y="190"/>
                    <a:pt x="143" y="189"/>
                    <a:pt x="141" y="188"/>
                  </a:cubicBezTo>
                  <a:cubicBezTo>
                    <a:pt x="140" y="186"/>
                    <a:pt x="143" y="186"/>
                    <a:pt x="143" y="185"/>
                  </a:cubicBezTo>
                  <a:cubicBezTo>
                    <a:pt x="143" y="184"/>
                    <a:pt x="140" y="183"/>
                    <a:pt x="140" y="182"/>
                  </a:cubicBezTo>
                  <a:cubicBezTo>
                    <a:pt x="139" y="181"/>
                    <a:pt x="142" y="172"/>
                    <a:pt x="140" y="178"/>
                  </a:cubicBezTo>
                  <a:cubicBezTo>
                    <a:pt x="137" y="177"/>
                    <a:pt x="139" y="174"/>
                    <a:pt x="141" y="175"/>
                  </a:cubicBezTo>
                  <a:cubicBezTo>
                    <a:pt x="138" y="170"/>
                    <a:pt x="146" y="168"/>
                    <a:pt x="143" y="167"/>
                  </a:cubicBezTo>
                  <a:cubicBezTo>
                    <a:pt x="143" y="165"/>
                    <a:pt x="147" y="167"/>
                    <a:pt x="147" y="164"/>
                  </a:cubicBezTo>
                  <a:cubicBezTo>
                    <a:pt x="147" y="162"/>
                    <a:pt x="149" y="164"/>
                    <a:pt x="148" y="164"/>
                  </a:cubicBezTo>
                  <a:cubicBezTo>
                    <a:pt x="150" y="164"/>
                    <a:pt x="150" y="162"/>
                    <a:pt x="151" y="162"/>
                  </a:cubicBezTo>
                  <a:cubicBezTo>
                    <a:pt x="153" y="161"/>
                    <a:pt x="153" y="159"/>
                    <a:pt x="153" y="157"/>
                  </a:cubicBezTo>
                  <a:cubicBezTo>
                    <a:pt x="156" y="158"/>
                    <a:pt x="158" y="157"/>
                    <a:pt x="157" y="154"/>
                  </a:cubicBezTo>
                  <a:cubicBezTo>
                    <a:pt x="162" y="153"/>
                    <a:pt x="159" y="159"/>
                    <a:pt x="165" y="157"/>
                  </a:cubicBezTo>
                  <a:cubicBezTo>
                    <a:pt x="165" y="156"/>
                    <a:pt x="163" y="156"/>
                    <a:pt x="162" y="156"/>
                  </a:cubicBezTo>
                  <a:cubicBezTo>
                    <a:pt x="166" y="152"/>
                    <a:pt x="170" y="153"/>
                    <a:pt x="174" y="150"/>
                  </a:cubicBezTo>
                  <a:cubicBezTo>
                    <a:pt x="174" y="149"/>
                    <a:pt x="173" y="147"/>
                    <a:pt x="174" y="147"/>
                  </a:cubicBezTo>
                  <a:cubicBezTo>
                    <a:pt x="174" y="146"/>
                    <a:pt x="176" y="147"/>
                    <a:pt x="177" y="147"/>
                  </a:cubicBezTo>
                  <a:cubicBezTo>
                    <a:pt x="177" y="146"/>
                    <a:pt x="176" y="143"/>
                    <a:pt x="177" y="142"/>
                  </a:cubicBezTo>
                  <a:cubicBezTo>
                    <a:pt x="177" y="141"/>
                    <a:pt x="181" y="140"/>
                    <a:pt x="181" y="139"/>
                  </a:cubicBezTo>
                  <a:cubicBezTo>
                    <a:pt x="182" y="138"/>
                    <a:pt x="180" y="135"/>
                    <a:pt x="181" y="133"/>
                  </a:cubicBezTo>
                  <a:cubicBezTo>
                    <a:pt x="181" y="133"/>
                    <a:pt x="183" y="135"/>
                    <a:pt x="184" y="135"/>
                  </a:cubicBezTo>
                  <a:cubicBezTo>
                    <a:pt x="183" y="136"/>
                    <a:pt x="186" y="128"/>
                    <a:pt x="186" y="127"/>
                  </a:cubicBezTo>
                  <a:cubicBezTo>
                    <a:pt x="189" y="131"/>
                    <a:pt x="189" y="125"/>
                    <a:pt x="193" y="124"/>
                  </a:cubicBezTo>
                  <a:cubicBezTo>
                    <a:pt x="193" y="122"/>
                    <a:pt x="195" y="121"/>
                    <a:pt x="193" y="120"/>
                  </a:cubicBezTo>
                  <a:cubicBezTo>
                    <a:pt x="193" y="117"/>
                    <a:pt x="197" y="119"/>
                    <a:pt x="197" y="116"/>
                  </a:cubicBezTo>
                  <a:cubicBezTo>
                    <a:pt x="197" y="114"/>
                    <a:pt x="200" y="114"/>
                    <a:pt x="202" y="114"/>
                  </a:cubicBezTo>
                  <a:cubicBezTo>
                    <a:pt x="202" y="112"/>
                    <a:pt x="201" y="111"/>
                    <a:pt x="200" y="111"/>
                  </a:cubicBezTo>
                  <a:cubicBezTo>
                    <a:pt x="204" y="108"/>
                    <a:pt x="207" y="108"/>
                    <a:pt x="211" y="107"/>
                  </a:cubicBezTo>
                  <a:cubicBezTo>
                    <a:pt x="213" y="105"/>
                    <a:pt x="210" y="104"/>
                    <a:pt x="212" y="101"/>
                  </a:cubicBezTo>
                  <a:cubicBezTo>
                    <a:pt x="213" y="100"/>
                    <a:pt x="216" y="99"/>
                    <a:pt x="217" y="96"/>
                  </a:cubicBezTo>
                  <a:cubicBezTo>
                    <a:pt x="217" y="92"/>
                    <a:pt x="221" y="98"/>
                    <a:pt x="221" y="92"/>
                  </a:cubicBezTo>
                  <a:cubicBezTo>
                    <a:pt x="227" y="90"/>
                    <a:pt x="233" y="95"/>
                    <a:pt x="233" y="86"/>
                  </a:cubicBezTo>
                  <a:cubicBezTo>
                    <a:pt x="236" y="88"/>
                    <a:pt x="242" y="84"/>
                    <a:pt x="246" y="87"/>
                  </a:cubicBezTo>
                  <a:cubicBezTo>
                    <a:pt x="248" y="86"/>
                    <a:pt x="249" y="85"/>
                    <a:pt x="249" y="83"/>
                  </a:cubicBezTo>
                  <a:cubicBezTo>
                    <a:pt x="253" y="81"/>
                    <a:pt x="257" y="88"/>
                    <a:pt x="257" y="81"/>
                  </a:cubicBezTo>
                  <a:cubicBezTo>
                    <a:pt x="260" y="82"/>
                    <a:pt x="260" y="86"/>
                    <a:pt x="263" y="86"/>
                  </a:cubicBezTo>
                  <a:cubicBezTo>
                    <a:pt x="265" y="85"/>
                    <a:pt x="264" y="81"/>
                    <a:pt x="268" y="83"/>
                  </a:cubicBezTo>
                  <a:cubicBezTo>
                    <a:pt x="269" y="85"/>
                    <a:pt x="267" y="86"/>
                    <a:pt x="267" y="87"/>
                  </a:cubicBezTo>
                  <a:cubicBezTo>
                    <a:pt x="268" y="88"/>
                    <a:pt x="275" y="81"/>
                    <a:pt x="279" y="84"/>
                  </a:cubicBezTo>
                  <a:cubicBezTo>
                    <a:pt x="281" y="86"/>
                    <a:pt x="279" y="84"/>
                    <a:pt x="282" y="84"/>
                  </a:cubicBezTo>
                  <a:cubicBezTo>
                    <a:pt x="285" y="85"/>
                    <a:pt x="288" y="87"/>
                    <a:pt x="292" y="86"/>
                  </a:cubicBezTo>
                  <a:cubicBezTo>
                    <a:pt x="292" y="87"/>
                    <a:pt x="293" y="90"/>
                    <a:pt x="292" y="90"/>
                  </a:cubicBezTo>
                  <a:cubicBezTo>
                    <a:pt x="292" y="91"/>
                    <a:pt x="290" y="90"/>
                    <a:pt x="289" y="90"/>
                  </a:cubicBezTo>
                  <a:cubicBezTo>
                    <a:pt x="288" y="91"/>
                    <a:pt x="289" y="94"/>
                    <a:pt x="286" y="93"/>
                  </a:cubicBezTo>
                  <a:cubicBezTo>
                    <a:pt x="289" y="97"/>
                    <a:pt x="298" y="94"/>
                    <a:pt x="301" y="93"/>
                  </a:cubicBezTo>
                  <a:cubicBezTo>
                    <a:pt x="304" y="92"/>
                    <a:pt x="303" y="96"/>
                    <a:pt x="304" y="96"/>
                  </a:cubicBezTo>
                  <a:cubicBezTo>
                    <a:pt x="306" y="97"/>
                    <a:pt x="309" y="95"/>
                    <a:pt x="309" y="98"/>
                  </a:cubicBezTo>
                  <a:cubicBezTo>
                    <a:pt x="319" y="95"/>
                    <a:pt x="322" y="104"/>
                    <a:pt x="328" y="101"/>
                  </a:cubicBezTo>
                  <a:cubicBezTo>
                    <a:pt x="326" y="106"/>
                    <a:pt x="333" y="103"/>
                    <a:pt x="332" y="107"/>
                  </a:cubicBezTo>
                  <a:cubicBezTo>
                    <a:pt x="336" y="107"/>
                    <a:pt x="342" y="106"/>
                    <a:pt x="338" y="110"/>
                  </a:cubicBezTo>
                  <a:cubicBezTo>
                    <a:pt x="341" y="111"/>
                    <a:pt x="344" y="110"/>
                    <a:pt x="347" y="111"/>
                  </a:cubicBezTo>
                  <a:cubicBezTo>
                    <a:pt x="347" y="111"/>
                    <a:pt x="347" y="114"/>
                    <a:pt x="347" y="114"/>
                  </a:cubicBezTo>
                  <a:cubicBezTo>
                    <a:pt x="348" y="115"/>
                    <a:pt x="351" y="114"/>
                    <a:pt x="351" y="114"/>
                  </a:cubicBezTo>
                  <a:cubicBezTo>
                    <a:pt x="353" y="120"/>
                    <a:pt x="353" y="122"/>
                    <a:pt x="351" y="127"/>
                  </a:cubicBezTo>
                  <a:cubicBezTo>
                    <a:pt x="349" y="124"/>
                    <a:pt x="346" y="129"/>
                    <a:pt x="343" y="129"/>
                  </a:cubicBezTo>
                  <a:cubicBezTo>
                    <a:pt x="339" y="129"/>
                    <a:pt x="333" y="125"/>
                    <a:pt x="329" y="129"/>
                  </a:cubicBezTo>
                  <a:cubicBezTo>
                    <a:pt x="327" y="130"/>
                    <a:pt x="329" y="126"/>
                    <a:pt x="328" y="126"/>
                  </a:cubicBezTo>
                  <a:cubicBezTo>
                    <a:pt x="326" y="125"/>
                    <a:pt x="325" y="127"/>
                    <a:pt x="325" y="127"/>
                  </a:cubicBezTo>
                  <a:cubicBezTo>
                    <a:pt x="323" y="127"/>
                    <a:pt x="322" y="125"/>
                    <a:pt x="322" y="124"/>
                  </a:cubicBezTo>
                  <a:cubicBezTo>
                    <a:pt x="319" y="124"/>
                    <a:pt x="315" y="129"/>
                    <a:pt x="316" y="123"/>
                  </a:cubicBezTo>
                  <a:cubicBezTo>
                    <a:pt x="311" y="125"/>
                    <a:pt x="313" y="123"/>
                    <a:pt x="307" y="123"/>
                  </a:cubicBezTo>
                  <a:cubicBezTo>
                    <a:pt x="306" y="126"/>
                    <a:pt x="308" y="126"/>
                    <a:pt x="310" y="126"/>
                  </a:cubicBezTo>
                  <a:cubicBezTo>
                    <a:pt x="312" y="126"/>
                    <a:pt x="313" y="127"/>
                    <a:pt x="314" y="127"/>
                  </a:cubicBezTo>
                  <a:cubicBezTo>
                    <a:pt x="312" y="130"/>
                    <a:pt x="315" y="129"/>
                    <a:pt x="316" y="130"/>
                  </a:cubicBezTo>
                  <a:cubicBezTo>
                    <a:pt x="316" y="131"/>
                    <a:pt x="316" y="133"/>
                    <a:pt x="316" y="133"/>
                  </a:cubicBezTo>
                  <a:cubicBezTo>
                    <a:pt x="317" y="135"/>
                    <a:pt x="319" y="135"/>
                    <a:pt x="319" y="136"/>
                  </a:cubicBezTo>
                  <a:cubicBezTo>
                    <a:pt x="319" y="138"/>
                    <a:pt x="322" y="142"/>
                    <a:pt x="322" y="147"/>
                  </a:cubicBezTo>
                  <a:cubicBezTo>
                    <a:pt x="322" y="152"/>
                    <a:pt x="331" y="148"/>
                    <a:pt x="332" y="153"/>
                  </a:cubicBezTo>
                  <a:cubicBezTo>
                    <a:pt x="334" y="152"/>
                    <a:pt x="334" y="149"/>
                    <a:pt x="337" y="150"/>
                  </a:cubicBezTo>
                  <a:cubicBezTo>
                    <a:pt x="336" y="145"/>
                    <a:pt x="330" y="147"/>
                    <a:pt x="328" y="144"/>
                  </a:cubicBezTo>
                  <a:cubicBezTo>
                    <a:pt x="327" y="138"/>
                    <a:pt x="336" y="142"/>
                    <a:pt x="340" y="141"/>
                  </a:cubicBezTo>
                  <a:cubicBezTo>
                    <a:pt x="339" y="144"/>
                    <a:pt x="346" y="140"/>
                    <a:pt x="344" y="145"/>
                  </a:cubicBezTo>
                  <a:cubicBezTo>
                    <a:pt x="348" y="147"/>
                    <a:pt x="350" y="141"/>
                    <a:pt x="350" y="147"/>
                  </a:cubicBezTo>
                  <a:cubicBezTo>
                    <a:pt x="354" y="145"/>
                    <a:pt x="350" y="139"/>
                    <a:pt x="347" y="139"/>
                  </a:cubicBezTo>
                  <a:cubicBezTo>
                    <a:pt x="348" y="136"/>
                    <a:pt x="351" y="135"/>
                    <a:pt x="354" y="135"/>
                  </a:cubicBezTo>
                  <a:cubicBezTo>
                    <a:pt x="357" y="133"/>
                    <a:pt x="357" y="129"/>
                    <a:pt x="359" y="127"/>
                  </a:cubicBezTo>
                  <a:cubicBezTo>
                    <a:pt x="365" y="127"/>
                    <a:pt x="368" y="129"/>
                    <a:pt x="372" y="130"/>
                  </a:cubicBezTo>
                  <a:cubicBezTo>
                    <a:pt x="374" y="130"/>
                    <a:pt x="373" y="127"/>
                    <a:pt x="375" y="127"/>
                  </a:cubicBezTo>
                  <a:cubicBezTo>
                    <a:pt x="375" y="125"/>
                    <a:pt x="374" y="124"/>
                    <a:pt x="372" y="123"/>
                  </a:cubicBezTo>
                  <a:cubicBezTo>
                    <a:pt x="374" y="117"/>
                    <a:pt x="375" y="112"/>
                    <a:pt x="374" y="107"/>
                  </a:cubicBezTo>
                  <a:cubicBezTo>
                    <a:pt x="378" y="107"/>
                    <a:pt x="383" y="106"/>
                    <a:pt x="386" y="108"/>
                  </a:cubicBezTo>
                  <a:cubicBezTo>
                    <a:pt x="387" y="109"/>
                    <a:pt x="390" y="109"/>
                    <a:pt x="390" y="113"/>
                  </a:cubicBezTo>
                  <a:cubicBezTo>
                    <a:pt x="387" y="113"/>
                    <a:pt x="384" y="113"/>
                    <a:pt x="381" y="113"/>
                  </a:cubicBezTo>
                  <a:cubicBezTo>
                    <a:pt x="381" y="114"/>
                    <a:pt x="381" y="116"/>
                    <a:pt x="381" y="117"/>
                  </a:cubicBezTo>
                  <a:cubicBezTo>
                    <a:pt x="384" y="121"/>
                    <a:pt x="386" y="117"/>
                    <a:pt x="389" y="119"/>
                  </a:cubicBezTo>
                  <a:cubicBezTo>
                    <a:pt x="390" y="119"/>
                    <a:pt x="384" y="120"/>
                    <a:pt x="384" y="120"/>
                  </a:cubicBezTo>
                  <a:cubicBezTo>
                    <a:pt x="383" y="123"/>
                    <a:pt x="388" y="120"/>
                    <a:pt x="390" y="123"/>
                  </a:cubicBezTo>
                  <a:cubicBezTo>
                    <a:pt x="392" y="121"/>
                    <a:pt x="395" y="120"/>
                    <a:pt x="397" y="117"/>
                  </a:cubicBezTo>
                  <a:cubicBezTo>
                    <a:pt x="398" y="116"/>
                    <a:pt x="399" y="116"/>
                    <a:pt x="399" y="114"/>
                  </a:cubicBezTo>
                  <a:cubicBezTo>
                    <a:pt x="406" y="116"/>
                    <a:pt x="405" y="110"/>
                    <a:pt x="411" y="111"/>
                  </a:cubicBezTo>
                  <a:cubicBezTo>
                    <a:pt x="413" y="110"/>
                    <a:pt x="414" y="109"/>
                    <a:pt x="414" y="107"/>
                  </a:cubicBezTo>
                  <a:cubicBezTo>
                    <a:pt x="416" y="107"/>
                    <a:pt x="418" y="106"/>
                    <a:pt x="418" y="104"/>
                  </a:cubicBezTo>
                  <a:cubicBezTo>
                    <a:pt x="424" y="108"/>
                    <a:pt x="429" y="101"/>
                    <a:pt x="434" y="101"/>
                  </a:cubicBezTo>
                  <a:cubicBezTo>
                    <a:pt x="434" y="103"/>
                    <a:pt x="434" y="105"/>
                    <a:pt x="434" y="107"/>
                  </a:cubicBezTo>
                  <a:cubicBezTo>
                    <a:pt x="440" y="107"/>
                    <a:pt x="444" y="107"/>
                    <a:pt x="448" y="105"/>
                  </a:cubicBezTo>
                  <a:cubicBezTo>
                    <a:pt x="448" y="105"/>
                    <a:pt x="450" y="106"/>
                    <a:pt x="451" y="105"/>
                  </a:cubicBezTo>
                  <a:cubicBezTo>
                    <a:pt x="451" y="105"/>
                    <a:pt x="451" y="104"/>
                    <a:pt x="451" y="104"/>
                  </a:cubicBezTo>
                  <a:cubicBezTo>
                    <a:pt x="453" y="103"/>
                    <a:pt x="458" y="104"/>
                    <a:pt x="458" y="99"/>
                  </a:cubicBezTo>
                  <a:cubicBezTo>
                    <a:pt x="462" y="101"/>
                    <a:pt x="468" y="101"/>
                    <a:pt x="470" y="105"/>
                  </a:cubicBezTo>
                  <a:cubicBezTo>
                    <a:pt x="472" y="104"/>
                    <a:pt x="474" y="103"/>
                    <a:pt x="474" y="101"/>
                  </a:cubicBezTo>
                  <a:cubicBezTo>
                    <a:pt x="475" y="99"/>
                    <a:pt x="468" y="98"/>
                    <a:pt x="473" y="96"/>
                  </a:cubicBezTo>
                  <a:cubicBezTo>
                    <a:pt x="471" y="93"/>
                    <a:pt x="464" y="94"/>
                    <a:pt x="466" y="86"/>
                  </a:cubicBezTo>
                  <a:cubicBezTo>
                    <a:pt x="468" y="87"/>
                    <a:pt x="469" y="89"/>
                    <a:pt x="473" y="90"/>
                  </a:cubicBezTo>
                  <a:cubicBezTo>
                    <a:pt x="475" y="91"/>
                    <a:pt x="477" y="94"/>
                    <a:pt x="482" y="93"/>
                  </a:cubicBezTo>
                  <a:cubicBezTo>
                    <a:pt x="483" y="93"/>
                    <a:pt x="483" y="92"/>
                    <a:pt x="483" y="92"/>
                  </a:cubicBezTo>
                  <a:cubicBezTo>
                    <a:pt x="485" y="92"/>
                    <a:pt x="486" y="94"/>
                    <a:pt x="486" y="92"/>
                  </a:cubicBezTo>
                  <a:cubicBezTo>
                    <a:pt x="488" y="91"/>
                    <a:pt x="488" y="94"/>
                    <a:pt x="489" y="95"/>
                  </a:cubicBezTo>
                  <a:cubicBezTo>
                    <a:pt x="492" y="96"/>
                    <a:pt x="494" y="94"/>
                    <a:pt x="494" y="98"/>
                  </a:cubicBezTo>
                  <a:cubicBezTo>
                    <a:pt x="498" y="96"/>
                    <a:pt x="500" y="99"/>
                    <a:pt x="506" y="96"/>
                  </a:cubicBezTo>
                  <a:cubicBezTo>
                    <a:pt x="504" y="101"/>
                    <a:pt x="510" y="97"/>
                    <a:pt x="509" y="102"/>
                  </a:cubicBezTo>
                  <a:cubicBezTo>
                    <a:pt x="511" y="102"/>
                    <a:pt x="512" y="103"/>
                    <a:pt x="513" y="105"/>
                  </a:cubicBezTo>
                  <a:cubicBezTo>
                    <a:pt x="518" y="104"/>
                    <a:pt x="518" y="108"/>
                    <a:pt x="523" y="107"/>
                  </a:cubicBezTo>
                  <a:cubicBezTo>
                    <a:pt x="526" y="98"/>
                    <a:pt x="515" y="102"/>
                    <a:pt x="517" y="93"/>
                  </a:cubicBezTo>
                  <a:cubicBezTo>
                    <a:pt x="517" y="91"/>
                    <a:pt x="516" y="94"/>
                    <a:pt x="513" y="93"/>
                  </a:cubicBezTo>
                  <a:cubicBezTo>
                    <a:pt x="513" y="90"/>
                    <a:pt x="516" y="89"/>
                    <a:pt x="515" y="84"/>
                  </a:cubicBezTo>
                  <a:cubicBezTo>
                    <a:pt x="515" y="83"/>
                    <a:pt x="512" y="84"/>
                    <a:pt x="512" y="83"/>
                  </a:cubicBezTo>
                  <a:cubicBezTo>
                    <a:pt x="511" y="83"/>
                    <a:pt x="514" y="80"/>
                    <a:pt x="512" y="80"/>
                  </a:cubicBezTo>
                  <a:cubicBezTo>
                    <a:pt x="512" y="77"/>
                    <a:pt x="516" y="78"/>
                    <a:pt x="515" y="74"/>
                  </a:cubicBezTo>
                  <a:cubicBezTo>
                    <a:pt x="517" y="74"/>
                    <a:pt x="516" y="70"/>
                    <a:pt x="520" y="71"/>
                  </a:cubicBezTo>
                  <a:cubicBezTo>
                    <a:pt x="520" y="68"/>
                    <a:pt x="522" y="66"/>
                    <a:pt x="525" y="67"/>
                  </a:cubicBezTo>
                  <a:cubicBezTo>
                    <a:pt x="523" y="60"/>
                    <a:pt x="530" y="62"/>
                    <a:pt x="529" y="56"/>
                  </a:cubicBezTo>
                  <a:cubicBezTo>
                    <a:pt x="537" y="55"/>
                    <a:pt x="539" y="58"/>
                    <a:pt x="544" y="59"/>
                  </a:cubicBezTo>
                  <a:cubicBezTo>
                    <a:pt x="544" y="61"/>
                    <a:pt x="544" y="63"/>
                    <a:pt x="546" y="64"/>
                  </a:cubicBezTo>
                  <a:cubicBezTo>
                    <a:pt x="545" y="65"/>
                    <a:pt x="543" y="65"/>
                    <a:pt x="541" y="65"/>
                  </a:cubicBezTo>
                  <a:cubicBezTo>
                    <a:pt x="541" y="71"/>
                    <a:pt x="544" y="73"/>
                    <a:pt x="541" y="79"/>
                  </a:cubicBezTo>
                  <a:cubicBezTo>
                    <a:pt x="542" y="79"/>
                    <a:pt x="543" y="81"/>
                    <a:pt x="544" y="81"/>
                  </a:cubicBezTo>
                  <a:cubicBezTo>
                    <a:pt x="545" y="82"/>
                    <a:pt x="545" y="83"/>
                    <a:pt x="547" y="83"/>
                  </a:cubicBezTo>
                  <a:cubicBezTo>
                    <a:pt x="545" y="86"/>
                    <a:pt x="546" y="94"/>
                    <a:pt x="544" y="98"/>
                  </a:cubicBezTo>
                  <a:cubicBezTo>
                    <a:pt x="543" y="103"/>
                    <a:pt x="548" y="101"/>
                    <a:pt x="549" y="104"/>
                  </a:cubicBezTo>
                  <a:cubicBezTo>
                    <a:pt x="547" y="115"/>
                    <a:pt x="542" y="123"/>
                    <a:pt x="532" y="126"/>
                  </a:cubicBezTo>
                  <a:cubicBezTo>
                    <a:pt x="533" y="129"/>
                    <a:pt x="539" y="126"/>
                    <a:pt x="540" y="129"/>
                  </a:cubicBezTo>
                  <a:cubicBezTo>
                    <a:pt x="543" y="128"/>
                    <a:pt x="542" y="124"/>
                    <a:pt x="547" y="124"/>
                  </a:cubicBezTo>
                  <a:cubicBezTo>
                    <a:pt x="546" y="126"/>
                    <a:pt x="546" y="127"/>
                    <a:pt x="546" y="129"/>
                  </a:cubicBezTo>
                  <a:cubicBezTo>
                    <a:pt x="547" y="129"/>
                    <a:pt x="547" y="126"/>
                    <a:pt x="549" y="126"/>
                  </a:cubicBezTo>
                  <a:cubicBezTo>
                    <a:pt x="550" y="126"/>
                    <a:pt x="549" y="124"/>
                    <a:pt x="550" y="123"/>
                  </a:cubicBezTo>
                  <a:cubicBezTo>
                    <a:pt x="550" y="123"/>
                    <a:pt x="553" y="123"/>
                    <a:pt x="553" y="123"/>
                  </a:cubicBezTo>
                  <a:cubicBezTo>
                    <a:pt x="554" y="122"/>
                    <a:pt x="553" y="120"/>
                    <a:pt x="553" y="119"/>
                  </a:cubicBezTo>
                  <a:cubicBezTo>
                    <a:pt x="555" y="119"/>
                    <a:pt x="556" y="119"/>
                    <a:pt x="557" y="119"/>
                  </a:cubicBezTo>
                  <a:cubicBezTo>
                    <a:pt x="556" y="114"/>
                    <a:pt x="562" y="109"/>
                    <a:pt x="557" y="107"/>
                  </a:cubicBezTo>
                  <a:cubicBezTo>
                    <a:pt x="558" y="105"/>
                    <a:pt x="560" y="106"/>
                    <a:pt x="560" y="104"/>
                  </a:cubicBezTo>
                  <a:cubicBezTo>
                    <a:pt x="560" y="102"/>
                    <a:pt x="559" y="103"/>
                    <a:pt x="557" y="102"/>
                  </a:cubicBezTo>
                  <a:cubicBezTo>
                    <a:pt x="557" y="99"/>
                    <a:pt x="563" y="102"/>
                    <a:pt x="565" y="101"/>
                  </a:cubicBezTo>
                  <a:cubicBezTo>
                    <a:pt x="563" y="99"/>
                    <a:pt x="564" y="95"/>
                    <a:pt x="560" y="96"/>
                  </a:cubicBezTo>
                  <a:cubicBezTo>
                    <a:pt x="557" y="98"/>
                    <a:pt x="555" y="93"/>
                    <a:pt x="555" y="96"/>
                  </a:cubicBezTo>
                  <a:cubicBezTo>
                    <a:pt x="552" y="94"/>
                    <a:pt x="552" y="91"/>
                    <a:pt x="553" y="87"/>
                  </a:cubicBezTo>
                  <a:cubicBezTo>
                    <a:pt x="553" y="87"/>
                    <a:pt x="556" y="88"/>
                    <a:pt x="556" y="87"/>
                  </a:cubicBezTo>
                  <a:cubicBezTo>
                    <a:pt x="557" y="86"/>
                    <a:pt x="555" y="82"/>
                    <a:pt x="556" y="80"/>
                  </a:cubicBezTo>
                  <a:cubicBezTo>
                    <a:pt x="556" y="78"/>
                    <a:pt x="554" y="80"/>
                    <a:pt x="555" y="80"/>
                  </a:cubicBezTo>
                  <a:cubicBezTo>
                    <a:pt x="551" y="78"/>
                    <a:pt x="553" y="74"/>
                    <a:pt x="552" y="71"/>
                  </a:cubicBezTo>
                  <a:cubicBezTo>
                    <a:pt x="557" y="73"/>
                    <a:pt x="555" y="67"/>
                    <a:pt x="559" y="67"/>
                  </a:cubicBezTo>
                  <a:cubicBezTo>
                    <a:pt x="559" y="64"/>
                    <a:pt x="559" y="62"/>
                    <a:pt x="559" y="59"/>
                  </a:cubicBezTo>
                  <a:cubicBezTo>
                    <a:pt x="564" y="58"/>
                    <a:pt x="561" y="64"/>
                    <a:pt x="562" y="67"/>
                  </a:cubicBezTo>
                  <a:cubicBezTo>
                    <a:pt x="562" y="69"/>
                    <a:pt x="565" y="65"/>
                    <a:pt x="565" y="68"/>
                  </a:cubicBezTo>
                  <a:cubicBezTo>
                    <a:pt x="565" y="69"/>
                    <a:pt x="564" y="70"/>
                    <a:pt x="563" y="70"/>
                  </a:cubicBezTo>
                  <a:cubicBezTo>
                    <a:pt x="564" y="74"/>
                    <a:pt x="568" y="75"/>
                    <a:pt x="572" y="77"/>
                  </a:cubicBezTo>
                  <a:cubicBezTo>
                    <a:pt x="575" y="78"/>
                    <a:pt x="572" y="73"/>
                    <a:pt x="571" y="73"/>
                  </a:cubicBezTo>
                  <a:cubicBezTo>
                    <a:pt x="573" y="70"/>
                    <a:pt x="577" y="70"/>
                    <a:pt x="581" y="70"/>
                  </a:cubicBezTo>
                  <a:cubicBezTo>
                    <a:pt x="581" y="68"/>
                    <a:pt x="578" y="68"/>
                    <a:pt x="577" y="68"/>
                  </a:cubicBezTo>
                  <a:cubicBezTo>
                    <a:pt x="578" y="64"/>
                    <a:pt x="575" y="64"/>
                    <a:pt x="575" y="61"/>
                  </a:cubicBezTo>
                  <a:cubicBezTo>
                    <a:pt x="576" y="64"/>
                    <a:pt x="586" y="59"/>
                    <a:pt x="584" y="65"/>
                  </a:cubicBezTo>
                  <a:cubicBezTo>
                    <a:pt x="586" y="66"/>
                    <a:pt x="587" y="64"/>
                    <a:pt x="587" y="64"/>
                  </a:cubicBezTo>
                  <a:cubicBezTo>
                    <a:pt x="589" y="64"/>
                    <a:pt x="587" y="65"/>
                    <a:pt x="589" y="67"/>
                  </a:cubicBezTo>
                  <a:cubicBezTo>
                    <a:pt x="589" y="67"/>
                    <a:pt x="591" y="66"/>
                    <a:pt x="592" y="67"/>
                  </a:cubicBezTo>
                  <a:cubicBezTo>
                    <a:pt x="594" y="70"/>
                    <a:pt x="600" y="66"/>
                    <a:pt x="596" y="71"/>
                  </a:cubicBezTo>
                  <a:cubicBezTo>
                    <a:pt x="598" y="71"/>
                    <a:pt x="601" y="71"/>
                    <a:pt x="603" y="71"/>
                  </a:cubicBezTo>
                  <a:cubicBezTo>
                    <a:pt x="604" y="70"/>
                    <a:pt x="597" y="68"/>
                    <a:pt x="602" y="67"/>
                  </a:cubicBezTo>
                  <a:cubicBezTo>
                    <a:pt x="601" y="65"/>
                    <a:pt x="599" y="64"/>
                    <a:pt x="598" y="64"/>
                  </a:cubicBezTo>
                  <a:cubicBezTo>
                    <a:pt x="596" y="56"/>
                    <a:pt x="598" y="56"/>
                    <a:pt x="598" y="47"/>
                  </a:cubicBezTo>
                  <a:cubicBezTo>
                    <a:pt x="605" y="47"/>
                    <a:pt x="616" y="49"/>
                    <a:pt x="623" y="47"/>
                  </a:cubicBezTo>
                  <a:cubicBezTo>
                    <a:pt x="625" y="47"/>
                    <a:pt x="623" y="43"/>
                    <a:pt x="627" y="46"/>
                  </a:cubicBezTo>
                  <a:cubicBezTo>
                    <a:pt x="632" y="43"/>
                    <a:pt x="628" y="40"/>
                    <a:pt x="630" y="36"/>
                  </a:cubicBezTo>
                  <a:cubicBezTo>
                    <a:pt x="634" y="36"/>
                    <a:pt x="636" y="35"/>
                    <a:pt x="638" y="34"/>
                  </a:cubicBezTo>
                  <a:cubicBezTo>
                    <a:pt x="640" y="31"/>
                    <a:pt x="644" y="30"/>
                    <a:pt x="646" y="27"/>
                  </a:cubicBezTo>
                  <a:cubicBezTo>
                    <a:pt x="661" y="24"/>
                    <a:pt x="677" y="23"/>
                    <a:pt x="689" y="18"/>
                  </a:cubicBezTo>
                  <a:cubicBezTo>
                    <a:pt x="692" y="16"/>
                    <a:pt x="692" y="21"/>
                    <a:pt x="692" y="21"/>
                  </a:cubicBezTo>
                  <a:cubicBezTo>
                    <a:pt x="693" y="21"/>
                    <a:pt x="695" y="17"/>
                    <a:pt x="694" y="16"/>
                  </a:cubicBezTo>
                  <a:cubicBezTo>
                    <a:pt x="696" y="17"/>
                    <a:pt x="694" y="19"/>
                    <a:pt x="695" y="21"/>
                  </a:cubicBezTo>
                  <a:cubicBezTo>
                    <a:pt x="696" y="21"/>
                    <a:pt x="699" y="20"/>
                    <a:pt x="698" y="22"/>
                  </a:cubicBezTo>
                  <a:cubicBezTo>
                    <a:pt x="701" y="21"/>
                    <a:pt x="697" y="20"/>
                    <a:pt x="700" y="19"/>
                  </a:cubicBezTo>
                  <a:cubicBezTo>
                    <a:pt x="702" y="19"/>
                    <a:pt x="707" y="20"/>
                    <a:pt x="707" y="15"/>
                  </a:cubicBezTo>
                  <a:cubicBezTo>
                    <a:pt x="710" y="15"/>
                    <a:pt x="712" y="15"/>
                    <a:pt x="712" y="12"/>
                  </a:cubicBezTo>
                  <a:cubicBezTo>
                    <a:pt x="714" y="12"/>
                    <a:pt x="714" y="14"/>
                    <a:pt x="716" y="15"/>
                  </a:cubicBezTo>
                  <a:cubicBezTo>
                    <a:pt x="720" y="15"/>
                    <a:pt x="719" y="10"/>
                    <a:pt x="719" y="6"/>
                  </a:cubicBezTo>
                  <a:cubicBezTo>
                    <a:pt x="726" y="3"/>
                    <a:pt x="733" y="0"/>
                    <a:pt x="744" y="1"/>
                  </a:cubicBezTo>
                  <a:cubicBezTo>
                    <a:pt x="743" y="3"/>
                    <a:pt x="743" y="5"/>
                    <a:pt x="743" y="7"/>
                  </a:cubicBezTo>
                  <a:cubicBezTo>
                    <a:pt x="746" y="11"/>
                    <a:pt x="752" y="11"/>
                    <a:pt x="755" y="7"/>
                  </a:cubicBezTo>
                  <a:cubicBezTo>
                    <a:pt x="756" y="8"/>
                    <a:pt x="755" y="9"/>
                    <a:pt x="755" y="9"/>
                  </a:cubicBezTo>
                  <a:close/>
                  <a:moveTo>
                    <a:pt x="1110" y="190"/>
                  </a:moveTo>
                  <a:cubicBezTo>
                    <a:pt x="1110" y="188"/>
                    <a:pt x="1108" y="188"/>
                    <a:pt x="1107" y="187"/>
                  </a:cubicBezTo>
                  <a:cubicBezTo>
                    <a:pt x="1102" y="186"/>
                    <a:pt x="1102" y="189"/>
                    <a:pt x="1107" y="188"/>
                  </a:cubicBezTo>
                  <a:cubicBezTo>
                    <a:pt x="1108" y="189"/>
                    <a:pt x="1109" y="190"/>
                    <a:pt x="1110" y="190"/>
                  </a:cubicBezTo>
                  <a:close/>
                  <a:moveTo>
                    <a:pt x="320" y="301"/>
                  </a:moveTo>
                  <a:cubicBezTo>
                    <a:pt x="319" y="305"/>
                    <a:pt x="325" y="303"/>
                    <a:pt x="323" y="308"/>
                  </a:cubicBezTo>
                  <a:cubicBezTo>
                    <a:pt x="326" y="309"/>
                    <a:pt x="327" y="306"/>
                    <a:pt x="328" y="308"/>
                  </a:cubicBezTo>
                  <a:cubicBezTo>
                    <a:pt x="328" y="310"/>
                    <a:pt x="327" y="309"/>
                    <a:pt x="326" y="310"/>
                  </a:cubicBezTo>
                  <a:cubicBezTo>
                    <a:pt x="324" y="311"/>
                    <a:pt x="318" y="313"/>
                    <a:pt x="316" y="313"/>
                  </a:cubicBezTo>
                  <a:cubicBezTo>
                    <a:pt x="312" y="312"/>
                    <a:pt x="311" y="309"/>
                    <a:pt x="309" y="307"/>
                  </a:cubicBezTo>
                  <a:cubicBezTo>
                    <a:pt x="309" y="304"/>
                    <a:pt x="313" y="306"/>
                    <a:pt x="313" y="304"/>
                  </a:cubicBezTo>
                  <a:cubicBezTo>
                    <a:pt x="310" y="301"/>
                    <a:pt x="309" y="300"/>
                    <a:pt x="304" y="302"/>
                  </a:cubicBezTo>
                  <a:cubicBezTo>
                    <a:pt x="303" y="300"/>
                    <a:pt x="301" y="297"/>
                    <a:pt x="297" y="298"/>
                  </a:cubicBezTo>
                  <a:cubicBezTo>
                    <a:pt x="295" y="297"/>
                    <a:pt x="296" y="300"/>
                    <a:pt x="295" y="301"/>
                  </a:cubicBezTo>
                  <a:cubicBezTo>
                    <a:pt x="294" y="302"/>
                    <a:pt x="292" y="302"/>
                    <a:pt x="291" y="302"/>
                  </a:cubicBezTo>
                  <a:cubicBezTo>
                    <a:pt x="289" y="304"/>
                    <a:pt x="288" y="308"/>
                    <a:pt x="285" y="307"/>
                  </a:cubicBezTo>
                  <a:cubicBezTo>
                    <a:pt x="287" y="312"/>
                    <a:pt x="282" y="313"/>
                    <a:pt x="282" y="314"/>
                  </a:cubicBezTo>
                  <a:cubicBezTo>
                    <a:pt x="281" y="317"/>
                    <a:pt x="282" y="321"/>
                    <a:pt x="280" y="325"/>
                  </a:cubicBezTo>
                  <a:cubicBezTo>
                    <a:pt x="279" y="325"/>
                    <a:pt x="279" y="323"/>
                    <a:pt x="277" y="323"/>
                  </a:cubicBezTo>
                  <a:cubicBezTo>
                    <a:pt x="276" y="328"/>
                    <a:pt x="281" y="330"/>
                    <a:pt x="277" y="333"/>
                  </a:cubicBezTo>
                  <a:cubicBezTo>
                    <a:pt x="280" y="332"/>
                    <a:pt x="280" y="336"/>
                    <a:pt x="280" y="336"/>
                  </a:cubicBezTo>
                  <a:cubicBezTo>
                    <a:pt x="281" y="337"/>
                    <a:pt x="283" y="336"/>
                    <a:pt x="283" y="336"/>
                  </a:cubicBezTo>
                  <a:cubicBezTo>
                    <a:pt x="287" y="337"/>
                    <a:pt x="287" y="340"/>
                    <a:pt x="289" y="338"/>
                  </a:cubicBezTo>
                  <a:cubicBezTo>
                    <a:pt x="289" y="338"/>
                    <a:pt x="292" y="338"/>
                    <a:pt x="292" y="338"/>
                  </a:cubicBezTo>
                  <a:cubicBezTo>
                    <a:pt x="298" y="337"/>
                    <a:pt x="296" y="337"/>
                    <a:pt x="298" y="335"/>
                  </a:cubicBezTo>
                  <a:cubicBezTo>
                    <a:pt x="301" y="335"/>
                    <a:pt x="301" y="337"/>
                    <a:pt x="304" y="336"/>
                  </a:cubicBezTo>
                  <a:cubicBezTo>
                    <a:pt x="304" y="335"/>
                    <a:pt x="304" y="334"/>
                    <a:pt x="306" y="333"/>
                  </a:cubicBezTo>
                  <a:cubicBezTo>
                    <a:pt x="309" y="333"/>
                    <a:pt x="316" y="333"/>
                    <a:pt x="319" y="333"/>
                  </a:cubicBezTo>
                  <a:cubicBezTo>
                    <a:pt x="321" y="334"/>
                    <a:pt x="322" y="336"/>
                    <a:pt x="325" y="336"/>
                  </a:cubicBezTo>
                  <a:cubicBezTo>
                    <a:pt x="326" y="337"/>
                    <a:pt x="327" y="335"/>
                    <a:pt x="328" y="335"/>
                  </a:cubicBezTo>
                  <a:cubicBezTo>
                    <a:pt x="327" y="335"/>
                    <a:pt x="329" y="336"/>
                    <a:pt x="329" y="336"/>
                  </a:cubicBezTo>
                  <a:cubicBezTo>
                    <a:pt x="333" y="337"/>
                    <a:pt x="333" y="338"/>
                    <a:pt x="337" y="338"/>
                  </a:cubicBezTo>
                  <a:cubicBezTo>
                    <a:pt x="343" y="338"/>
                    <a:pt x="351" y="337"/>
                    <a:pt x="357" y="338"/>
                  </a:cubicBezTo>
                  <a:cubicBezTo>
                    <a:pt x="357" y="334"/>
                    <a:pt x="358" y="332"/>
                    <a:pt x="359" y="330"/>
                  </a:cubicBezTo>
                  <a:cubicBezTo>
                    <a:pt x="354" y="324"/>
                    <a:pt x="350" y="317"/>
                    <a:pt x="340" y="316"/>
                  </a:cubicBezTo>
                  <a:cubicBezTo>
                    <a:pt x="340" y="313"/>
                    <a:pt x="338" y="313"/>
                    <a:pt x="337" y="311"/>
                  </a:cubicBezTo>
                  <a:cubicBezTo>
                    <a:pt x="337" y="309"/>
                    <a:pt x="336" y="308"/>
                    <a:pt x="335" y="307"/>
                  </a:cubicBezTo>
                  <a:cubicBezTo>
                    <a:pt x="336" y="303"/>
                    <a:pt x="340" y="302"/>
                    <a:pt x="340" y="296"/>
                  </a:cubicBezTo>
                  <a:cubicBezTo>
                    <a:pt x="331" y="295"/>
                    <a:pt x="327" y="299"/>
                    <a:pt x="320" y="301"/>
                  </a:cubicBezTo>
                  <a:close/>
                  <a:moveTo>
                    <a:pt x="423" y="369"/>
                  </a:moveTo>
                  <a:cubicBezTo>
                    <a:pt x="421" y="369"/>
                    <a:pt x="419" y="370"/>
                    <a:pt x="421" y="370"/>
                  </a:cubicBezTo>
                  <a:cubicBezTo>
                    <a:pt x="424" y="368"/>
                    <a:pt x="429" y="369"/>
                    <a:pt x="432" y="368"/>
                  </a:cubicBezTo>
                  <a:cubicBezTo>
                    <a:pt x="432" y="367"/>
                    <a:pt x="431" y="365"/>
                    <a:pt x="432" y="365"/>
                  </a:cubicBezTo>
                  <a:cubicBezTo>
                    <a:pt x="432" y="364"/>
                    <a:pt x="434" y="366"/>
                    <a:pt x="434" y="366"/>
                  </a:cubicBezTo>
                  <a:cubicBezTo>
                    <a:pt x="434" y="363"/>
                    <a:pt x="434" y="359"/>
                    <a:pt x="434" y="356"/>
                  </a:cubicBezTo>
                  <a:cubicBezTo>
                    <a:pt x="433" y="353"/>
                    <a:pt x="431" y="353"/>
                    <a:pt x="430" y="351"/>
                  </a:cubicBezTo>
                  <a:cubicBezTo>
                    <a:pt x="430" y="351"/>
                    <a:pt x="430" y="349"/>
                    <a:pt x="430" y="348"/>
                  </a:cubicBezTo>
                  <a:cubicBezTo>
                    <a:pt x="429" y="346"/>
                    <a:pt x="425" y="344"/>
                    <a:pt x="429" y="344"/>
                  </a:cubicBezTo>
                  <a:cubicBezTo>
                    <a:pt x="432" y="344"/>
                    <a:pt x="434" y="344"/>
                    <a:pt x="437" y="344"/>
                  </a:cubicBezTo>
                  <a:cubicBezTo>
                    <a:pt x="438" y="338"/>
                    <a:pt x="435" y="338"/>
                    <a:pt x="434" y="336"/>
                  </a:cubicBezTo>
                  <a:cubicBezTo>
                    <a:pt x="434" y="333"/>
                    <a:pt x="431" y="334"/>
                    <a:pt x="430" y="332"/>
                  </a:cubicBezTo>
                  <a:cubicBezTo>
                    <a:pt x="430" y="332"/>
                    <a:pt x="433" y="330"/>
                    <a:pt x="432" y="329"/>
                  </a:cubicBezTo>
                  <a:cubicBezTo>
                    <a:pt x="427" y="330"/>
                    <a:pt x="426" y="327"/>
                    <a:pt x="423" y="328"/>
                  </a:cubicBezTo>
                  <a:cubicBezTo>
                    <a:pt x="424" y="319"/>
                    <a:pt x="413" y="322"/>
                    <a:pt x="414" y="314"/>
                  </a:cubicBezTo>
                  <a:cubicBezTo>
                    <a:pt x="417" y="311"/>
                    <a:pt x="420" y="307"/>
                    <a:pt x="429" y="308"/>
                  </a:cubicBezTo>
                  <a:cubicBezTo>
                    <a:pt x="429" y="307"/>
                    <a:pt x="429" y="305"/>
                    <a:pt x="430" y="305"/>
                  </a:cubicBezTo>
                  <a:cubicBezTo>
                    <a:pt x="430" y="301"/>
                    <a:pt x="426" y="302"/>
                    <a:pt x="426" y="298"/>
                  </a:cubicBezTo>
                  <a:cubicBezTo>
                    <a:pt x="418" y="297"/>
                    <a:pt x="415" y="300"/>
                    <a:pt x="411" y="298"/>
                  </a:cubicBezTo>
                  <a:cubicBezTo>
                    <a:pt x="410" y="300"/>
                    <a:pt x="411" y="301"/>
                    <a:pt x="409" y="299"/>
                  </a:cubicBezTo>
                  <a:cubicBezTo>
                    <a:pt x="408" y="298"/>
                    <a:pt x="408" y="301"/>
                    <a:pt x="408" y="301"/>
                  </a:cubicBezTo>
                  <a:cubicBezTo>
                    <a:pt x="405" y="302"/>
                    <a:pt x="399" y="305"/>
                    <a:pt x="397" y="305"/>
                  </a:cubicBezTo>
                  <a:cubicBezTo>
                    <a:pt x="393" y="306"/>
                    <a:pt x="395" y="307"/>
                    <a:pt x="393" y="310"/>
                  </a:cubicBezTo>
                  <a:cubicBezTo>
                    <a:pt x="393" y="310"/>
                    <a:pt x="391" y="309"/>
                    <a:pt x="390" y="310"/>
                  </a:cubicBezTo>
                  <a:cubicBezTo>
                    <a:pt x="389" y="310"/>
                    <a:pt x="391" y="313"/>
                    <a:pt x="390" y="314"/>
                  </a:cubicBezTo>
                  <a:cubicBezTo>
                    <a:pt x="390" y="317"/>
                    <a:pt x="394" y="312"/>
                    <a:pt x="394" y="317"/>
                  </a:cubicBezTo>
                  <a:cubicBezTo>
                    <a:pt x="394" y="319"/>
                    <a:pt x="396" y="319"/>
                    <a:pt x="396" y="320"/>
                  </a:cubicBezTo>
                  <a:cubicBezTo>
                    <a:pt x="395" y="325"/>
                    <a:pt x="397" y="328"/>
                    <a:pt x="397" y="329"/>
                  </a:cubicBezTo>
                  <a:cubicBezTo>
                    <a:pt x="398" y="331"/>
                    <a:pt x="398" y="331"/>
                    <a:pt x="399" y="332"/>
                  </a:cubicBezTo>
                  <a:cubicBezTo>
                    <a:pt x="399" y="332"/>
                    <a:pt x="400" y="336"/>
                    <a:pt x="400" y="336"/>
                  </a:cubicBezTo>
                  <a:cubicBezTo>
                    <a:pt x="401" y="341"/>
                    <a:pt x="402" y="340"/>
                    <a:pt x="403" y="342"/>
                  </a:cubicBezTo>
                  <a:cubicBezTo>
                    <a:pt x="404" y="344"/>
                    <a:pt x="403" y="346"/>
                    <a:pt x="403" y="347"/>
                  </a:cubicBezTo>
                  <a:cubicBezTo>
                    <a:pt x="404" y="348"/>
                    <a:pt x="407" y="348"/>
                    <a:pt x="406" y="351"/>
                  </a:cubicBezTo>
                  <a:cubicBezTo>
                    <a:pt x="401" y="350"/>
                    <a:pt x="405" y="358"/>
                    <a:pt x="402" y="359"/>
                  </a:cubicBezTo>
                  <a:cubicBezTo>
                    <a:pt x="408" y="359"/>
                    <a:pt x="408" y="369"/>
                    <a:pt x="415" y="365"/>
                  </a:cubicBezTo>
                  <a:cubicBezTo>
                    <a:pt x="410" y="370"/>
                    <a:pt x="422" y="365"/>
                    <a:pt x="423" y="369"/>
                  </a:cubicBezTo>
                  <a:close/>
                  <a:moveTo>
                    <a:pt x="467" y="301"/>
                  </a:moveTo>
                  <a:cubicBezTo>
                    <a:pt x="466" y="302"/>
                    <a:pt x="467" y="304"/>
                    <a:pt x="466" y="305"/>
                  </a:cubicBezTo>
                  <a:cubicBezTo>
                    <a:pt x="465" y="307"/>
                    <a:pt x="462" y="306"/>
                    <a:pt x="461" y="308"/>
                  </a:cubicBezTo>
                  <a:cubicBezTo>
                    <a:pt x="462" y="309"/>
                    <a:pt x="466" y="312"/>
                    <a:pt x="466" y="314"/>
                  </a:cubicBezTo>
                  <a:cubicBezTo>
                    <a:pt x="466" y="314"/>
                    <a:pt x="463" y="314"/>
                    <a:pt x="464" y="316"/>
                  </a:cubicBezTo>
                  <a:cubicBezTo>
                    <a:pt x="465" y="317"/>
                    <a:pt x="468" y="316"/>
                    <a:pt x="470" y="319"/>
                  </a:cubicBezTo>
                  <a:cubicBezTo>
                    <a:pt x="470" y="317"/>
                    <a:pt x="472" y="316"/>
                    <a:pt x="473" y="316"/>
                  </a:cubicBezTo>
                  <a:cubicBezTo>
                    <a:pt x="474" y="311"/>
                    <a:pt x="471" y="311"/>
                    <a:pt x="470" y="308"/>
                  </a:cubicBezTo>
                  <a:cubicBezTo>
                    <a:pt x="472" y="307"/>
                    <a:pt x="475" y="306"/>
                    <a:pt x="474" y="302"/>
                  </a:cubicBezTo>
                  <a:cubicBezTo>
                    <a:pt x="472" y="302"/>
                    <a:pt x="471" y="301"/>
                    <a:pt x="473" y="299"/>
                  </a:cubicBezTo>
                  <a:cubicBezTo>
                    <a:pt x="471" y="300"/>
                    <a:pt x="469" y="300"/>
                    <a:pt x="467" y="301"/>
                  </a:cubicBezTo>
                  <a:close/>
                  <a:moveTo>
                    <a:pt x="273" y="341"/>
                  </a:moveTo>
                  <a:cubicBezTo>
                    <a:pt x="272" y="347"/>
                    <a:pt x="283" y="343"/>
                    <a:pt x="283" y="341"/>
                  </a:cubicBezTo>
                  <a:cubicBezTo>
                    <a:pt x="279" y="339"/>
                    <a:pt x="277" y="339"/>
                    <a:pt x="273" y="341"/>
                  </a:cubicBezTo>
                  <a:close/>
                  <a:moveTo>
                    <a:pt x="307" y="617"/>
                  </a:moveTo>
                  <a:cubicBezTo>
                    <a:pt x="309" y="611"/>
                    <a:pt x="317" y="611"/>
                    <a:pt x="316" y="602"/>
                  </a:cubicBezTo>
                  <a:cubicBezTo>
                    <a:pt x="312" y="605"/>
                    <a:pt x="304" y="599"/>
                    <a:pt x="300" y="603"/>
                  </a:cubicBezTo>
                  <a:cubicBezTo>
                    <a:pt x="306" y="604"/>
                    <a:pt x="299" y="604"/>
                    <a:pt x="298" y="606"/>
                  </a:cubicBezTo>
                  <a:cubicBezTo>
                    <a:pt x="299" y="605"/>
                    <a:pt x="300" y="609"/>
                    <a:pt x="300" y="611"/>
                  </a:cubicBezTo>
                  <a:cubicBezTo>
                    <a:pt x="300" y="612"/>
                    <a:pt x="300" y="615"/>
                    <a:pt x="298" y="615"/>
                  </a:cubicBezTo>
                  <a:cubicBezTo>
                    <a:pt x="298" y="614"/>
                    <a:pt x="297" y="613"/>
                    <a:pt x="297" y="615"/>
                  </a:cubicBezTo>
                  <a:cubicBezTo>
                    <a:pt x="299" y="617"/>
                    <a:pt x="303" y="617"/>
                    <a:pt x="307" y="617"/>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103" name="Freeform 88">
              <a:extLst>
                <a:ext uri="{FF2B5EF4-FFF2-40B4-BE49-F238E27FC236}">
                  <a16:creationId xmlns:a16="http://schemas.microsoft.com/office/drawing/2014/main" id="{5B092595-A92B-4BB2-B897-A8C47E670097}"/>
                </a:ext>
              </a:extLst>
            </p:cNvPr>
            <p:cNvSpPr>
              <a:spLocks/>
            </p:cNvSpPr>
            <p:nvPr/>
          </p:nvSpPr>
          <p:spPr bwMode="auto">
            <a:xfrm>
              <a:off x="6380194" y="1429860"/>
              <a:ext cx="51947" cy="27705"/>
            </a:xfrm>
            <a:custGeom>
              <a:avLst/>
              <a:gdLst>
                <a:gd name="T0" fmla="*/ 14 w 19"/>
                <a:gd name="T1" fmla="*/ 0 h 10"/>
                <a:gd name="T2" fmla="*/ 17 w 19"/>
                <a:gd name="T3" fmla="*/ 9 h 10"/>
                <a:gd name="T4" fmla="*/ 0 w 19"/>
                <a:gd name="T5" fmla="*/ 4 h 10"/>
                <a:gd name="T6" fmla="*/ 14 w 19"/>
                <a:gd name="T7" fmla="*/ 0 h 10"/>
              </a:gdLst>
              <a:ahLst/>
              <a:cxnLst>
                <a:cxn ang="0">
                  <a:pos x="T0" y="T1"/>
                </a:cxn>
                <a:cxn ang="0">
                  <a:pos x="T2" y="T3"/>
                </a:cxn>
                <a:cxn ang="0">
                  <a:pos x="T4" y="T5"/>
                </a:cxn>
                <a:cxn ang="0">
                  <a:pos x="T6" y="T7"/>
                </a:cxn>
              </a:cxnLst>
              <a:rect l="0" t="0" r="r" b="b"/>
              <a:pathLst>
                <a:path w="19" h="10">
                  <a:moveTo>
                    <a:pt x="14" y="0"/>
                  </a:moveTo>
                  <a:cubicBezTo>
                    <a:pt x="14" y="4"/>
                    <a:pt x="19" y="3"/>
                    <a:pt x="17" y="9"/>
                  </a:cubicBezTo>
                  <a:cubicBezTo>
                    <a:pt x="9" y="10"/>
                    <a:pt x="4" y="7"/>
                    <a:pt x="0" y="4"/>
                  </a:cubicBezTo>
                  <a:cubicBezTo>
                    <a:pt x="3" y="1"/>
                    <a:pt x="9" y="1"/>
                    <a:pt x="14" y="0"/>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104" name="Freeform 89">
              <a:extLst>
                <a:ext uri="{FF2B5EF4-FFF2-40B4-BE49-F238E27FC236}">
                  <a16:creationId xmlns:a16="http://schemas.microsoft.com/office/drawing/2014/main" id="{26A9BA38-3579-4311-933D-CE274C1F2CFD}"/>
                </a:ext>
              </a:extLst>
            </p:cNvPr>
            <p:cNvSpPr>
              <a:spLocks noEditPoints="1"/>
            </p:cNvSpPr>
            <p:nvPr/>
          </p:nvSpPr>
          <p:spPr bwMode="auto">
            <a:xfrm>
              <a:off x="6484087" y="1478344"/>
              <a:ext cx="485991" cy="338231"/>
            </a:xfrm>
            <a:custGeom>
              <a:avLst/>
              <a:gdLst>
                <a:gd name="T0" fmla="*/ 17 w 178"/>
                <a:gd name="T1" fmla="*/ 7 h 124"/>
                <a:gd name="T2" fmla="*/ 23 w 178"/>
                <a:gd name="T3" fmla="*/ 5 h 124"/>
                <a:gd name="T4" fmla="*/ 23 w 178"/>
                <a:gd name="T5" fmla="*/ 8 h 124"/>
                <a:gd name="T6" fmla="*/ 23 w 178"/>
                <a:gd name="T7" fmla="*/ 14 h 124"/>
                <a:gd name="T8" fmla="*/ 28 w 178"/>
                <a:gd name="T9" fmla="*/ 26 h 124"/>
                <a:gd name="T10" fmla="*/ 38 w 178"/>
                <a:gd name="T11" fmla="*/ 7 h 124"/>
                <a:gd name="T12" fmla="*/ 51 w 178"/>
                <a:gd name="T13" fmla="*/ 5 h 124"/>
                <a:gd name="T14" fmla="*/ 60 w 178"/>
                <a:gd name="T15" fmla="*/ 20 h 124"/>
                <a:gd name="T16" fmla="*/ 71 w 178"/>
                <a:gd name="T17" fmla="*/ 17 h 124"/>
                <a:gd name="T18" fmla="*/ 86 w 178"/>
                <a:gd name="T19" fmla="*/ 16 h 124"/>
                <a:gd name="T20" fmla="*/ 91 w 178"/>
                <a:gd name="T21" fmla="*/ 22 h 124"/>
                <a:gd name="T22" fmla="*/ 97 w 178"/>
                <a:gd name="T23" fmla="*/ 25 h 124"/>
                <a:gd name="T24" fmla="*/ 100 w 178"/>
                <a:gd name="T25" fmla="*/ 26 h 124"/>
                <a:gd name="T26" fmla="*/ 114 w 178"/>
                <a:gd name="T27" fmla="*/ 29 h 124"/>
                <a:gd name="T28" fmla="*/ 126 w 178"/>
                <a:gd name="T29" fmla="*/ 35 h 124"/>
                <a:gd name="T30" fmla="*/ 130 w 178"/>
                <a:gd name="T31" fmla="*/ 39 h 124"/>
                <a:gd name="T32" fmla="*/ 139 w 178"/>
                <a:gd name="T33" fmla="*/ 47 h 124"/>
                <a:gd name="T34" fmla="*/ 133 w 178"/>
                <a:gd name="T35" fmla="*/ 59 h 124"/>
                <a:gd name="T36" fmla="*/ 146 w 178"/>
                <a:gd name="T37" fmla="*/ 60 h 124"/>
                <a:gd name="T38" fmla="*/ 149 w 178"/>
                <a:gd name="T39" fmla="*/ 68 h 124"/>
                <a:gd name="T40" fmla="*/ 161 w 178"/>
                <a:gd name="T41" fmla="*/ 69 h 124"/>
                <a:gd name="T42" fmla="*/ 169 w 178"/>
                <a:gd name="T43" fmla="*/ 77 h 124"/>
                <a:gd name="T44" fmla="*/ 172 w 178"/>
                <a:gd name="T45" fmla="*/ 82 h 124"/>
                <a:gd name="T46" fmla="*/ 164 w 178"/>
                <a:gd name="T47" fmla="*/ 93 h 124"/>
                <a:gd name="T48" fmla="*/ 154 w 178"/>
                <a:gd name="T49" fmla="*/ 91 h 124"/>
                <a:gd name="T50" fmla="*/ 145 w 178"/>
                <a:gd name="T51" fmla="*/ 82 h 124"/>
                <a:gd name="T52" fmla="*/ 137 w 178"/>
                <a:gd name="T53" fmla="*/ 90 h 124"/>
                <a:gd name="T54" fmla="*/ 148 w 178"/>
                <a:gd name="T55" fmla="*/ 96 h 124"/>
                <a:gd name="T56" fmla="*/ 154 w 178"/>
                <a:gd name="T57" fmla="*/ 106 h 124"/>
                <a:gd name="T58" fmla="*/ 149 w 178"/>
                <a:gd name="T59" fmla="*/ 117 h 124"/>
                <a:gd name="T60" fmla="*/ 130 w 178"/>
                <a:gd name="T61" fmla="*/ 109 h 124"/>
                <a:gd name="T62" fmla="*/ 136 w 178"/>
                <a:gd name="T63" fmla="*/ 117 h 124"/>
                <a:gd name="T64" fmla="*/ 143 w 178"/>
                <a:gd name="T65" fmla="*/ 121 h 124"/>
                <a:gd name="T66" fmla="*/ 136 w 178"/>
                <a:gd name="T67" fmla="*/ 121 h 124"/>
                <a:gd name="T68" fmla="*/ 120 w 178"/>
                <a:gd name="T69" fmla="*/ 115 h 124"/>
                <a:gd name="T70" fmla="*/ 111 w 178"/>
                <a:gd name="T71" fmla="*/ 111 h 124"/>
                <a:gd name="T72" fmla="*/ 106 w 178"/>
                <a:gd name="T73" fmla="*/ 103 h 124"/>
                <a:gd name="T74" fmla="*/ 97 w 178"/>
                <a:gd name="T75" fmla="*/ 87 h 124"/>
                <a:gd name="T76" fmla="*/ 99 w 178"/>
                <a:gd name="T77" fmla="*/ 82 h 124"/>
                <a:gd name="T78" fmla="*/ 102 w 178"/>
                <a:gd name="T79" fmla="*/ 77 h 124"/>
                <a:gd name="T80" fmla="*/ 106 w 178"/>
                <a:gd name="T81" fmla="*/ 69 h 124"/>
                <a:gd name="T82" fmla="*/ 102 w 178"/>
                <a:gd name="T83" fmla="*/ 60 h 124"/>
                <a:gd name="T84" fmla="*/ 96 w 178"/>
                <a:gd name="T85" fmla="*/ 56 h 124"/>
                <a:gd name="T86" fmla="*/ 91 w 178"/>
                <a:gd name="T87" fmla="*/ 56 h 124"/>
                <a:gd name="T88" fmla="*/ 86 w 178"/>
                <a:gd name="T89" fmla="*/ 54 h 124"/>
                <a:gd name="T90" fmla="*/ 74 w 178"/>
                <a:gd name="T91" fmla="*/ 41 h 124"/>
                <a:gd name="T92" fmla="*/ 62 w 178"/>
                <a:gd name="T93" fmla="*/ 44 h 124"/>
                <a:gd name="T94" fmla="*/ 51 w 178"/>
                <a:gd name="T95" fmla="*/ 44 h 124"/>
                <a:gd name="T96" fmla="*/ 40 w 178"/>
                <a:gd name="T97" fmla="*/ 44 h 124"/>
                <a:gd name="T98" fmla="*/ 17 w 178"/>
                <a:gd name="T99" fmla="*/ 39 h 124"/>
                <a:gd name="T100" fmla="*/ 7 w 178"/>
                <a:gd name="T101" fmla="*/ 34 h 124"/>
                <a:gd name="T102" fmla="*/ 4 w 178"/>
                <a:gd name="T103" fmla="*/ 26 h 124"/>
                <a:gd name="T104" fmla="*/ 5 w 178"/>
                <a:gd name="T105" fmla="*/ 20 h 124"/>
                <a:gd name="T106" fmla="*/ 115 w 178"/>
                <a:gd name="T107" fmla="*/ 85 h 124"/>
                <a:gd name="T108" fmla="*/ 123 w 178"/>
                <a:gd name="T109" fmla="*/ 79 h 124"/>
                <a:gd name="T110" fmla="*/ 115 w 178"/>
                <a:gd name="T111" fmla="*/ 85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8" h="124">
                  <a:moveTo>
                    <a:pt x="7" y="8"/>
                  </a:moveTo>
                  <a:cubicBezTo>
                    <a:pt x="10" y="13"/>
                    <a:pt x="16" y="3"/>
                    <a:pt x="17" y="7"/>
                  </a:cubicBezTo>
                  <a:cubicBezTo>
                    <a:pt x="19" y="7"/>
                    <a:pt x="18" y="4"/>
                    <a:pt x="19" y="4"/>
                  </a:cubicBezTo>
                  <a:cubicBezTo>
                    <a:pt x="21" y="3"/>
                    <a:pt x="22" y="6"/>
                    <a:pt x="23" y="5"/>
                  </a:cubicBezTo>
                  <a:cubicBezTo>
                    <a:pt x="25" y="5"/>
                    <a:pt x="25" y="0"/>
                    <a:pt x="29" y="4"/>
                  </a:cubicBezTo>
                  <a:cubicBezTo>
                    <a:pt x="29" y="11"/>
                    <a:pt x="26" y="6"/>
                    <a:pt x="23" y="8"/>
                  </a:cubicBezTo>
                  <a:cubicBezTo>
                    <a:pt x="22" y="10"/>
                    <a:pt x="26" y="10"/>
                    <a:pt x="26" y="10"/>
                  </a:cubicBezTo>
                  <a:cubicBezTo>
                    <a:pt x="26" y="12"/>
                    <a:pt x="24" y="12"/>
                    <a:pt x="23" y="14"/>
                  </a:cubicBezTo>
                  <a:cubicBezTo>
                    <a:pt x="23" y="16"/>
                    <a:pt x="24" y="17"/>
                    <a:pt x="25" y="19"/>
                  </a:cubicBezTo>
                  <a:cubicBezTo>
                    <a:pt x="25" y="21"/>
                    <a:pt x="24" y="26"/>
                    <a:pt x="28" y="26"/>
                  </a:cubicBezTo>
                  <a:cubicBezTo>
                    <a:pt x="31" y="25"/>
                    <a:pt x="28" y="18"/>
                    <a:pt x="29" y="14"/>
                  </a:cubicBezTo>
                  <a:cubicBezTo>
                    <a:pt x="36" y="16"/>
                    <a:pt x="36" y="10"/>
                    <a:pt x="38" y="7"/>
                  </a:cubicBezTo>
                  <a:cubicBezTo>
                    <a:pt x="40" y="10"/>
                    <a:pt x="44" y="4"/>
                    <a:pt x="45" y="8"/>
                  </a:cubicBezTo>
                  <a:cubicBezTo>
                    <a:pt x="48" y="8"/>
                    <a:pt x="47" y="4"/>
                    <a:pt x="51" y="5"/>
                  </a:cubicBezTo>
                  <a:cubicBezTo>
                    <a:pt x="51" y="11"/>
                    <a:pt x="55" y="12"/>
                    <a:pt x="59" y="13"/>
                  </a:cubicBezTo>
                  <a:cubicBezTo>
                    <a:pt x="57" y="17"/>
                    <a:pt x="58" y="17"/>
                    <a:pt x="60" y="20"/>
                  </a:cubicBezTo>
                  <a:cubicBezTo>
                    <a:pt x="63" y="18"/>
                    <a:pt x="64" y="18"/>
                    <a:pt x="66" y="20"/>
                  </a:cubicBezTo>
                  <a:cubicBezTo>
                    <a:pt x="69" y="21"/>
                    <a:pt x="69" y="18"/>
                    <a:pt x="71" y="17"/>
                  </a:cubicBezTo>
                  <a:cubicBezTo>
                    <a:pt x="72" y="16"/>
                    <a:pt x="75" y="18"/>
                    <a:pt x="75" y="16"/>
                  </a:cubicBezTo>
                  <a:cubicBezTo>
                    <a:pt x="79" y="17"/>
                    <a:pt x="81" y="17"/>
                    <a:pt x="86" y="16"/>
                  </a:cubicBezTo>
                  <a:cubicBezTo>
                    <a:pt x="85" y="19"/>
                    <a:pt x="89" y="18"/>
                    <a:pt x="88" y="17"/>
                  </a:cubicBezTo>
                  <a:cubicBezTo>
                    <a:pt x="90" y="18"/>
                    <a:pt x="90" y="20"/>
                    <a:pt x="91" y="22"/>
                  </a:cubicBezTo>
                  <a:cubicBezTo>
                    <a:pt x="92" y="23"/>
                    <a:pt x="95" y="23"/>
                    <a:pt x="96" y="23"/>
                  </a:cubicBezTo>
                  <a:cubicBezTo>
                    <a:pt x="97" y="24"/>
                    <a:pt x="96" y="25"/>
                    <a:pt x="97" y="25"/>
                  </a:cubicBezTo>
                  <a:cubicBezTo>
                    <a:pt x="101" y="25"/>
                    <a:pt x="96" y="27"/>
                    <a:pt x="99" y="29"/>
                  </a:cubicBezTo>
                  <a:cubicBezTo>
                    <a:pt x="100" y="30"/>
                    <a:pt x="100" y="27"/>
                    <a:pt x="100" y="26"/>
                  </a:cubicBezTo>
                  <a:cubicBezTo>
                    <a:pt x="103" y="28"/>
                    <a:pt x="103" y="30"/>
                    <a:pt x="106" y="31"/>
                  </a:cubicBezTo>
                  <a:cubicBezTo>
                    <a:pt x="109" y="31"/>
                    <a:pt x="110" y="29"/>
                    <a:pt x="114" y="29"/>
                  </a:cubicBezTo>
                  <a:cubicBezTo>
                    <a:pt x="113" y="35"/>
                    <a:pt x="122" y="31"/>
                    <a:pt x="123" y="36"/>
                  </a:cubicBezTo>
                  <a:cubicBezTo>
                    <a:pt x="124" y="37"/>
                    <a:pt x="125" y="36"/>
                    <a:pt x="126" y="35"/>
                  </a:cubicBezTo>
                  <a:cubicBezTo>
                    <a:pt x="128" y="36"/>
                    <a:pt x="128" y="38"/>
                    <a:pt x="128" y="41"/>
                  </a:cubicBezTo>
                  <a:cubicBezTo>
                    <a:pt x="130" y="41"/>
                    <a:pt x="130" y="40"/>
                    <a:pt x="130" y="39"/>
                  </a:cubicBezTo>
                  <a:cubicBezTo>
                    <a:pt x="132" y="42"/>
                    <a:pt x="134" y="45"/>
                    <a:pt x="139" y="44"/>
                  </a:cubicBezTo>
                  <a:cubicBezTo>
                    <a:pt x="138" y="45"/>
                    <a:pt x="137" y="47"/>
                    <a:pt x="139" y="47"/>
                  </a:cubicBezTo>
                  <a:cubicBezTo>
                    <a:pt x="140" y="50"/>
                    <a:pt x="134" y="52"/>
                    <a:pt x="139" y="53"/>
                  </a:cubicBezTo>
                  <a:cubicBezTo>
                    <a:pt x="137" y="55"/>
                    <a:pt x="133" y="55"/>
                    <a:pt x="133" y="59"/>
                  </a:cubicBezTo>
                  <a:cubicBezTo>
                    <a:pt x="136" y="64"/>
                    <a:pt x="143" y="57"/>
                    <a:pt x="145" y="63"/>
                  </a:cubicBezTo>
                  <a:cubicBezTo>
                    <a:pt x="146" y="63"/>
                    <a:pt x="146" y="61"/>
                    <a:pt x="146" y="60"/>
                  </a:cubicBezTo>
                  <a:cubicBezTo>
                    <a:pt x="148" y="60"/>
                    <a:pt x="147" y="63"/>
                    <a:pt x="148" y="65"/>
                  </a:cubicBezTo>
                  <a:cubicBezTo>
                    <a:pt x="148" y="65"/>
                    <a:pt x="149" y="68"/>
                    <a:pt x="149" y="68"/>
                  </a:cubicBezTo>
                  <a:cubicBezTo>
                    <a:pt x="151" y="68"/>
                    <a:pt x="153" y="64"/>
                    <a:pt x="152" y="71"/>
                  </a:cubicBezTo>
                  <a:cubicBezTo>
                    <a:pt x="156" y="71"/>
                    <a:pt x="157" y="68"/>
                    <a:pt x="161" y="69"/>
                  </a:cubicBezTo>
                  <a:cubicBezTo>
                    <a:pt x="162" y="70"/>
                    <a:pt x="163" y="72"/>
                    <a:pt x="163" y="74"/>
                  </a:cubicBezTo>
                  <a:cubicBezTo>
                    <a:pt x="165" y="74"/>
                    <a:pt x="170" y="72"/>
                    <a:pt x="169" y="77"/>
                  </a:cubicBezTo>
                  <a:cubicBezTo>
                    <a:pt x="174" y="74"/>
                    <a:pt x="171" y="77"/>
                    <a:pt x="176" y="78"/>
                  </a:cubicBezTo>
                  <a:cubicBezTo>
                    <a:pt x="178" y="81"/>
                    <a:pt x="171" y="83"/>
                    <a:pt x="172" y="82"/>
                  </a:cubicBezTo>
                  <a:cubicBezTo>
                    <a:pt x="171" y="83"/>
                    <a:pt x="173" y="84"/>
                    <a:pt x="173" y="84"/>
                  </a:cubicBezTo>
                  <a:cubicBezTo>
                    <a:pt x="169" y="88"/>
                    <a:pt x="166" y="87"/>
                    <a:pt x="164" y="93"/>
                  </a:cubicBezTo>
                  <a:cubicBezTo>
                    <a:pt x="162" y="93"/>
                    <a:pt x="161" y="93"/>
                    <a:pt x="161" y="94"/>
                  </a:cubicBezTo>
                  <a:cubicBezTo>
                    <a:pt x="160" y="93"/>
                    <a:pt x="154" y="94"/>
                    <a:pt x="154" y="91"/>
                  </a:cubicBezTo>
                  <a:cubicBezTo>
                    <a:pt x="154" y="88"/>
                    <a:pt x="146" y="91"/>
                    <a:pt x="148" y="85"/>
                  </a:cubicBezTo>
                  <a:cubicBezTo>
                    <a:pt x="145" y="86"/>
                    <a:pt x="145" y="84"/>
                    <a:pt x="145" y="82"/>
                  </a:cubicBezTo>
                  <a:cubicBezTo>
                    <a:pt x="143" y="82"/>
                    <a:pt x="141" y="82"/>
                    <a:pt x="139" y="82"/>
                  </a:cubicBezTo>
                  <a:cubicBezTo>
                    <a:pt x="136" y="82"/>
                    <a:pt x="138" y="88"/>
                    <a:pt x="137" y="90"/>
                  </a:cubicBezTo>
                  <a:cubicBezTo>
                    <a:pt x="138" y="93"/>
                    <a:pt x="141" y="93"/>
                    <a:pt x="142" y="96"/>
                  </a:cubicBezTo>
                  <a:cubicBezTo>
                    <a:pt x="145" y="94"/>
                    <a:pt x="147" y="100"/>
                    <a:pt x="148" y="96"/>
                  </a:cubicBezTo>
                  <a:cubicBezTo>
                    <a:pt x="150" y="98"/>
                    <a:pt x="151" y="101"/>
                    <a:pt x="151" y="105"/>
                  </a:cubicBezTo>
                  <a:cubicBezTo>
                    <a:pt x="150" y="106"/>
                    <a:pt x="153" y="105"/>
                    <a:pt x="154" y="106"/>
                  </a:cubicBezTo>
                  <a:cubicBezTo>
                    <a:pt x="156" y="110"/>
                    <a:pt x="152" y="116"/>
                    <a:pt x="152" y="119"/>
                  </a:cubicBezTo>
                  <a:cubicBezTo>
                    <a:pt x="149" y="121"/>
                    <a:pt x="150" y="117"/>
                    <a:pt x="149" y="117"/>
                  </a:cubicBezTo>
                  <a:cubicBezTo>
                    <a:pt x="147" y="115"/>
                    <a:pt x="142" y="116"/>
                    <a:pt x="142" y="112"/>
                  </a:cubicBezTo>
                  <a:cubicBezTo>
                    <a:pt x="136" y="113"/>
                    <a:pt x="137" y="107"/>
                    <a:pt x="130" y="109"/>
                  </a:cubicBezTo>
                  <a:cubicBezTo>
                    <a:pt x="130" y="112"/>
                    <a:pt x="135" y="110"/>
                    <a:pt x="136" y="112"/>
                  </a:cubicBezTo>
                  <a:cubicBezTo>
                    <a:pt x="131" y="117"/>
                    <a:pt x="141" y="114"/>
                    <a:pt x="136" y="117"/>
                  </a:cubicBezTo>
                  <a:cubicBezTo>
                    <a:pt x="136" y="119"/>
                    <a:pt x="140" y="118"/>
                    <a:pt x="142" y="119"/>
                  </a:cubicBezTo>
                  <a:cubicBezTo>
                    <a:pt x="143" y="120"/>
                    <a:pt x="142" y="121"/>
                    <a:pt x="143" y="121"/>
                  </a:cubicBezTo>
                  <a:cubicBezTo>
                    <a:pt x="146" y="121"/>
                    <a:pt x="146" y="122"/>
                    <a:pt x="146" y="124"/>
                  </a:cubicBezTo>
                  <a:cubicBezTo>
                    <a:pt x="142" y="124"/>
                    <a:pt x="139" y="123"/>
                    <a:pt x="136" y="121"/>
                  </a:cubicBezTo>
                  <a:cubicBezTo>
                    <a:pt x="134" y="120"/>
                    <a:pt x="130" y="120"/>
                    <a:pt x="127" y="118"/>
                  </a:cubicBezTo>
                  <a:cubicBezTo>
                    <a:pt x="125" y="117"/>
                    <a:pt x="122" y="115"/>
                    <a:pt x="120" y="115"/>
                  </a:cubicBezTo>
                  <a:cubicBezTo>
                    <a:pt x="118" y="115"/>
                    <a:pt x="118" y="113"/>
                    <a:pt x="117" y="112"/>
                  </a:cubicBezTo>
                  <a:cubicBezTo>
                    <a:pt x="115" y="111"/>
                    <a:pt x="112" y="112"/>
                    <a:pt x="111" y="111"/>
                  </a:cubicBezTo>
                  <a:cubicBezTo>
                    <a:pt x="109" y="109"/>
                    <a:pt x="110" y="108"/>
                    <a:pt x="109" y="106"/>
                  </a:cubicBezTo>
                  <a:cubicBezTo>
                    <a:pt x="109" y="105"/>
                    <a:pt x="105" y="106"/>
                    <a:pt x="106" y="103"/>
                  </a:cubicBezTo>
                  <a:cubicBezTo>
                    <a:pt x="100" y="103"/>
                    <a:pt x="99" y="97"/>
                    <a:pt x="96" y="94"/>
                  </a:cubicBezTo>
                  <a:cubicBezTo>
                    <a:pt x="97" y="94"/>
                    <a:pt x="95" y="89"/>
                    <a:pt x="97" y="87"/>
                  </a:cubicBezTo>
                  <a:cubicBezTo>
                    <a:pt x="98" y="87"/>
                    <a:pt x="100" y="87"/>
                    <a:pt x="100" y="87"/>
                  </a:cubicBezTo>
                  <a:cubicBezTo>
                    <a:pt x="101" y="86"/>
                    <a:pt x="98" y="84"/>
                    <a:pt x="99" y="82"/>
                  </a:cubicBezTo>
                  <a:cubicBezTo>
                    <a:pt x="99" y="82"/>
                    <a:pt x="102" y="83"/>
                    <a:pt x="102" y="82"/>
                  </a:cubicBezTo>
                  <a:cubicBezTo>
                    <a:pt x="103" y="82"/>
                    <a:pt x="101" y="78"/>
                    <a:pt x="102" y="77"/>
                  </a:cubicBezTo>
                  <a:cubicBezTo>
                    <a:pt x="102" y="76"/>
                    <a:pt x="104" y="77"/>
                    <a:pt x="105" y="77"/>
                  </a:cubicBezTo>
                  <a:cubicBezTo>
                    <a:pt x="107" y="75"/>
                    <a:pt x="105" y="70"/>
                    <a:pt x="106" y="69"/>
                  </a:cubicBezTo>
                  <a:cubicBezTo>
                    <a:pt x="106" y="67"/>
                    <a:pt x="104" y="68"/>
                    <a:pt x="102" y="68"/>
                  </a:cubicBezTo>
                  <a:cubicBezTo>
                    <a:pt x="102" y="65"/>
                    <a:pt x="102" y="63"/>
                    <a:pt x="102" y="60"/>
                  </a:cubicBezTo>
                  <a:cubicBezTo>
                    <a:pt x="100" y="60"/>
                    <a:pt x="99" y="61"/>
                    <a:pt x="99" y="62"/>
                  </a:cubicBezTo>
                  <a:cubicBezTo>
                    <a:pt x="96" y="61"/>
                    <a:pt x="98" y="57"/>
                    <a:pt x="96" y="56"/>
                  </a:cubicBezTo>
                  <a:cubicBezTo>
                    <a:pt x="95" y="55"/>
                    <a:pt x="94" y="57"/>
                    <a:pt x="93" y="57"/>
                  </a:cubicBezTo>
                  <a:cubicBezTo>
                    <a:pt x="93" y="57"/>
                    <a:pt x="92" y="56"/>
                    <a:pt x="91" y="56"/>
                  </a:cubicBezTo>
                  <a:cubicBezTo>
                    <a:pt x="90" y="55"/>
                    <a:pt x="89" y="53"/>
                    <a:pt x="88" y="53"/>
                  </a:cubicBezTo>
                  <a:cubicBezTo>
                    <a:pt x="88" y="52"/>
                    <a:pt x="87" y="55"/>
                    <a:pt x="86" y="54"/>
                  </a:cubicBezTo>
                  <a:cubicBezTo>
                    <a:pt x="85" y="54"/>
                    <a:pt x="83" y="51"/>
                    <a:pt x="80" y="51"/>
                  </a:cubicBezTo>
                  <a:cubicBezTo>
                    <a:pt x="86" y="45"/>
                    <a:pt x="71" y="48"/>
                    <a:pt x="74" y="41"/>
                  </a:cubicBezTo>
                  <a:cubicBezTo>
                    <a:pt x="70" y="41"/>
                    <a:pt x="66" y="41"/>
                    <a:pt x="66" y="45"/>
                  </a:cubicBezTo>
                  <a:cubicBezTo>
                    <a:pt x="64" y="47"/>
                    <a:pt x="62" y="44"/>
                    <a:pt x="62" y="44"/>
                  </a:cubicBezTo>
                  <a:cubicBezTo>
                    <a:pt x="61" y="44"/>
                    <a:pt x="59" y="46"/>
                    <a:pt x="57" y="45"/>
                  </a:cubicBezTo>
                  <a:cubicBezTo>
                    <a:pt x="55" y="45"/>
                    <a:pt x="54" y="44"/>
                    <a:pt x="51" y="44"/>
                  </a:cubicBezTo>
                  <a:cubicBezTo>
                    <a:pt x="49" y="44"/>
                    <a:pt x="48" y="46"/>
                    <a:pt x="45" y="45"/>
                  </a:cubicBezTo>
                  <a:cubicBezTo>
                    <a:pt x="42" y="45"/>
                    <a:pt x="42" y="44"/>
                    <a:pt x="40" y="44"/>
                  </a:cubicBezTo>
                  <a:cubicBezTo>
                    <a:pt x="33" y="43"/>
                    <a:pt x="27" y="45"/>
                    <a:pt x="20" y="42"/>
                  </a:cubicBezTo>
                  <a:cubicBezTo>
                    <a:pt x="20" y="42"/>
                    <a:pt x="18" y="40"/>
                    <a:pt x="17" y="39"/>
                  </a:cubicBezTo>
                  <a:cubicBezTo>
                    <a:pt x="15" y="39"/>
                    <a:pt x="12" y="40"/>
                    <a:pt x="13" y="36"/>
                  </a:cubicBezTo>
                  <a:cubicBezTo>
                    <a:pt x="10" y="36"/>
                    <a:pt x="5" y="38"/>
                    <a:pt x="7" y="34"/>
                  </a:cubicBezTo>
                  <a:cubicBezTo>
                    <a:pt x="12" y="35"/>
                    <a:pt x="13" y="32"/>
                    <a:pt x="16" y="31"/>
                  </a:cubicBezTo>
                  <a:cubicBezTo>
                    <a:pt x="14" y="27"/>
                    <a:pt x="6" y="30"/>
                    <a:pt x="4" y="26"/>
                  </a:cubicBezTo>
                  <a:cubicBezTo>
                    <a:pt x="3" y="26"/>
                    <a:pt x="3" y="27"/>
                    <a:pt x="3" y="28"/>
                  </a:cubicBezTo>
                  <a:cubicBezTo>
                    <a:pt x="0" y="27"/>
                    <a:pt x="4" y="21"/>
                    <a:pt x="5" y="20"/>
                  </a:cubicBezTo>
                  <a:cubicBezTo>
                    <a:pt x="4" y="15"/>
                    <a:pt x="8" y="14"/>
                    <a:pt x="7" y="8"/>
                  </a:cubicBezTo>
                  <a:close/>
                  <a:moveTo>
                    <a:pt x="115" y="85"/>
                  </a:moveTo>
                  <a:cubicBezTo>
                    <a:pt x="116" y="82"/>
                    <a:pt x="122" y="85"/>
                    <a:pt x="126" y="84"/>
                  </a:cubicBezTo>
                  <a:cubicBezTo>
                    <a:pt x="126" y="81"/>
                    <a:pt x="124" y="81"/>
                    <a:pt x="123" y="79"/>
                  </a:cubicBezTo>
                  <a:cubicBezTo>
                    <a:pt x="121" y="77"/>
                    <a:pt x="117" y="79"/>
                    <a:pt x="114" y="77"/>
                  </a:cubicBezTo>
                  <a:cubicBezTo>
                    <a:pt x="115" y="79"/>
                    <a:pt x="112" y="85"/>
                    <a:pt x="115" y="85"/>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105" name="Freeform 90">
              <a:extLst>
                <a:ext uri="{FF2B5EF4-FFF2-40B4-BE49-F238E27FC236}">
                  <a16:creationId xmlns:a16="http://schemas.microsoft.com/office/drawing/2014/main" id="{D3B031DE-F0FD-4302-A08F-7AAB96AE76FA}"/>
                </a:ext>
              </a:extLst>
            </p:cNvPr>
            <p:cNvSpPr>
              <a:spLocks/>
            </p:cNvSpPr>
            <p:nvPr/>
          </p:nvSpPr>
          <p:spPr bwMode="auto">
            <a:xfrm>
              <a:off x="6009640" y="1495659"/>
              <a:ext cx="300137" cy="152377"/>
            </a:xfrm>
            <a:custGeom>
              <a:avLst/>
              <a:gdLst>
                <a:gd name="T0" fmla="*/ 12 w 110"/>
                <a:gd name="T1" fmla="*/ 42 h 56"/>
                <a:gd name="T2" fmla="*/ 13 w 110"/>
                <a:gd name="T3" fmla="*/ 38 h 56"/>
                <a:gd name="T4" fmla="*/ 19 w 110"/>
                <a:gd name="T5" fmla="*/ 36 h 56"/>
                <a:gd name="T6" fmla="*/ 22 w 110"/>
                <a:gd name="T7" fmla="*/ 35 h 56"/>
                <a:gd name="T8" fmla="*/ 39 w 110"/>
                <a:gd name="T9" fmla="*/ 33 h 56"/>
                <a:gd name="T10" fmla="*/ 22 w 110"/>
                <a:gd name="T11" fmla="*/ 32 h 56"/>
                <a:gd name="T12" fmla="*/ 21 w 110"/>
                <a:gd name="T13" fmla="*/ 30 h 56"/>
                <a:gd name="T14" fmla="*/ 16 w 110"/>
                <a:gd name="T15" fmla="*/ 32 h 56"/>
                <a:gd name="T16" fmla="*/ 8 w 110"/>
                <a:gd name="T17" fmla="*/ 30 h 56"/>
                <a:gd name="T18" fmla="*/ 15 w 110"/>
                <a:gd name="T19" fmla="*/ 25 h 56"/>
                <a:gd name="T20" fmla="*/ 19 w 110"/>
                <a:gd name="T21" fmla="*/ 25 h 56"/>
                <a:gd name="T22" fmla="*/ 3 w 110"/>
                <a:gd name="T23" fmla="*/ 22 h 56"/>
                <a:gd name="T24" fmla="*/ 0 w 110"/>
                <a:gd name="T25" fmla="*/ 17 h 56"/>
                <a:gd name="T26" fmla="*/ 8 w 110"/>
                <a:gd name="T27" fmla="*/ 11 h 56"/>
                <a:gd name="T28" fmla="*/ 8 w 110"/>
                <a:gd name="T29" fmla="*/ 10 h 56"/>
                <a:gd name="T30" fmla="*/ 22 w 110"/>
                <a:gd name="T31" fmla="*/ 4 h 56"/>
                <a:gd name="T32" fmla="*/ 27 w 110"/>
                <a:gd name="T33" fmla="*/ 1 h 56"/>
                <a:gd name="T34" fmla="*/ 30 w 110"/>
                <a:gd name="T35" fmla="*/ 2 h 56"/>
                <a:gd name="T36" fmla="*/ 33 w 110"/>
                <a:gd name="T37" fmla="*/ 8 h 56"/>
                <a:gd name="T38" fmla="*/ 30 w 110"/>
                <a:gd name="T39" fmla="*/ 10 h 56"/>
                <a:gd name="T40" fmla="*/ 33 w 110"/>
                <a:gd name="T41" fmla="*/ 11 h 56"/>
                <a:gd name="T42" fmla="*/ 34 w 110"/>
                <a:gd name="T43" fmla="*/ 8 h 56"/>
                <a:gd name="T44" fmla="*/ 43 w 110"/>
                <a:gd name="T45" fmla="*/ 7 h 56"/>
                <a:gd name="T46" fmla="*/ 48 w 110"/>
                <a:gd name="T47" fmla="*/ 14 h 56"/>
                <a:gd name="T48" fmla="*/ 54 w 110"/>
                <a:gd name="T49" fmla="*/ 11 h 56"/>
                <a:gd name="T50" fmla="*/ 58 w 110"/>
                <a:gd name="T51" fmla="*/ 7 h 56"/>
                <a:gd name="T52" fmla="*/ 62 w 110"/>
                <a:gd name="T53" fmla="*/ 8 h 56"/>
                <a:gd name="T54" fmla="*/ 64 w 110"/>
                <a:gd name="T55" fmla="*/ 14 h 56"/>
                <a:gd name="T56" fmla="*/ 67 w 110"/>
                <a:gd name="T57" fmla="*/ 20 h 56"/>
                <a:gd name="T58" fmla="*/ 73 w 110"/>
                <a:gd name="T59" fmla="*/ 16 h 56"/>
                <a:gd name="T60" fmla="*/ 68 w 110"/>
                <a:gd name="T61" fmla="*/ 13 h 56"/>
                <a:gd name="T62" fmla="*/ 68 w 110"/>
                <a:gd name="T63" fmla="*/ 4 h 56"/>
                <a:gd name="T64" fmla="*/ 74 w 110"/>
                <a:gd name="T65" fmla="*/ 2 h 56"/>
                <a:gd name="T66" fmla="*/ 80 w 110"/>
                <a:gd name="T67" fmla="*/ 13 h 56"/>
                <a:gd name="T68" fmla="*/ 85 w 110"/>
                <a:gd name="T69" fmla="*/ 16 h 56"/>
                <a:gd name="T70" fmla="*/ 88 w 110"/>
                <a:gd name="T71" fmla="*/ 20 h 56"/>
                <a:gd name="T72" fmla="*/ 86 w 110"/>
                <a:gd name="T73" fmla="*/ 25 h 56"/>
                <a:gd name="T74" fmla="*/ 91 w 110"/>
                <a:gd name="T75" fmla="*/ 30 h 56"/>
                <a:gd name="T76" fmla="*/ 104 w 110"/>
                <a:gd name="T77" fmla="*/ 32 h 56"/>
                <a:gd name="T78" fmla="*/ 108 w 110"/>
                <a:gd name="T79" fmla="*/ 36 h 56"/>
                <a:gd name="T80" fmla="*/ 110 w 110"/>
                <a:gd name="T81" fmla="*/ 39 h 56"/>
                <a:gd name="T82" fmla="*/ 98 w 110"/>
                <a:gd name="T83" fmla="*/ 39 h 56"/>
                <a:gd name="T84" fmla="*/ 101 w 110"/>
                <a:gd name="T85" fmla="*/ 50 h 56"/>
                <a:gd name="T86" fmla="*/ 85 w 110"/>
                <a:gd name="T87" fmla="*/ 50 h 56"/>
                <a:gd name="T88" fmla="*/ 64 w 110"/>
                <a:gd name="T89" fmla="*/ 50 h 56"/>
                <a:gd name="T90" fmla="*/ 56 w 110"/>
                <a:gd name="T91" fmla="*/ 51 h 56"/>
                <a:gd name="T92" fmla="*/ 55 w 110"/>
                <a:gd name="T93" fmla="*/ 54 h 56"/>
                <a:gd name="T94" fmla="*/ 36 w 110"/>
                <a:gd name="T95" fmla="*/ 54 h 56"/>
                <a:gd name="T96" fmla="*/ 30 w 110"/>
                <a:gd name="T97" fmla="*/ 45 h 56"/>
                <a:gd name="T98" fmla="*/ 18 w 110"/>
                <a:gd name="T99" fmla="*/ 42 h 56"/>
                <a:gd name="T100" fmla="*/ 16 w 110"/>
                <a:gd name="T101" fmla="*/ 44 h 56"/>
                <a:gd name="T102" fmla="*/ 16 w 110"/>
                <a:gd name="T103" fmla="*/ 41 h 56"/>
                <a:gd name="T104" fmla="*/ 12 w 110"/>
                <a:gd name="T105" fmla="*/ 4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0" h="56">
                  <a:moveTo>
                    <a:pt x="12" y="42"/>
                  </a:moveTo>
                  <a:cubicBezTo>
                    <a:pt x="9" y="43"/>
                    <a:pt x="12" y="38"/>
                    <a:pt x="13" y="38"/>
                  </a:cubicBezTo>
                  <a:cubicBezTo>
                    <a:pt x="14" y="36"/>
                    <a:pt x="17" y="37"/>
                    <a:pt x="19" y="36"/>
                  </a:cubicBezTo>
                  <a:cubicBezTo>
                    <a:pt x="21" y="36"/>
                    <a:pt x="21" y="35"/>
                    <a:pt x="22" y="35"/>
                  </a:cubicBezTo>
                  <a:cubicBezTo>
                    <a:pt x="28" y="34"/>
                    <a:pt x="35" y="37"/>
                    <a:pt x="39" y="33"/>
                  </a:cubicBezTo>
                  <a:cubicBezTo>
                    <a:pt x="38" y="30"/>
                    <a:pt x="28" y="33"/>
                    <a:pt x="22" y="32"/>
                  </a:cubicBezTo>
                  <a:cubicBezTo>
                    <a:pt x="22" y="32"/>
                    <a:pt x="20" y="30"/>
                    <a:pt x="21" y="30"/>
                  </a:cubicBezTo>
                  <a:cubicBezTo>
                    <a:pt x="20" y="31"/>
                    <a:pt x="19" y="32"/>
                    <a:pt x="16" y="32"/>
                  </a:cubicBezTo>
                  <a:cubicBezTo>
                    <a:pt x="14" y="32"/>
                    <a:pt x="11" y="30"/>
                    <a:pt x="8" y="30"/>
                  </a:cubicBezTo>
                  <a:cubicBezTo>
                    <a:pt x="4" y="26"/>
                    <a:pt x="15" y="28"/>
                    <a:pt x="15" y="25"/>
                  </a:cubicBezTo>
                  <a:cubicBezTo>
                    <a:pt x="15" y="22"/>
                    <a:pt x="18" y="24"/>
                    <a:pt x="19" y="25"/>
                  </a:cubicBezTo>
                  <a:cubicBezTo>
                    <a:pt x="19" y="16"/>
                    <a:pt x="10" y="24"/>
                    <a:pt x="3" y="22"/>
                  </a:cubicBezTo>
                  <a:cubicBezTo>
                    <a:pt x="0" y="19"/>
                    <a:pt x="6" y="17"/>
                    <a:pt x="0" y="17"/>
                  </a:cubicBezTo>
                  <a:cubicBezTo>
                    <a:pt x="2" y="14"/>
                    <a:pt x="2" y="10"/>
                    <a:pt x="8" y="11"/>
                  </a:cubicBezTo>
                  <a:cubicBezTo>
                    <a:pt x="10" y="11"/>
                    <a:pt x="8" y="9"/>
                    <a:pt x="8" y="10"/>
                  </a:cubicBezTo>
                  <a:cubicBezTo>
                    <a:pt x="11" y="6"/>
                    <a:pt x="17" y="5"/>
                    <a:pt x="22" y="4"/>
                  </a:cubicBezTo>
                  <a:cubicBezTo>
                    <a:pt x="24" y="3"/>
                    <a:pt x="24" y="0"/>
                    <a:pt x="27" y="1"/>
                  </a:cubicBezTo>
                  <a:cubicBezTo>
                    <a:pt x="27" y="2"/>
                    <a:pt x="29" y="2"/>
                    <a:pt x="30" y="2"/>
                  </a:cubicBezTo>
                  <a:cubicBezTo>
                    <a:pt x="29" y="6"/>
                    <a:pt x="27" y="8"/>
                    <a:pt x="33" y="8"/>
                  </a:cubicBezTo>
                  <a:cubicBezTo>
                    <a:pt x="33" y="10"/>
                    <a:pt x="31" y="9"/>
                    <a:pt x="30" y="10"/>
                  </a:cubicBezTo>
                  <a:cubicBezTo>
                    <a:pt x="30" y="11"/>
                    <a:pt x="32" y="12"/>
                    <a:pt x="33" y="11"/>
                  </a:cubicBezTo>
                  <a:cubicBezTo>
                    <a:pt x="34" y="11"/>
                    <a:pt x="33" y="9"/>
                    <a:pt x="34" y="8"/>
                  </a:cubicBezTo>
                  <a:cubicBezTo>
                    <a:pt x="37" y="7"/>
                    <a:pt x="40" y="7"/>
                    <a:pt x="43" y="7"/>
                  </a:cubicBezTo>
                  <a:cubicBezTo>
                    <a:pt x="45" y="9"/>
                    <a:pt x="48" y="10"/>
                    <a:pt x="48" y="14"/>
                  </a:cubicBezTo>
                  <a:cubicBezTo>
                    <a:pt x="51" y="14"/>
                    <a:pt x="49" y="10"/>
                    <a:pt x="54" y="11"/>
                  </a:cubicBezTo>
                  <a:cubicBezTo>
                    <a:pt x="55" y="10"/>
                    <a:pt x="57" y="8"/>
                    <a:pt x="58" y="7"/>
                  </a:cubicBezTo>
                  <a:cubicBezTo>
                    <a:pt x="59" y="8"/>
                    <a:pt x="60" y="8"/>
                    <a:pt x="62" y="8"/>
                  </a:cubicBezTo>
                  <a:cubicBezTo>
                    <a:pt x="63" y="10"/>
                    <a:pt x="63" y="12"/>
                    <a:pt x="64" y="14"/>
                  </a:cubicBezTo>
                  <a:cubicBezTo>
                    <a:pt x="65" y="16"/>
                    <a:pt x="69" y="16"/>
                    <a:pt x="67" y="20"/>
                  </a:cubicBezTo>
                  <a:cubicBezTo>
                    <a:pt x="70" y="20"/>
                    <a:pt x="70" y="16"/>
                    <a:pt x="73" y="16"/>
                  </a:cubicBezTo>
                  <a:cubicBezTo>
                    <a:pt x="73" y="14"/>
                    <a:pt x="69" y="14"/>
                    <a:pt x="68" y="13"/>
                  </a:cubicBezTo>
                  <a:cubicBezTo>
                    <a:pt x="67" y="10"/>
                    <a:pt x="69" y="8"/>
                    <a:pt x="68" y="4"/>
                  </a:cubicBezTo>
                  <a:cubicBezTo>
                    <a:pt x="71" y="4"/>
                    <a:pt x="71" y="2"/>
                    <a:pt x="74" y="2"/>
                  </a:cubicBezTo>
                  <a:cubicBezTo>
                    <a:pt x="75" y="5"/>
                    <a:pt x="78" y="9"/>
                    <a:pt x="80" y="13"/>
                  </a:cubicBezTo>
                  <a:cubicBezTo>
                    <a:pt x="80" y="13"/>
                    <a:pt x="84" y="19"/>
                    <a:pt x="85" y="16"/>
                  </a:cubicBezTo>
                  <a:cubicBezTo>
                    <a:pt x="87" y="16"/>
                    <a:pt x="85" y="20"/>
                    <a:pt x="88" y="20"/>
                  </a:cubicBezTo>
                  <a:cubicBezTo>
                    <a:pt x="88" y="22"/>
                    <a:pt x="88" y="24"/>
                    <a:pt x="86" y="25"/>
                  </a:cubicBezTo>
                  <a:cubicBezTo>
                    <a:pt x="87" y="27"/>
                    <a:pt x="92" y="26"/>
                    <a:pt x="91" y="30"/>
                  </a:cubicBezTo>
                  <a:cubicBezTo>
                    <a:pt x="96" y="27"/>
                    <a:pt x="97" y="33"/>
                    <a:pt x="104" y="32"/>
                  </a:cubicBezTo>
                  <a:cubicBezTo>
                    <a:pt x="101" y="38"/>
                    <a:pt x="108" y="36"/>
                    <a:pt x="108" y="36"/>
                  </a:cubicBezTo>
                  <a:cubicBezTo>
                    <a:pt x="109" y="37"/>
                    <a:pt x="106" y="41"/>
                    <a:pt x="110" y="39"/>
                  </a:cubicBezTo>
                  <a:cubicBezTo>
                    <a:pt x="107" y="46"/>
                    <a:pt x="104" y="37"/>
                    <a:pt x="98" y="39"/>
                  </a:cubicBezTo>
                  <a:cubicBezTo>
                    <a:pt x="97" y="45"/>
                    <a:pt x="103" y="43"/>
                    <a:pt x="101" y="50"/>
                  </a:cubicBezTo>
                  <a:cubicBezTo>
                    <a:pt x="96" y="51"/>
                    <a:pt x="89" y="53"/>
                    <a:pt x="85" y="50"/>
                  </a:cubicBezTo>
                  <a:cubicBezTo>
                    <a:pt x="80" y="47"/>
                    <a:pt x="70" y="46"/>
                    <a:pt x="64" y="50"/>
                  </a:cubicBezTo>
                  <a:cubicBezTo>
                    <a:pt x="62" y="51"/>
                    <a:pt x="60" y="50"/>
                    <a:pt x="56" y="51"/>
                  </a:cubicBezTo>
                  <a:cubicBezTo>
                    <a:pt x="55" y="52"/>
                    <a:pt x="55" y="53"/>
                    <a:pt x="55" y="54"/>
                  </a:cubicBezTo>
                  <a:cubicBezTo>
                    <a:pt x="51" y="52"/>
                    <a:pt x="43" y="56"/>
                    <a:pt x="36" y="54"/>
                  </a:cubicBezTo>
                  <a:cubicBezTo>
                    <a:pt x="34" y="51"/>
                    <a:pt x="32" y="48"/>
                    <a:pt x="30" y="45"/>
                  </a:cubicBezTo>
                  <a:cubicBezTo>
                    <a:pt x="25" y="45"/>
                    <a:pt x="18" y="47"/>
                    <a:pt x="18" y="42"/>
                  </a:cubicBezTo>
                  <a:cubicBezTo>
                    <a:pt x="17" y="42"/>
                    <a:pt x="17" y="43"/>
                    <a:pt x="16" y="44"/>
                  </a:cubicBezTo>
                  <a:cubicBezTo>
                    <a:pt x="15" y="43"/>
                    <a:pt x="15" y="41"/>
                    <a:pt x="16" y="41"/>
                  </a:cubicBezTo>
                  <a:cubicBezTo>
                    <a:pt x="17" y="38"/>
                    <a:pt x="12" y="41"/>
                    <a:pt x="12" y="42"/>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106" name="Freeform 91">
              <a:extLst>
                <a:ext uri="{FF2B5EF4-FFF2-40B4-BE49-F238E27FC236}">
                  <a16:creationId xmlns:a16="http://schemas.microsoft.com/office/drawing/2014/main" id="{3AD313A6-E8A4-4495-B746-E5C9BE5DE493}"/>
                </a:ext>
              </a:extLst>
            </p:cNvPr>
            <p:cNvSpPr>
              <a:spLocks noEditPoints="1"/>
            </p:cNvSpPr>
            <p:nvPr/>
          </p:nvSpPr>
          <p:spPr bwMode="auto">
            <a:xfrm>
              <a:off x="5210814" y="1530290"/>
              <a:ext cx="2143671" cy="2487673"/>
            </a:xfrm>
            <a:custGeom>
              <a:avLst/>
              <a:gdLst>
                <a:gd name="T0" fmla="*/ 514 w 786"/>
                <a:gd name="T1" fmla="*/ 60 h 912"/>
                <a:gd name="T2" fmla="*/ 462 w 786"/>
                <a:gd name="T3" fmla="*/ 96 h 912"/>
                <a:gd name="T4" fmla="*/ 456 w 786"/>
                <a:gd name="T5" fmla="*/ 149 h 912"/>
                <a:gd name="T6" fmla="*/ 520 w 786"/>
                <a:gd name="T7" fmla="*/ 192 h 912"/>
                <a:gd name="T8" fmla="*/ 541 w 786"/>
                <a:gd name="T9" fmla="*/ 135 h 912"/>
                <a:gd name="T10" fmla="*/ 594 w 786"/>
                <a:gd name="T11" fmla="*/ 133 h 912"/>
                <a:gd name="T12" fmla="*/ 643 w 786"/>
                <a:gd name="T13" fmla="*/ 146 h 912"/>
                <a:gd name="T14" fmla="*/ 662 w 786"/>
                <a:gd name="T15" fmla="*/ 197 h 912"/>
                <a:gd name="T16" fmla="*/ 601 w 786"/>
                <a:gd name="T17" fmla="*/ 219 h 912"/>
                <a:gd name="T18" fmla="*/ 639 w 786"/>
                <a:gd name="T19" fmla="*/ 241 h 912"/>
                <a:gd name="T20" fmla="*/ 624 w 786"/>
                <a:gd name="T21" fmla="*/ 249 h 912"/>
                <a:gd name="T22" fmla="*/ 557 w 786"/>
                <a:gd name="T23" fmla="*/ 298 h 912"/>
                <a:gd name="T24" fmla="*/ 529 w 786"/>
                <a:gd name="T25" fmla="*/ 381 h 912"/>
                <a:gd name="T26" fmla="*/ 471 w 786"/>
                <a:gd name="T27" fmla="*/ 348 h 912"/>
                <a:gd name="T28" fmla="*/ 425 w 786"/>
                <a:gd name="T29" fmla="*/ 410 h 912"/>
                <a:gd name="T30" fmla="*/ 477 w 786"/>
                <a:gd name="T31" fmla="*/ 435 h 912"/>
                <a:gd name="T32" fmla="*/ 550 w 786"/>
                <a:gd name="T33" fmla="*/ 484 h 912"/>
                <a:gd name="T34" fmla="*/ 609 w 786"/>
                <a:gd name="T35" fmla="*/ 475 h 912"/>
                <a:gd name="T36" fmla="*/ 702 w 786"/>
                <a:gd name="T37" fmla="*/ 515 h 912"/>
                <a:gd name="T38" fmla="*/ 785 w 786"/>
                <a:gd name="T39" fmla="*/ 566 h 912"/>
                <a:gd name="T40" fmla="*/ 750 w 786"/>
                <a:gd name="T41" fmla="*/ 680 h 912"/>
                <a:gd name="T42" fmla="*/ 704 w 786"/>
                <a:gd name="T43" fmla="*/ 730 h 912"/>
                <a:gd name="T44" fmla="*/ 659 w 786"/>
                <a:gd name="T45" fmla="*/ 779 h 912"/>
                <a:gd name="T46" fmla="*/ 619 w 786"/>
                <a:gd name="T47" fmla="*/ 825 h 912"/>
                <a:gd name="T48" fmla="*/ 601 w 786"/>
                <a:gd name="T49" fmla="*/ 861 h 912"/>
                <a:gd name="T50" fmla="*/ 569 w 786"/>
                <a:gd name="T51" fmla="*/ 896 h 912"/>
                <a:gd name="T52" fmla="*/ 558 w 786"/>
                <a:gd name="T53" fmla="*/ 847 h 912"/>
                <a:gd name="T54" fmla="*/ 584 w 786"/>
                <a:gd name="T55" fmla="*/ 745 h 912"/>
                <a:gd name="T56" fmla="*/ 581 w 786"/>
                <a:gd name="T57" fmla="*/ 647 h 912"/>
                <a:gd name="T58" fmla="*/ 529 w 786"/>
                <a:gd name="T59" fmla="*/ 581 h 912"/>
                <a:gd name="T60" fmla="*/ 539 w 786"/>
                <a:gd name="T61" fmla="*/ 526 h 912"/>
                <a:gd name="T62" fmla="*/ 493 w 786"/>
                <a:gd name="T63" fmla="*/ 468 h 912"/>
                <a:gd name="T64" fmla="*/ 444 w 786"/>
                <a:gd name="T65" fmla="*/ 438 h 912"/>
                <a:gd name="T66" fmla="*/ 369 w 786"/>
                <a:gd name="T67" fmla="*/ 395 h 912"/>
                <a:gd name="T68" fmla="*/ 326 w 786"/>
                <a:gd name="T69" fmla="*/ 351 h 912"/>
                <a:gd name="T70" fmla="*/ 326 w 786"/>
                <a:gd name="T71" fmla="*/ 369 h 912"/>
                <a:gd name="T72" fmla="*/ 281 w 786"/>
                <a:gd name="T73" fmla="*/ 312 h 912"/>
                <a:gd name="T74" fmla="*/ 253 w 786"/>
                <a:gd name="T75" fmla="*/ 213 h 912"/>
                <a:gd name="T76" fmla="*/ 237 w 786"/>
                <a:gd name="T77" fmla="*/ 186 h 912"/>
                <a:gd name="T78" fmla="*/ 194 w 786"/>
                <a:gd name="T79" fmla="*/ 139 h 912"/>
                <a:gd name="T80" fmla="*/ 120 w 786"/>
                <a:gd name="T81" fmla="*/ 115 h 912"/>
                <a:gd name="T82" fmla="*/ 83 w 786"/>
                <a:gd name="T83" fmla="*/ 135 h 912"/>
                <a:gd name="T84" fmla="*/ 46 w 786"/>
                <a:gd name="T85" fmla="*/ 158 h 912"/>
                <a:gd name="T86" fmla="*/ 19 w 786"/>
                <a:gd name="T87" fmla="*/ 123 h 912"/>
                <a:gd name="T88" fmla="*/ 7 w 786"/>
                <a:gd name="T89" fmla="*/ 78 h 912"/>
                <a:gd name="T90" fmla="*/ 22 w 786"/>
                <a:gd name="T91" fmla="*/ 50 h 912"/>
                <a:gd name="T92" fmla="*/ 75 w 786"/>
                <a:gd name="T93" fmla="*/ 17 h 912"/>
                <a:gd name="T94" fmla="*/ 203 w 786"/>
                <a:gd name="T95" fmla="*/ 31 h 912"/>
                <a:gd name="T96" fmla="*/ 264 w 786"/>
                <a:gd name="T97" fmla="*/ 34 h 912"/>
                <a:gd name="T98" fmla="*/ 358 w 786"/>
                <a:gd name="T99" fmla="*/ 59 h 912"/>
                <a:gd name="T100" fmla="*/ 427 w 786"/>
                <a:gd name="T101" fmla="*/ 43 h 912"/>
                <a:gd name="T102" fmla="*/ 446 w 786"/>
                <a:gd name="T103" fmla="*/ 10 h 912"/>
                <a:gd name="T104" fmla="*/ 481 w 786"/>
                <a:gd name="T105" fmla="*/ 41 h 912"/>
                <a:gd name="T106" fmla="*/ 258 w 786"/>
                <a:gd name="T107" fmla="*/ 69 h 912"/>
                <a:gd name="T108" fmla="*/ 332 w 786"/>
                <a:gd name="T109" fmla="*/ 108 h 912"/>
                <a:gd name="T110" fmla="*/ 320 w 786"/>
                <a:gd name="T111" fmla="*/ 106 h 912"/>
                <a:gd name="T112" fmla="*/ 424 w 786"/>
                <a:gd name="T113" fmla="*/ 200 h 912"/>
                <a:gd name="T114" fmla="*/ 458 w 786"/>
                <a:gd name="T115" fmla="*/ 235 h 912"/>
                <a:gd name="T116" fmla="*/ 487 w 786"/>
                <a:gd name="T117" fmla="*/ 216 h 912"/>
                <a:gd name="T118" fmla="*/ 481 w 786"/>
                <a:gd name="T119" fmla="*/ 271 h 912"/>
                <a:gd name="T120" fmla="*/ 533 w 786"/>
                <a:gd name="T121" fmla="*/ 253 h 912"/>
                <a:gd name="T122" fmla="*/ 518 w 786"/>
                <a:gd name="T123" fmla="*/ 269 h 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86" h="912">
                  <a:moveTo>
                    <a:pt x="478" y="50"/>
                  </a:moveTo>
                  <a:cubicBezTo>
                    <a:pt x="479" y="53"/>
                    <a:pt x="483" y="48"/>
                    <a:pt x="481" y="55"/>
                  </a:cubicBezTo>
                  <a:cubicBezTo>
                    <a:pt x="483" y="55"/>
                    <a:pt x="484" y="55"/>
                    <a:pt x="486" y="55"/>
                  </a:cubicBezTo>
                  <a:cubicBezTo>
                    <a:pt x="488" y="53"/>
                    <a:pt x="489" y="51"/>
                    <a:pt x="489" y="47"/>
                  </a:cubicBezTo>
                  <a:cubicBezTo>
                    <a:pt x="491" y="46"/>
                    <a:pt x="492" y="45"/>
                    <a:pt x="492" y="43"/>
                  </a:cubicBezTo>
                  <a:cubicBezTo>
                    <a:pt x="497" y="45"/>
                    <a:pt x="493" y="38"/>
                    <a:pt x="498" y="40"/>
                  </a:cubicBezTo>
                  <a:cubicBezTo>
                    <a:pt x="498" y="36"/>
                    <a:pt x="498" y="33"/>
                    <a:pt x="498" y="29"/>
                  </a:cubicBezTo>
                  <a:cubicBezTo>
                    <a:pt x="503" y="29"/>
                    <a:pt x="505" y="28"/>
                    <a:pt x="510" y="29"/>
                  </a:cubicBezTo>
                  <a:cubicBezTo>
                    <a:pt x="511" y="30"/>
                    <a:pt x="510" y="33"/>
                    <a:pt x="511" y="34"/>
                  </a:cubicBezTo>
                  <a:cubicBezTo>
                    <a:pt x="511" y="34"/>
                    <a:pt x="513" y="34"/>
                    <a:pt x="514" y="34"/>
                  </a:cubicBezTo>
                  <a:cubicBezTo>
                    <a:pt x="516" y="34"/>
                    <a:pt x="516" y="36"/>
                    <a:pt x="518" y="37"/>
                  </a:cubicBezTo>
                  <a:cubicBezTo>
                    <a:pt x="519" y="41"/>
                    <a:pt x="517" y="43"/>
                    <a:pt x="514" y="44"/>
                  </a:cubicBezTo>
                  <a:cubicBezTo>
                    <a:pt x="517" y="46"/>
                    <a:pt x="516" y="52"/>
                    <a:pt x="520" y="53"/>
                  </a:cubicBezTo>
                  <a:cubicBezTo>
                    <a:pt x="519" y="57"/>
                    <a:pt x="515" y="57"/>
                    <a:pt x="514" y="60"/>
                  </a:cubicBezTo>
                  <a:cubicBezTo>
                    <a:pt x="511" y="60"/>
                    <a:pt x="510" y="63"/>
                    <a:pt x="510" y="60"/>
                  </a:cubicBezTo>
                  <a:cubicBezTo>
                    <a:pt x="507" y="62"/>
                    <a:pt x="507" y="66"/>
                    <a:pt x="505" y="68"/>
                  </a:cubicBezTo>
                  <a:cubicBezTo>
                    <a:pt x="503" y="67"/>
                    <a:pt x="506" y="64"/>
                    <a:pt x="499" y="65"/>
                  </a:cubicBezTo>
                  <a:cubicBezTo>
                    <a:pt x="499" y="63"/>
                    <a:pt x="501" y="64"/>
                    <a:pt x="502" y="63"/>
                  </a:cubicBezTo>
                  <a:cubicBezTo>
                    <a:pt x="499" y="59"/>
                    <a:pt x="494" y="65"/>
                    <a:pt x="489" y="63"/>
                  </a:cubicBezTo>
                  <a:cubicBezTo>
                    <a:pt x="490" y="68"/>
                    <a:pt x="489" y="67"/>
                    <a:pt x="489" y="72"/>
                  </a:cubicBezTo>
                  <a:cubicBezTo>
                    <a:pt x="487" y="72"/>
                    <a:pt x="488" y="71"/>
                    <a:pt x="487" y="69"/>
                  </a:cubicBezTo>
                  <a:cubicBezTo>
                    <a:pt x="484" y="70"/>
                    <a:pt x="485" y="75"/>
                    <a:pt x="480" y="74"/>
                  </a:cubicBezTo>
                  <a:cubicBezTo>
                    <a:pt x="480" y="75"/>
                    <a:pt x="483" y="75"/>
                    <a:pt x="483" y="77"/>
                  </a:cubicBezTo>
                  <a:cubicBezTo>
                    <a:pt x="483" y="79"/>
                    <a:pt x="481" y="80"/>
                    <a:pt x="481" y="83"/>
                  </a:cubicBezTo>
                  <a:cubicBezTo>
                    <a:pt x="478" y="79"/>
                    <a:pt x="474" y="88"/>
                    <a:pt x="472" y="87"/>
                  </a:cubicBezTo>
                  <a:cubicBezTo>
                    <a:pt x="472" y="86"/>
                    <a:pt x="470" y="85"/>
                    <a:pt x="470" y="90"/>
                  </a:cubicBezTo>
                  <a:cubicBezTo>
                    <a:pt x="468" y="90"/>
                    <a:pt x="466" y="90"/>
                    <a:pt x="464" y="90"/>
                  </a:cubicBezTo>
                  <a:cubicBezTo>
                    <a:pt x="462" y="91"/>
                    <a:pt x="462" y="94"/>
                    <a:pt x="462" y="96"/>
                  </a:cubicBezTo>
                  <a:cubicBezTo>
                    <a:pt x="460" y="94"/>
                    <a:pt x="459" y="95"/>
                    <a:pt x="459" y="98"/>
                  </a:cubicBezTo>
                  <a:cubicBezTo>
                    <a:pt x="456" y="95"/>
                    <a:pt x="455" y="97"/>
                    <a:pt x="452" y="98"/>
                  </a:cubicBezTo>
                  <a:cubicBezTo>
                    <a:pt x="453" y="99"/>
                    <a:pt x="453" y="101"/>
                    <a:pt x="453" y="103"/>
                  </a:cubicBezTo>
                  <a:cubicBezTo>
                    <a:pt x="450" y="100"/>
                    <a:pt x="451" y="104"/>
                    <a:pt x="449" y="108"/>
                  </a:cubicBezTo>
                  <a:cubicBezTo>
                    <a:pt x="447" y="111"/>
                    <a:pt x="443" y="114"/>
                    <a:pt x="443" y="121"/>
                  </a:cubicBezTo>
                  <a:cubicBezTo>
                    <a:pt x="439" y="123"/>
                    <a:pt x="438" y="127"/>
                    <a:pt x="435" y="130"/>
                  </a:cubicBezTo>
                  <a:cubicBezTo>
                    <a:pt x="436" y="132"/>
                    <a:pt x="437" y="130"/>
                    <a:pt x="437" y="130"/>
                  </a:cubicBezTo>
                  <a:cubicBezTo>
                    <a:pt x="439" y="130"/>
                    <a:pt x="437" y="131"/>
                    <a:pt x="438" y="132"/>
                  </a:cubicBezTo>
                  <a:cubicBezTo>
                    <a:pt x="439" y="132"/>
                    <a:pt x="441" y="134"/>
                    <a:pt x="441" y="135"/>
                  </a:cubicBezTo>
                  <a:cubicBezTo>
                    <a:pt x="443" y="135"/>
                    <a:pt x="444" y="131"/>
                    <a:pt x="447" y="135"/>
                  </a:cubicBezTo>
                  <a:cubicBezTo>
                    <a:pt x="448" y="135"/>
                    <a:pt x="449" y="136"/>
                    <a:pt x="450" y="136"/>
                  </a:cubicBezTo>
                  <a:cubicBezTo>
                    <a:pt x="450" y="138"/>
                    <a:pt x="450" y="140"/>
                    <a:pt x="450" y="142"/>
                  </a:cubicBezTo>
                  <a:cubicBezTo>
                    <a:pt x="451" y="144"/>
                    <a:pt x="453" y="143"/>
                    <a:pt x="453" y="145"/>
                  </a:cubicBezTo>
                  <a:cubicBezTo>
                    <a:pt x="454" y="146"/>
                    <a:pt x="457" y="146"/>
                    <a:pt x="456" y="149"/>
                  </a:cubicBezTo>
                  <a:cubicBezTo>
                    <a:pt x="464" y="148"/>
                    <a:pt x="470" y="151"/>
                    <a:pt x="474" y="149"/>
                  </a:cubicBezTo>
                  <a:cubicBezTo>
                    <a:pt x="475" y="155"/>
                    <a:pt x="481" y="153"/>
                    <a:pt x="484" y="157"/>
                  </a:cubicBezTo>
                  <a:cubicBezTo>
                    <a:pt x="485" y="158"/>
                    <a:pt x="486" y="157"/>
                    <a:pt x="486" y="158"/>
                  </a:cubicBezTo>
                  <a:cubicBezTo>
                    <a:pt x="486" y="161"/>
                    <a:pt x="487" y="158"/>
                    <a:pt x="487" y="158"/>
                  </a:cubicBezTo>
                  <a:cubicBezTo>
                    <a:pt x="489" y="158"/>
                    <a:pt x="489" y="161"/>
                    <a:pt x="490" y="161"/>
                  </a:cubicBezTo>
                  <a:cubicBezTo>
                    <a:pt x="493" y="162"/>
                    <a:pt x="495" y="160"/>
                    <a:pt x="495" y="164"/>
                  </a:cubicBezTo>
                  <a:cubicBezTo>
                    <a:pt x="503" y="164"/>
                    <a:pt x="507" y="167"/>
                    <a:pt x="514" y="167"/>
                  </a:cubicBezTo>
                  <a:cubicBezTo>
                    <a:pt x="514" y="172"/>
                    <a:pt x="513" y="176"/>
                    <a:pt x="515" y="179"/>
                  </a:cubicBezTo>
                  <a:cubicBezTo>
                    <a:pt x="515" y="179"/>
                    <a:pt x="517" y="181"/>
                    <a:pt x="517" y="181"/>
                  </a:cubicBezTo>
                  <a:cubicBezTo>
                    <a:pt x="517" y="182"/>
                    <a:pt x="516" y="184"/>
                    <a:pt x="515" y="183"/>
                  </a:cubicBezTo>
                  <a:cubicBezTo>
                    <a:pt x="516" y="185"/>
                    <a:pt x="518" y="184"/>
                    <a:pt x="518" y="185"/>
                  </a:cubicBezTo>
                  <a:cubicBezTo>
                    <a:pt x="519" y="185"/>
                    <a:pt x="516" y="189"/>
                    <a:pt x="520" y="188"/>
                  </a:cubicBezTo>
                  <a:cubicBezTo>
                    <a:pt x="519" y="189"/>
                    <a:pt x="518" y="190"/>
                    <a:pt x="518" y="192"/>
                  </a:cubicBezTo>
                  <a:cubicBezTo>
                    <a:pt x="519" y="194"/>
                    <a:pt x="520" y="193"/>
                    <a:pt x="520" y="192"/>
                  </a:cubicBezTo>
                  <a:cubicBezTo>
                    <a:pt x="522" y="192"/>
                    <a:pt x="521" y="195"/>
                    <a:pt x="521" y="195"/>
                  </a:cubicBezTo>
                  <a:cubicBezTo>
                    <a:pt x="522" y="196"/>
                    <a:pt x="524" y="195"/>
                    <a:pt x="524" y="195"/>
                  </a:cubicBezTo>
                  <a:cubicBezTo>
                    <a:pt x="526" y="197"/>
                    <a:pt x="532" y="197"/>
                    <a:pt x="536" y="195"/>
                  </a:cubicBezTo>
                  <a:cubicBezTo>
                    <a:pt x="538" y="189"/>
                    <a:pt x="538" y="186"/>
                    <a:pt x="536" y="181"/>
                  </a:cubicBezTo>
                  <a:cubicBezTo>
                    <a:pt x="537" y="179"/>
                    <a:pt x="534" y="180"/>
                    <a:pt x="533" y="179"/>
                  </a:cubicBezTo>
                  <a:cubicBezTo>
                    <a:pt x="532" y="177"/>
                    <a:pt x="536" y="171"/>
                    <a:pt x="530" y="173"/>
                  </a:cubicBezTo>
                  <a:cubicBezTo>
                    <a:pt x="531" y="172"/>
                    <a:pt x="534" y="172"/>
                    <a:pt x="533" y="169"/>
                  </a:cubicBezTo>
                  <a:cubicBezTo>
                    <a:pt x="539" y="170"/>
                    <a:pt x="539" y="166"/>
                    <a:pt x="544" y="166"/>
                  </a:cubicBezTo>
                  <a:cubicBezTo>
                    <a:pt x="546" y="166"/>
                    <a:pt x="544" y="162"/>
                    <a:pt x="545" y="161"/>
                  </a:cubicBezTo>
                  <a:cubicBezTo>
                    <a:pt x="545" y="161"/>
                    <a:pt x="549" y="163"/>
                    <a:pt x="550" y="161"/>
                  </a:cubicBezTo>
                  <a:cubicBezTo>
                    <a:pt x="546" y="155"/>
                    <a:pt x="551" y="149"/>
                    <a:pt x="548" y="145"/>
                  </a:cubicBezTo>
                  <a:cubicBezTo>
                    <a:pt x="548" y="143"/>
                    <a:pt x="546" y="145"/>
                    <a:pt x="547" y="145"/>
                  </a:cubicBezTo>
                  <a:cubicBezTo>
                    <a:pt x="544" y="143"/>
                    <a:pt x="547" y="140"/>
                    <a:pt x="542" y="141"/>
                  </a:cubicBezTo>
                  <a:cubicBezTo>
                    <a:pt x="542" y="138"/>
                    <a:pt x="540" y="137"/>
                    <a:pt x="541" y="135"/>
                  </a:cubicBezTo>
                  <a:cubicBezTo>
                    <a:pt x="540" y="131"/>
                    <a:pt x="542" y="130"/>
                    <a:pt x="545" y="130"/>
                  </a:cubicBezTo>
                  <a:cubicBezTo>
                    <a:pt x="542" y="129"/>
                    <a:pt x="547" y="120"/>
                    <a:pt x="541" y="120"/>
                  </a:cubicBezTo>
                  <a:cubicBezTo>
                    <a:pt x="542" y="119"/>
                    <a:pt x="542" y="117"/>
                    <a:pt x="542" y="115"/>
                  </a:cubicBezTo>
                  <a:cubicBezTo>
                    <a:pt x="542" y="116"/>
                    <a:pt x="540" y="115"/>
                    <a:pt x="541" y="114"/>
                  </a:cubicBezTo>
                  <a:cubicBezTo>
                    <a:pt x="541" y="113"/>
                    <a:pt x="542" y="114"/>
                    <a:pt x="542" y="112"/>
                  </a:cubicBezTo>
                  <a:cubicBezTo>
                    <a:pt x="542" y="111"/>
                    <a:pt x="541" y="111"/>
                    <a:pt x="541" y="109"/>
                  </a:cubicBezTo>
                  <a:cubicBezTo>
                    <a:pt x="541" y="108"/>
                    <a:pt x="544" y="104"/>
                    <a:pt x="541" y="103"/>
                  </a:cubicBezTo>
                  <a:cubicBezTo>
                    <a:pt x="541" y="101"/>
                    <a:pt x="553" y="100"/>
                    <a:pt x="551" y="105"/>
                  </a:cubicBezTo>
                  <a:cubicBezTo>
                    <a:pt x="557" y="105"/>
                    <a:pt x="565" y="106"/>
                    <a:pt x="567" y="102"/>
                  </a:cubicBezTo>
                  <a:cubicBezTo>
                    <a:pt x="571" y="106"/>
                    <a:pt x="578" y="106"/>
                    <a:pt x="578" y="114"/>
                  </a:cubicBezTo>
                  <a:cubicBezTo>
                    <a:pt x="582" y="114"/>
                    <a:pt x="586" y="114"/>
                    <a:pt x="590" y="114"/>
                  </a:cubicBezTo>
                  <a:cubicBezTo>
                    <a:pt x="589" y="116"/>
                    <a:pt x="591" y="117"/>
                    <a:pt x="593" y="117"/>
                  </a:cubicBezTo>
                  <a:cubicBezTo>
                    <a:pt x="593" y="120"/>
                    <a:pt x="592" y="123"/>
                    <a:pt x="593" y="126"/>
                  </a:cubicBezTo>
                  <a:cubicBezTo>
                    <a:pt x="593" y="129"/>
                    <a:pt x="596" y="132"/>
                    <a:pt x="594" y="133"/>
                  </a:cubicBezTo>
                  <a:cubicBezTo>
                    <a:pt x="594" y="135"/>
                    <a:pt x="597" y="134"/>
                    <a:pt x="598" y="135"/>
                  </a:cubicBezTo>
                  <a:cubicBezTo>
                    <a:pt x="598" y="139"/>
                    <a:pt x="604" y="137"/>
                    <a:pt x="600" y="141"/>
                  </a:cubicBezTo>
                  <a:cubicBezTo>
                    <a:pt x="606" y="142"/>
                    <a:pt x="608" y="138"/>
                    <a:pt x="613" y="139"/>
                  </a:cubicBezTo>
                  <a:cubicBezTo>
                    <a:pt x="614" y="137"/>
                    <a:pt x="613" y="136"/>
                    <a:pt x="612" y="136"/>
                  </a:cubicBezTo>
                  <a:cubicBezTo>
                    <a:pt x="613" y="133"/>
                    <a:pt x="614" y="133"/>
                    <a:pt x="616" y="135"/>
                  </a:cubicBezTo>
                  <a:cubicBezTo>
                    <a:pt x="614" y="130"/>
                    <a:pt x="620" y="130"/>
                    <a:pt x="621" y="129"/>
                  </a:cubicBezTo>
                  <a:cubicBezTo>
                    <a:pt x="622" y="127"/>
                    <a:pt x="619" y="127"/>
                    <a:pt x="619" y="127"/>
                  </a:cubicBezTo>
                  <a:cubicBezTo>
                    <a:pt x="619" y="126"/>
                    <a:pt x="622" y="125"/>
                    <a:pt x="625" y="124"/>
                  </a:cubicBezTo>
                  <a:cubicBezTo>
                    <a:pt x="622" y="128"/>
                    <a:pt x="624" y="127"/>
                    <a:pt x="628" y="132"/>
                  </a:cubicBezTo>
                  <a:cubicBezTo>
                    <a:pt x="630" y="134"/>
                    <a:pt x="631" y="137"/>
                    <a:pt x="637" y="138"/>
                  </a:cubicBezTo>
                  <a:cubicBezTo>
                    <a:pt x="637" y="139"/>
                    <a:pt x="634" y="139"/>
                    <a:pt x="634" y="141"/>
                  </a:cubicBezTo>
                  <a:cubicBezTo>
                    <a:pt x="635" y="142"/>
                    <a:pt x="637" y="142"/>
                    <a:pt x="637" y="145"/>
                  </a:cubicBezTo>
                  <a:cubicBezTo>
                    <a:pt x="639" y="146"/>
                    <a:pt x="638" y="142"/>
                    <a:pt x="639" y="142"/>
                  </a:cubicBezTo>
                  <a:cubicBezTo>
                    <a:pt x="642" y="141"/>
                    <a:pt x="637" y="148"/>
                    <a:pt x="643" y="146"/>
                  </a:cubicBezTo>
                  <a:cubicBezTo>
                    <a:pt x="640" y="150"/>
                    <a:pt x="644" y="152"/>
                    <a:pt x="640" y="155"/>
                  </a:cubicBezTo>
                  <a:cubicBezTo>
                    <a:pt x="640" y="158"/>
                    <a:pt x="644" y="157"/>
                    <a:pt x="646" y="158"/>
                  </a:cubicBezTo>
                  <a:cubicBezTo>
                    <a:pt x="646" y="159"/>
                    <a:pt x="644" y="160"/>
                    <a:pt x="644" y="161"/>
                  </a:cubicBezTo>
                  <a:cubicBezTo>
                    <a:pt x="645" y="162"/>
                    <a:pt x="648" y="162"/>
                    <a:pt x="649" y="163"/>
                  </a:cubicBezTo>
                  <a:cubicBezTo>
                    <a:pt x="650" y="163"/>
                    <a:pt x="651" y="165"/>
                    <a:pt x="652" y="166"/>
                  </a:cubicBezTo>
                  <a:cubicBezTo>
                    <a:pt x="654" y="167"/>
                    <a:pt x="657" y="168"/>
                    <a:pt x="659" y="170"/>
                  </a:cubicBezTo>
                  <a:cubicBezTo>
                    <a:pt x="661" y="171"/>
                    <a:pt x="663" y="164"/>
                    <a:pt x="664" y="169"/>
                  </a:cubicBezTo>
                  <a:cubicBezTo>
                    <a:pt x="664" y="173"/>
                    <a:pt x="660" y="173"/>
                    <a:pt x="656" y="173"/>
                  </a:cubicBezTo>
                  <a:cubicBezTo>
                    <a:pt x="659" y="176"/>
                    <a:pt x="663" y="177"/>
                    <a:pt x="668" y="178"/>
                  </a:cubicBezTo>
                  <a:cubicBezTo>
                    <a:pt x="668" y="180"/>
                    <a:pt x="669" y="180"/>
                    <a:pt x="671" y="181"/>
                  </a:cubicBezTo>
                  <a:cubicBezTo>
                    <a:pt x="671" y="183"/>
                    <a:pt x="671" y="185"/>
                    <a:pt x="674" y="185"/>
                  </a:cubicBezTo>
                  <a:cubicBezTo>
                    <a:pt x="673" y="187"/>
                    <a:pt x="672" y="189"/>
                    <a:pt x="673" y="192"/>
                  </a:cubicBezTo>
                  <a:cubicBezTo>
                    <a:pt x="670" y="193"/>
                    <a:pt x="667" y="193"/>
                    <a:pt x="664" y="195"/>
                  </a:cubicBezTo>
                  <a:cubicBezTo>
                    <a:pt x="663" y="196"/>
                    <a:pt x="664" y="197"/>
                    <a:pt x="662" y="197"/>
                  </a:cubicBezTo>
                  <a:cubicBezTo>
                    <a:pt x="661" y="197"/>
                    <a:pt x="659" y="197"/>
                    <a:pt x="659" y="198"/>
                  </a:cubicBezTo>
                  <a:cubicBezTo>
                    <a:pt x="659" y="201"/>
                    <a:pt x="656" y="199"/>
                    <a:pt x="656" y="198"/>
                  </a:cubicBezTo>
                  <a:cubicBezTo>
                    <a:pt x="656" y="199"/>
                    <a:pt x="654" y="201"/>
                    <a:pt x="653" y="201"/>
                  </a:cubicBezTo>
                  <a:cubicBezTo>
                    <a:pt x="653" y="202"/>
                    <a:pt x="652" y="205"/>
                    <a:pt x="652" y="206"/>
                  </a:cubicBezTo>
                  <a:cubicBezTo>
                    <a:pt x="651" y="207"/>
                    <a:pt x="645" y="205"/>
                    <a:pt x="649" y="207"/>
                  </a:cubicBezTo>
                  <a:cubicBezTo>
                    <a:pt x="647" y="210"/>
                    <a:pt x="642" y="209"/>
                    <a:pt x="640" y="209"/>
                  </a:cubicBezTo>
                  <a:cubicBezTo>
                    <a:pt x="637" y="209"/>
                    <a:pt x="634" y="209"/>
                    <a:pt x="631" y="209"/>
                  </a:cubicBezTo>
                  <a:cubicBezTo>
                    <a:pt x="629" y="209"/>
                    <a:pt x="629" y="208"/>
                    <a:pt x="627" y="207"/>
                  </a:cubicBezTo>
                  <a:cubicBezTo>
                    <a:pt x="620" y="206"/>
                    <a:pt x="613" y="208"/>
                    <a:pt x="607" y="209"/>
                  </a:cubicBezTo>
                  <a:cubicBezTo>
                    <a:pt x="602" y="211"/>
                    <a:pt x="600" y="217"/>
                    <a:pt x="594" y="218"/>
                  </a:cubicBezTo>
                  <a:cubicBezTo>
                    <a:pt x="597" y="221"/>
                    <a:pt x="591" y="221"/>
                    <a:pt x="590" y="224"/>
                  </a:cubicBezTo>
                  <a:cubicBezTo>
                    <a:pt x="590" y="225"/>
                    <a:pt x="591" y="226"/>
                    <a:pt x="591" y="228"/>
                  </a:cubicBezTo>
                  <a:cubicBezTo>
                    <a:pt x="593" y="227"/>
                    <a:pt x="593" y="224"/>
                    <a:pt x="595" y="222"/>
                  </a:cubicBezTo>
                  <a:cubicBezTo>
                    <a:pt x="597" y="221"/>
                    <a:pt x="601" y="222"/>
                    <a:pt x="601" y="219"/>
                  </a:cubicBezTo>
                  <a:cubicBezTo>
                    <a:pt x="602" y="214"/>
                    <a:pt x="604" y="223"/>
                    <a:pt x="604" y="216"/>
                  </a:cubicBezTo>
                  <a:cubicBezTo>
                    <a:pt x="606" y="215"/>
                    <a:pt x="607" y="218"/>
                    <a:pt x="607" y="218"/>
                  </a:cubicBezTo>
                  <a:cubicBezTo>
                    <a:pt x="609" y="217"/>
                    <a:pt x="608" y="215"/>
                    <a:pt x="609" y="215"/>
                  </a:cubicBezTo>
                  <a:cubicBezTo>
                    <a:pt x="612" y="214"/>
                    <a:pt x="614" y="215"/>
                    <a:pt x="619" y="215"/>
                  </a:cubicBezTo>
                  <a:cubicBezTo>
                    <a:pt x="619" y="216"/>
                    <a:pt x="621" y="215"/>
                    <a:pt x="621" y="215"/>
                  </a:cubicBezTo>
                  <a:cubicBezTo>
                    <a:pt x="623" y="214"/>
                    <a:pt x="623" y="223"/>
                    <a:pt x="619" y="221"/>
                  </a:cubicBezTo>
                  <a:cubicBezTo>
                    <a:pt x="623" y="224"/>
                    <a:pt x="616" y="225"/>
                    <a:pt x="618" y="231"/>
                  </a:cubicBezTo>
                  <a:cubicBezTo>
                    <a:pt x="619" y="232"/>
                    <a:pt x="619" y="233"/>
                    <a:pt x="619" y="235"/>
                  </a:cubicBezTo>
                  <a:cubicBezTo>
                    <a:pt x="620" y="234"/>
                    <a:pt x="622" y="234"/>
                    <a:pt x="622" y="235"/>
                  </a:cubicBezTo>
                  <a:cubicBezTo>
                    <a:pt x="622" y="237"/>
                    <a:pt x="624" y="236"/>
                    <a:pt x="625" y="237"/>
                  </a:cubicBezTo>
                  <a:cubicBezTo>
                    <a:pt x="626" y="237"/>
                    <a:pt x="627" y="240"/>
                    <a:pt x="628" y="240"/>
                  </a:cubicBezTo>
                  <a:cubicBezTo>
                    <a:pt x="629" y="240"/>
                    <a:pt x="630" y="240"/>
                    <a:pt x="631" y="240"/>
                  </a:cubicBezTo>
                  <a:cubicBezTo>
                    <a:pt x="632" y="240"/>
                    <a:pt x="632" y="241"/>
                    <a:pt x="633" y="241"/>
                  </a:cubicBezTo>
                  <a:cubicBezTo>
                    <a:pt x="635" y="242"/>
                    <a:pt x="637" y="238"/>
                    <a:pt x="639" y="241"/>
                  </a:cubicBezTo>
                  <a:cubicBezTo>
                    <a:pt x="640" y="242"/>
                    <a:pt x="639" y="239"/>
                    <a:pt x="640" y="238"/>
                  </a:cubicBezTo>
                  <a:cubicBezTo>
                    <a:pt x="640" y="238"/>
                    <a:pt x="643" y="239"/>
                    <a:pt x="643" y="238"/>
                  </a:cubicBezTo>
                  <a:cubicBezTo>
                    <a:pt x="644" y="237"/>
                    <a:pt x="642" y="235"/>
                    <a:pt x="643" y="234"/>
                  </a:cubicBezTo>
                  <a:cubicBezTo>
                    <a:pt x="645" y="233"/>
                    <a:pt x="646" y="235"/>
                    <a:pt x="646" y="237"/>
                  </a:cubicBezTo>
                  <a:cubicBezTo>
                    <a:pt x="647" y="239"/>
                    <a:pt x="651" y="238"/>
                    <a:pt x="649" y="243"/>
                  </a:cubicBezTo>
                  <a:cubicBezTo>
                    <a:pt x="647" y="244"/>
                    <a:pt x="646" y="241"/>
                    <a:pt x="644" y="241"/>
                  </a:cubicBezTo>
                  <a:cubicBezTo>
                    <a:pt x="642" y="242"/>
                    <a:pt x="642" y="245"/>
                    <a:pt x="640" y="246"/>
                  </a:cubicBezTo>
                  <a:cubicBezTo>
                    <a:pt x="639" y="246"/>
                    <a:pt x="637" y="245"/>
                    <a:pt x="636" y="246"/>
                  </a:cubicBezTo>
                  <a:cubicBezTo>
                    <a:pt x="633" y="246"/>
                    <a:pt x="634" y="250"/>
                    <a:pt x="628" y="249"/>
                  </a:cubicBezTo>
                  <a:cubicBezTo>
                    <a:pt x="625" y="248"/>
                    <a:pt x="626" y="252"/>
                    <a:pt x="625" y="253"/>
                  </a:cubicBezTo>
                  <a:cubicBezTo>
                    <a:pt x="624" y="254"/>
                    <a:pt x="623" y="252"/>
                    <a:pt x="624" y="252"/>
                  </a:cubicBezTo>
                  <a:cubicBezTo>
                    <a:pt x="621" y="254"/>
                    <a:pt x="621" y="257"/>
                    <a:pt x="616" y="256"/>
                  </a:cubicBezTo>
                  <a:cubicBezTo>
                    <a:pt x="619" y="253"/>
                    <a:pt x="616" y="254"/>
                    <a:pt x="616" y="250"/>
                  </a:cubicBezTo>
                  <a:cubicBezTo>
                    <a:pt x="619" y="249"/>
                    <a:pt x="621" y="245"/>
                    <a:pt x="624" y="249"/>
                  </a:cubicBezTo>
                  <a:cubicBezTo>
                    <a:pt x="625" y="244"/>
                    <a:pt x="621" y="244"/>
                    <a:pt x="619" y="243"/>
                  </a:cubicBezTo>
                  <a:cubicBezTo>
                    <a:pt x="616" y="241"/>
                    <a:pt x="613" y="247"/>
                    <a:pt x="610" y="247"/>
                  </a:cubicBezTo>
                  <a:cubicBezTo>
                    <a:pt x="610" y="247"/>
                    <a:pt x="606" y="248"/>
                    <a:pt x="606" y="249"/>
                  </a:cubicBezTo>
                  <a:cubicBezTo>
                    <a:pt x="605" y="249"/>
                    <a:pt x="604" y="250"/>
                    <a:pt x="604" y="252"/>
                  </a:cubicBezTo>
                  <a:cubicBezTo>
                    <a:pt x="596" y="250"/>
                    <a:pt x="597" y="256"/>
                    <a:pt x="590" y="253"/>
                  </a:cubicBezTo>
                  <a:cubicBezTo>
                    <a:pt x="592" y="255"/>
                    <a:pt x="594" y="256"/>
                    <a:pt x="587" y="256"/>
                  </a:cubicBezTo>
                  <a:cubicBezTo>
                    <a:pt x="584" y="259"/>
                    <a:pt x="582" y="266"/>
                    <a:pt x="587" y="268"/>
                  </a:cubicBezTo>
                  <a:cubicBezTo>
                    <a:pt x="587" y="271"/>
                    <a:pt x="583" y="270"/>
                    <a:pt x="584" y="274"/>
                  </a:cubicBezTo>
                  <a:cubicBezTo>
                    <a:pt x="582" y="274"/>
                    <a:pt x="581" y="273"/>
                    <a:pt x="579" y="274"/>
                  </a:cubicBezTo>
                  <a:cubicBezTo>
                    <a:pt x="577" y="274"/>
                    <a:pt x="577" y="276"/>
                    <a:pt x="576" y="277"/>
                  </a:cubicBezTo>
                  <a:cubicBezTo>
                    <a:pt x="574" y="278"/>
                    <a:pt x="569" y="277"/>
                    <a:pt x="567" y="280"/>
                  </a:cubicBezTo>
                  <a:cubicBezTo>
                    <a:pt x="567" y="281"/>
                    <a:pt x="565" y="282"/>
                    <a:pt x="564" y="283"/>
                  </a:cubicBezTo>
                  <a:cubicBezTo>
                    <a:pt x="563" y="285"/>
                    <a:pt x="562" y="288"/>
                    <a:pt x="560" y="290"/>
                  </a:cubicBezTo>
                  <a:cubicBezTo>
                    <a:pt x="559" y="292"/>
                    <a:pt x="556" y="292"/>
                    <a:pt x="557" y="298"/>
                  </a:cubicBezTo>
                  <a:cubicBezTo>
                    <a:pt x="554" y="297"/>
                    <a:pt x="554" y="294"/>
                    <a:pt x="551" y="293"/>
                  </a:cubicBezTo>
                  <a:cubicBezTo>
                    <a:pt x="549" y="293"/>
                    <a:pt x="550" y="296"/>
                    <a:pt x="548" y="296"/>
                  </a:cubicBezTo>
                  <a:cubicBezTo>
                    <a:pt x="553" y="302"/>
                    <a:pt x="553" y="307"/>
                    <a:pt x="554" y="315"/>
                  </a:cubicBezTo>
                  <a:cubicBezTo>
                    <a:pt x="551" y="314"/>
                    <a:pt x="552" y="318"/>
                    <a:pt x="551" y="318"/>
                  </a:cubicBezTo>
                  <a:cubicBezTo>
                    <a:pt x="551" y="319"/>
                    <a:pt x="548" y="318"/>
                    <a:pt x="548" y="318"/>
                  </a:cubicBezTo>
                  <a:cubicBezTo>
                    <a:pt x="547" y="320"/>
                    <a:pt x="547" y="320"/>
                    <a:pt x="545" y="321"/>
                  </a:cubicBezTo>
                  <a:cubicBezTo>
                    <a:pt x="544" y="322"/>
                    <a:pt x="542" y="325"/>
                    <a:pt x="541" y="326"/>
                  </a:cubicBezTo>
                  <a:cubicBezTo>
                    <a:pt x="539" y="327"/>
                    <a:pt x="536" y="325"/>
                    <a:pt x="535" y="327"/>
                  </a:cubicBezTo>
                  <a:cubicBezTo>
                    <a:pt x="531" y="328"/>
                    <a:pt x="530" y="332"/>
                    <a:pt x="529" y="335"/>
                  </a:cubicBezTo>
                  <a:cubicBezTo>
                    <a:pt x="525" y="335"/>
                    <a:pt x="526" y="339"/>
                    <a:pt x="521" y="339"/>
                  </a:cubicBezTo>
                  <a:cubicBezTo>
                    <a:pt x="523" y="344"/>
                    <a:pt x="518" y="355"/>
                    <a:pt x="524" y="355"/>
                  </a:cubicBezTo>
                  <a:cubicBezTo>
                    <a:pt x="521" y="361"/>
                    <a:pt x="527" y="361"/>
                    <a:pt x="526" y="369"/>
                  </a:cubicBezTo>
                  <a:cubicBezTo>
                    <a:pt x="526" y="370"/>
                    <a:pt x="528" y="370"/>
                    <a:pt x="529" y="370"/>
                  </a:cubicBezTo>
                  <a:cubicBezTo>
                    <a:pt x="527" y="375"/>
                    <a:pt x="529" y="374"/>
                    <a:pt x="529" y="381"/>
                  </a:cubicBezTo>
                  <a:cubicBezTo>
                    <a:pt x="526" y="381"/>
                    <a:pt x="524" y="382"/>
                    <a:pt x="523" y="384"/>
                  </a:cubicBezTo>
                  <a:cubicBezTo>
                    <a:pt x="521" y="384"/>
                    <a:pt x="522" y="381"/>
                    <a:pt x="521" y="379"/>
                  </a:cubicBezTo>
                  <a:cubicBezTo>
                    <a:pt x="520" y="378"/>
                    <a:pt x="518" y="379"/>
                    <a:pt x="517" y="378"/>
                  </a:cubicBezTo>
                  <a:cubicBezTo>
                    <a:pt x="516" y="377"/>
                    <a:pt x="517" y="373"/>
                    <a:pt x="514" y="375"/>
                  </a:cubicBezTo>
                  <a:cubicBezTo>
                    <a:pt x="515" y="371"/>
                    <a:pt x="516" y="368"/>
                    <a:pt x="511" y="367"/>
                  </a:cubicBezTo>
                  <a:cubicBezTo>
                    <a:pt x="514" y="360"/>
                    <a:pt x="510" y="361"/>
                    <a:pt x="510" y="354"/>
                  </a:cubicBezTo>
                  <a:cubicBezTo>
                    <a:pt x="508" y="354"/>
                    <a:pt x="508" y="355"/>
                    <a:pt x="507" y="355"/>
                  </a:cubicBezTo>
                  <a:cubicBezTo>
                    <a:pt x="507" y="354"/>
                    <a:pt x="507" y="353"/>
                    <a:pt x="507" y="352"/>
                  </a:cubicBezTo>
                  <a:cubicBezTo>
                    <a:pt x="504" y="353"/>
                    <a:pt x="496" y="354"/>
                    <a:pt x="495" y="352"/>
                  </a:cubicBezTo>
                  <a:cubicBezTo>
                    <a:pt x="494" y="351"/>
                    <a:pt x="494" y="350"/>
                    <a:pt x="492" y="349"/>
                  </a:cubicBezTo>
                  <a:cubicBezTo>
                    <a:pt x="491" y="349"/>
                    <a:pt x="488" y="351"/>
                    <a:pt x="486" y="351"/>
                  </a:cubicBezTo>
                  <a:cubicBezTo>
                    <a:pt x="486" y="351"/>
                    <a:pt x="491" y="346"/>
                    <a:pt x="486" y="348"/>
                  </a:cubicBezTo>
                  <a:cubicBezTo>
                    <a:pt x="485" y="348"/>
                    <a:pt x="486" y="349"/>
                    <a:pt x="484" y="349"/>
                  </a:cubicBezTo>
                  <a:cubicBezTo>
                    <a:pt x="480" y="350"/>
                    <a:pt x="474" y="350"/>
                    <a:pt x="471" y="348"/>
                  </a:cubicBezTo>
                  <a:cubicBezTo>
                    <a:pt x="468" y="348"/>
                    <a:pt x="470" y="353"/>
                    <a:pt x="470" y="355"/>
                  </a:cubicBezTo>
                  <a:cubicBezTo>
                    <a:pt x="461" y="354"/>
                    <a:pt x="452" y="353"/>
                    <a:pt x="443" y="352"/>
                  </a:cubicBezTo>
                  <a:cubicBezTo>
                    <a:pt x="442" y="353"/>
                    <a:pt x="441" y="354"/>
                    <a:pt x="440" y="354"/>
                  </a:cubicBezTo>
                  <a:cubicBezTo>
                    <a:pt x="438" y="354"/>
                    <a:pt x="439" y="357"/>
                    <a:pt x="437" y="357"/>
                  </a:cubicBezTo>
                  <a:cubicBezTo>
                    <a:pt x="435" y="357"/>
                    <a:pt x="436" y="359"/>
                    <a:pt x="435" y="360"/>
                  </a:cubicBezTo>
                  <a:cubicBezTo>
                    <a:pt x="434" y="360"/>
                    <a:pt x="431" y="359"/>
                    <a:pt x="429" y="360"/>
                  </a:cubicBezTo>
                  <a:cubicBezTo>
                    <a:pt x="428" y="360"/>
                    <a:pt x="428" y="364"/>
                    <a:pt x="425" y="363"/>
                  </a:cubicBezTo>
                  <a:cubicBezTo>
                    <a:pt x="426" y="366"/>
                    <a:pt x="423" y="373"/>
                    <a:pt x="427" y="373"/>
                  </a:cubicBezTo>
                  <a:cubicBezTo>
                    <a:pt x="425" y="375"/>
                    <a:pt x="424" y="378"/>
                    <a:pt x="422" y="379"/>
                  </a:cubicBezTo>
                  <a:cubicBezTo>
                    <a:pt x="422" y="383"/>
                    <a:pt x="422" y="387"/>
                    <a:pt x="422" y="391"/>
                  </a:cubicBezTo>
                  <a:cubicBezTo>
                    <a:pt x="422" y="393"/>
                    <a:pt x="423" y="394"/>
                    <a:pt x="424" y="395"/>
                  </a:cubicBezTo>
                  <a:cubicBezTo>
                    <a:pt x="424" y="399"/>
                    <a:pt x="425" y="403"/>
                    <a:pt x="422" y="406"/>
                  </a:cubicBezTo>
                  <a:cubicBezTo>
                    <a:pt x="422" y="408"/>
                    <a:pt x="426" y="406"/>
                    <a:pt x="427" y="407"/>
                  </a:cubicBezTo>
                  <a:cubicBezTo>
                    <a:pt x="427" y="408"/>
                    <a:pt x="425" y="409"/>
                    <a:pt x="425" y="410"/>
                  </a:cubicBezTo>
                  <a:cubicBezTo>
                    <a:pt x="425" y="410"/>
                    <a:pt x="426" y="412"/>
                    <a:pt x="427" y="412"/>
                  </a:cubicBezTo>
                  <a:cubicBezTo>
                    <a:pt x="427" y="413"/>
                    <a:pt x="429" y="412"/>
                    <a:pt x="429" y="413"/>
                  </a:cubicBezTo>
                  <a:cubicBezTo>
                    <a:pt x="430" y="414"/>
                    <a:pt x="429" y="416"/>
                    <a:pt x="429" y="416"/>
                  </a:cubicBezTo>
                  <a:cubicBezTo>
                    <a:pt x="430" y="416"/>
                    <a:pt x="431" y="416"/>
                    <a:pt x="431" y="416"/>
                  </a:cubicBezTo>
                  <a:cubicBezTo>
                    <a:pt x="431" y="417"/>
                    <a:pt x="431" y="419"/>
                    <a:pt x="431" y="419"/>
                  </a:cubicBezTo>
                  <a:cubicBezTo>
                    <a:pt x="432" y="420"/>
                    <a:pt x="435" y="422"/>
                    <a:pt x="435" y="425"/>
                  </a:cubicBezTo>
                  <a:cubicBezTo>
                    <a:pt x="447" y="426"/>
                    <a:pt x="453" y="423"/>
                    <a:pt x="459" y="425"/>
                  </a:cubicBezTo>
                  <a:cubicBezTo>
                    <a:pt x="461" y="425"/>
                    <a:pt x="461" y="423"/>
                    <a:pt x="462" y="422"/>
                  </a:cubicBezTo>
                  <a:cubicBezTo>
                    <a:pt x="464" y="420"/>
                    <a:pt x="465" y="418"/>
                    <a:pt x="467" y="415"/>
                  </a:cubicBezTo>
                  <a:cubicBezTo>
                    <a:pt x="467" y="413"/>
                    <a:pt x="469" y="412"/>
                    <a:pt x="467" y="412"/>
                  </a:cubicBezTo>
                  <a:cubicBezTo>
                    <a:pt x="471" y="407"/>
                    <a:pt x="481" y="404"/>
                    <a:pt x="489" y="407"/>
                  </a:cubicBezTo>
                  <a:cubicBezTo>
                    <a:pt x="485" y="411"/>
                    <a:pt x="485" y="417"/>
                    <a:pt x="481" y="421"/>
                  </a:cubicBezTo>
                  <a:cubicBezTo>
                    <a:pt x="480" y="425"/>
                    <a:pt x="483" y="424"/>
                    <a:pt x="483" y="428"/>
                  </a:cubicBezTo>
                  <a:cubicBezTo>
                    <a:pt x="480" y="429"/>
                    <a:pt x="478" y="432"/>
                    <a:pt x="477" y="435"/>
                  </a:cubicBezTo>
                  <a:cubicBezTo>
                    <a:pt x="477" y="436"/>
                    <a:pt x="477" y="437"/>
                    <a:pt x="475" y="437"/>
                  </a:cubicBezTo>
                  <a:cubicBezTo>
                    <a:pt x="475" y="440"/>
                    <a:pt x="482" y="436"/>
                    <a:pt x="480" y="441"/>
                  </a:cubicBezTo>
                  <a:cubicBezTo>
                    <a:pt x="483" y="441"/>
                    <a:pt x="484" y="439"/>
                    <a:pt x="489" y="440"/>
                  </a:cubicBezTo>
                  <a:cubicBezTo>
                    <a:pt x="488" y="443"/>
                    <a:pt x="492" y="442"/>
                    <a:pt x="492" y="444"/>
                  </a:cubicBezTo>
                  <a:cubicBezTo>
                    <a:pt x="499" y="441"/>
                    <a:pt x="501" y="447"/>
                    <a:pt x="510" y="446"/>
                  </a:cubicBezTo>
                  <a:cubicBezTo>
                    <a:pt x="506" y="450"/>
                    <a:pt x="512" y="454"/>
                    <a:pt x="507" y="456"/>
                  </a:cubicBezTo>
                  <a:cubicBezTo>
                    <a:pt x="509" y="460"/>
                    <a:pt x="508" y="469"/>
                    <a:pt x="507" y="472"/>
                  </a:cubicBezTo>
                  <a:cubicBezTo>
                    <a:pt x="507" y="475"/>
                    <a:pt x="509" y="476"/>
                    <a:pt x="512" y="475"/>
                  </a:cubicBezTo>
                  <a:cubicBezTo>
                    <a:pt x="512" y="479"/>
                    <a:pt x="515" y="478"/>
                    <a:pt x="515" y="480"/>
                  </a:cubicBezTo>
                  <a:cubicBezTo>
                    <a:pt x="516" y="482"/>
                    <a:pt x="520" y="480"/>
                    <a:pt x="520" y="483"/>
                  </a:cubicBezTo>
                  <a:cubicBezTo>
                    <a:pt x="525" y="479"/>
                    <a:pt x="534" y="484"/>
                    <a:pt x="538" y="481"/>
                  </a:cubicBezTo>
                  <a:cubicBezTo>
                    <a:pt x="538" y="482"/>
                    <a:pt x="538" y="483"/>
                    <a:pt x="538" y="484"/>
                  </a:cubicBezTo>
                  <a:cubicBezTo>
                    <a:pt x="540" y="484"/>
                    <a:pt x="545" y="481"/>
                    <a:pt x="545" y="486"/>
                  </a:cubicBezTo>
                  <a:cubicBezTo>
                    <a:pt x="546" y="485"/>
                    <a:pt x="548" y="484"/>
                    <a:pt x="550" y="484"/>
                  </a:cubicBezTo>
                  <a:cubicBezTo>
                    <a:pt x="550" y="483"/>
                    <a:pt x="552" y="482"/>
                    <a:pt x="553" y="481"/>
                  </a:cubicBezTo>
                  <a:cubicBezTo>
                    <a:pt x="553" y="481"/>
                    <a:pt x="554" y="482"/>
                    <a:pt x="554" y="480"/>
                  </a:cubicBezTo>
                  <a:cubicBezTo>
                    <a:pt x="554" y="478"/>
                    <a:pt x="556" y="481"/>
                    <a:pt x="557" y="478"/>
                  </a:cubicBezTo>
                  <a:cubicBezTo>
                    <a:pt x="557" y="478"/>
                    <a:pt x="557" y="476"/>
                    <a:pt x="557" y="475"/>
                  </a:cubicBezTo>
                  <a:cubicBezTo>
                    <a:pt x="558" y="475"/>
                    <a:pt x="559" y="477"/>
                    <a:pt x="558" y="477"/>
                  </a:cubicBezTo>
                  <a:cubicBezTo>
                    <a:pt x="560" y="476"/>
                    <a:pt x="560" y="475"/>
                    <a:pt x="561" y="474"/>
                  </a:cubicBezTo>
                  <a:cubicBezTo>
                    <a:pt x="563" y="473"/>
                    <a:pt x="565" y="472"/>
                    <a:pt x="567" y="469"/>
                  </a:cubicBezTo>
                  <a:cubicBezTo>
                    <a:pt x="568" y="469"/>
                    <a:pt x="569" y="468"/>
                    <a:pt x="569" y="467"/>
                  </a:cubicBezTo>
                  <a:cubicBezTo>
                    <a:pt x="570" y="468"/>
                    <a:pt x="585" y="469"/>
                    <a:pt x="578" y="471"/>
                  </a:cubicBezTo>
                  <a:cubicBezTo>
                    <a:pt x="578" y="473"/>
                    <a:pt x="581" y="472"/>
                    <a:pt x="584" y="472"/>
                  </a:cubicBezTo>
                  <a:cubicBezTo>
                    <a:pt x="585" y="472"/>
                    <a:pt x="585" y="471"/>
                    <a:pt x="585" y="469"/>
                  </a:cubicBezTo>
                  <a:cubicBezTo>
                    <a:pt x="589" y="469"/>
                    <a:pt x="593" y="469"/>
                    <a:pt x="597" y="469"/>
                  </a:cubicBezTo>
                  <a:cubicBezTo>
                    <a:pt x="595" y="474"/>
                    <a:pt x="603" y="472"/>
                    <a:pt x="607" y="474"/>
                  </a:cubicBezTo>
                  <a:cubicBezTo>
                    <a:pt x="608" y="474"/>
                    <a:pt x="607" y="475"/>
                    <a:pt x="609" y="475"/>
                  </a:cubicBezTo>
                  <a:cubicBezTo>
                    <a:pt x="610" y="475"/>
                    <a:pt x="610" y="477"/>
                    <a:pt x="612" y="477"/>
                  </a:cubicBezTo>
                  <a:cubicBezTo>
                    <a:pt x="615" y="477"/>
                    <a:pt x="616" y="476"/>
                    <a:pt x="618" y="475"/>
                  </a:cubicBezTo>
                  <a:cubicBezTo>
                    <a:pt x="625" y="475"/>
                    <a:pt x="633" y="477"/>
                    <a:pt x="640" y="477"/>
                  </a:cubicBezTo>
                  <a:cubicBezTo>
                    <a:pt x="639" y="480"/>
                    <a:pt x="641" y="482"/>
                    <a:pt x="641" y="480"/>
                  </a:cubicBezTo>
                  <a:cubicBezTo>
                    <a:pt x="643" y="480"/>
                    <a:pt x="642" y="481"/>
                    <a:pt x="641" y="481"/>
                  </a:cubicBezTo>
                  <a:cubicBezTo>
                    <a:pt x="641" y="485"/>
                    <a:pt x="645" y="482"/>
                    <a:pt x="647" y="484"/>
                  </a:cubicBezTo>
                  <a:cubicBezTo>
                    <a:pt x="648" y="485"/>
                    <a:pt x="647" y="487"/>
                    <a:pt x="647" y="487"/>
                  </a:cubicBezTo>
                  <a:cubicBezTo>
                    <a:pt x="649" y="488"/>
                    <a:pt x="652" y="487"/>
                    <a:pt x="653" y="487"/>
                  </a:cubicBezTo>
                  <a:cubicBezTo>
                    <a:pt x="652" y="491"/>
                    <a:pt x="654" y="491"/>
                    <a:pt x="656" y="493"/>
                  </a:cubicBezTo>
                  <a:cubicBezTo>
                    <a:pt x="659" y="495"/>
                    <a:pt x="661" y="497"/>
                    <a:pt x="662" y="501"/>
                  </a:cubicBezTo>
                  <a:cubicBezTo>
                    <a:pt x="671" y="500"/>
                    <a:pt x="675" y="505"/>
                    <a:pt x="683" y="502"/>
                  </a:cubicBezTo>
                  <a:cubicBezTo>
                    <a:pt x="681" y="508"/>
                    <a:pt x="691" y="502"/>
                    <a:pt x="689" y="508"/>
                  </a:cubicBezTo>
                  <a:cubicBezTo>
                    <a:pt x="694" y="506"/>
                    <a:pt x="694" y="512"/>
                    <a:pt x="698" y="512"/>
                  </a:cubicBezTo>
                  <a:cubicBezTo>
                    <a:pt x="699" y="513"/>
                    <a:pt x="699" y="517"/>
                    <a:pt x="702" y="515"/>
                  </a:cubicBezTo>
                  <a:cubicBezTo>
                    <a:pt x="698" y="519"/>
                    <a:pt x="704" y="519"/>
                    <a:pt x="704" y="523"/>
                  </a:cubicBezTo>
                  <a:cubicBezTo>
                    <a:pt x="704" y="526"/>
                    <a:pt x="707" y="525"/>
                    <a:pt x="708" y="526"/>
                  </a:cubicBezTo>
                  <a:cubicBezTo>
                    <a:pt x="709" y="527"/>
                    <a:pt x="708" y="530"/>
                    <a:pt x="711" y="529"/>
                  </a:cubicBezTo>
                  <a:cubicBezTo>
                    <a:pt x="706" y="534"/>
                    <a:pt x="719" y="536"/>
                    <a:pt x="714" y="541"/>
                  </a:cubicBezTo>
                  <a:cubicBezTo>
                    <a:pt x="717" y="540"/>
                    <a:pt x="719" y="541"/>
                    <a:pt x="719" y="544"/>
                  </a:cubicBezTo>
                  <a:cubicBezTo>
                    <a:pt x="726" y="542"/>
                    <a:pt x="736" y="544"/>
                    <a:pt x="739" y="551"/>
                  </a:cubicBezTo>
                  <a:cubicBezTo>
                    <a:pt x="747" y="551"/>
                    <a:pt x="750" y="554"/>
                    <a:pt x="759" y="553"/>
                  </a:cubicBezTo>
                  <a:cubicBezTo>
                    <a:pt x="759" y="553"/>
                    <a:pt x="756" y="554"/>
                    <a:pt x="756" y="554"/>
                  </a:cubicBezTo>
                  <a:cubicBezTo>
                    <a:pt x="757" y="557"/>
                    <a:pt x="767" y="555"/>
                    <a:pt x="772" y="555"/>
                  </a:cubicBezTo>
                  <a:cubicBezTo>
                    <a:pt x="772" y="557"/>
                    <a:pt x="774" y="557"/>
                    <a:pt x="775" y="557"/>
                  </a:cubicBezTo>
                  <a:cubicBezTo>
                    <a:pt x="775" y="560"/>
                    <a:pt x="778" y="559"/>
                    <a:pt x="779" y="560"/>
                  </a:cubicBezTo>
                  <a:cubicBezTo>
                    <a:pt x="780" y="560"/>
                    <a:pt x="779" y="562"/>
                    <a:pt x="779" y="563"/>
                  </a:cubicBezTo>
                  <a:cubicBezTo>
                    <a:pt x="780" y="563"/>
                    <a:pt x="782" y="562"/>
                    <a:pt x="782" y="563"/>
                  </a:cubicBezTo>
                  <a:cubicBezTo>
                    <a:pt x="783" y="564"/>
                    <a:pt x="782" y="567"/>
                    <a:pt x="785" y="566"/>
                  </a:cubicBezTo>
                  <a:cubicBezTo>
                    <a:pt x="785" y="581"/>
                    <a:pt x="785" y="596"/>
                    <a:pt x="785" y="612"/>
                  </a:cubicBezTo>
                  <a:cubicBezTo>
                    <a:pt x="779" y="609"/>
                    <a:pt x="786" y="620"/>
                    <a:pt x="779" y="618"/>
                  </a:cubicBezTo>
                  <a:cubicBezTo>
                    <a:pt x="779" y="623"/>
                    <a:pt x="778" y="628"/>
                    <a:pt x="778" y="633"/>
                  </a:cubicBezTo>
                  <a:cubicBezTo>
                    <a:pt x="778" y="635"/>
                    <a:pt x="780" y="641"/>
                    <a:pt x="779" y="647"/>
                  </a:cubicBezTo>
                  <a:cubicBezTo>
                    <a:pt x="779" y="647"/>
                    <a:pt x="778" y="648"/>
                    <a:pt x="778" y="649"/>
                  </a:cubicBezTo>
                  <a:cubicBezTo>
                    <a:pt x="778" y="650"/>
                    <a:pt x="778" y="651"/>
                    <a:pt x="778" y="652"/>
                  </a:cubicBezTo>
                  <a:cubicBezTo>
                    <a:pt x="777" y="653"/>
                    <a:pt x="773" y="654"/>
                    <a:pt x="775" y="659"/>
                  </a:cubicBezTo>
                  <a:cubicBezTo>
                    <a:pt x="772" y="660"/>
                    <a:pt x="770" y="662"/>
                    <a:pt x="767" y="664"/>
                  </a:cubicBezTo>
                  <a:cubicBezTo>
                    <a:pt x="767" y="665"/>
                    <a:pt x="768" y="667"/>
                    <a:pt x="767" y="668"/>
                  </a:cubicBezTo>
                  <a:cubicBezTo>
                    <a:pt x="767" y="669"/>
                    <a:pt x="765" y="668"/>
                    <a:pt x="764" y="668"/>
                  </a:cubicBezTo>
                  <a:cubicBezTo>
                    <a:pt x="764" y="669"/>
                    <a:pt x="765" y="671"/>
                    <a:pt x="764" y="671"/>
                  </a:cubicBezTo>
                  <a:cubicBezTo>
                    <a:pt x="763" y="672"/>
                    <a:pt x="759" y="671"/>
                    <a:pt x="759" y="674"/>
                  </a:cubicBezTo>
                  <a:cubicBezTo>
                    <a:pt x="758" y="676"/>
                    <a:pt x="755" y="675"/>
                    <a:pt x="753" y="677"/>
                  </a:cubicBezTo>
                  <a:cubicBezTo>
                    <a:pt x="752" y="678"/>
                    <a:pt x="750" y="680"/>
                    <a:pt x="750" y="680"/>
                  </a:cubicBezTo>
                  <a:cubicBezTo>
                    <a:pt x="749" y="680"/>
                    <a:pt x="748" y="678"/>
                    <a:pt x="747" y="678"/>
                  </a:cubicBezTo>
                  <a:cubicBezTo>
                    <a:pt x="747" y="678"/>
                    <a:pt x="746" y="680"/>
                    <a:pt x="745" y="680"/>
                  </a:cubicBezTo>
                  <a:cubicBezTo>
                    <a:pt x="743" y="680"/>
                    <a:pt x="742" y="681"/>
                    <a:pt x="742" y="683"/>
                  </a:cubicBezTo>
                  <a:cubicBezTo>
                    <a:pt x="737" y="680"/>
                    <a:pt x="733" y="687"/>
                    <a:pt x="730" y="689"/>
                  </a:cubicBezTo>
                  <a:cubicBezTo>
                    <a:pt x="730" y="689"/>
                    <a:pt x="728" y="688"/>
                    <a:pt x="727" y="689"/>
                  </a:cubicBezTo>
                  <a:cubicBezTo>
                    <a:pt x="727" y="690"/>
                    <a:pt x="725" y="691"/>
                    <a:pt x="724" y="692"/>
                  </a:cubicBezTo>
                  <a:cubicBezTo>
                    <a:pt x="724" y="693"/>
                    <a:pt x="722" y="694"/>
                    <a:pt x="721" y="695"/>
                  </a:cubicBezTo>
                  <a:cubicBezTo>
                    <a:pt x="721" y="695"/>
                    <a:pt x="724" y="699"/>
                    <a:pt x="720" y="698"/>
                  </a:cubicBezTo>
                  <a:cubicBezTo>
                    <a:pt x="721" y="705"/>
                    <a:pt x="718" y="707"/>
                    <a:pt x="719" y="714"/>
                  </a:cubicBezTo>
                  <a:cubicBezTo>
                    <a:pt x="715" y="713"/>
                    <a:pt x="717" y="717"/>
                    <a:pt x="716" y="718"/>
                  </a:cubicBezTo>
                  <a:cubicBezTo>
                    <a:pt x="715" y="719"/>
                    <a:pt x="713" y="718"/>
                    <a:pt x="713" y="718"/>
                  </a:cubicBezTo>
                  <a:cubicBezTo>
                    <a:pt x="712" y="719"/>
                    <a:pt x="715" y="721"/>
                    <a:pt x="713" y="721"/>
                  </a:cubicBezTo>
                  <a:cubicBezTo>
                    <a:pt x="710" y="722"/>
                    <a:pt x="711" y="727"/>
                    <a:pt x="707" y="727"/>
                  </a:cubicBezTo>
                  <a:cubicBezTo>
                    <a:pt x="706" y="727"/>
                    <a:pt x="704" y="730"/>
                    <a:pt x="704" y="730"/>
                  </a:cubicBezTo>
                  <a:cubicBezTo>
                    <a:pt x="702" y="732"/>
                    <a:pt x="700" y="737"/>
                    <a:pt x="696" y="739"/>
                  </a:cubicBezTo>
                  <a:cubicBezTo>
                    <a:pt x="696" y="741"/>
                    <a:pt x="696" y="743"/>
                    <a:pt x="696" y="745"/>
                  </a:cubicBezTo>
                  <a:cubicBezTo>
                    <a:pt x="694" y="746"/>
                    <a:pt x="692" y="747"/>
                    <a:pt x="692" y="751"/>
                  </a:cubicBezTo>
                  <a:cubicBezTo>
                    <a:pt x="689" y="751"/>
                    <a:pt x="687" y="751"/>
                    <a:pt x="684" y="751"/>
                  </a:cubicBezTo>
                  <a:cubicBezTo>
                    <a:pt x="684" y="753"/>
                    <a:pt x="686" y="752"/>
                    <a:pt x="687" y="753"/>
                  </a:cubicBezTo>
                  <a:cubicBezTo>
                    <a:pt x="687" y="754"/>
                    <a:pt x="685" y="754"/>
                    <a:pt x="683" y="754"/>
                  </a:cubicBezTo>
                  <a:cubicBezTo>
                    <a:pt x="681" y="755"/>
                    <a:pt x="680" y="757"/>
                    <a:pt x="680" y="760"/>
                  </a:cubicBezTo>
                  <a:cubicBezTo>
                    <a:pt x="678" y="758"/>
                    <a:pt x="677" y="759"/>
                    <a:pt x="677" y="761"/>
                  </a:cubicBezTo>
                  <a:cubicBezTo>
                    <a:pt x="676" y="761"/>
                    <a:pt x="676" y="760"/>
                    <a:pt x="676" y="759"/>
                  </a:cubicBezTo>
                  <a:cubicBezTo>
                    <a:pt x="673" y="759"/>
                    <a:pt x="671" y="759"/>
                    <a:pt x="671" y="757"/>
                  </a:cubicBezTo>
                  <a:cubicBezTo>
                    <a:pt x="670" y="758"/>
                    <a:pt x="670" y="760"/>
                    <a:pt x="667" y="760"/>
                  </a:cubicBezTo>
                  <a:cubicBezTo>
                    <a:pt x="666" y="764"/>
                    <a:pt x="669" y="764"/>
                    <a:pt x="670" y="767"/>
                  </a:cubicBezTo>
                  <a:cubicBezTo>
                    <a:pt x="670" y="771"/>
                    <a:pt x="665" y="774"/>
                    <a:pt x="668" y="776"/>
                  </a:cubicBezTo>
                  <a:cubicBezTo>
                    <a:pt x="667" y="780"/>
                    <a:pt x="660" y="776"/>
                    <a:pt x="659" y="779"/>
                  </a:cubicBezTo>
                  <a:cubicBezTo>
                    <a:pt x="657" y="779"/>
                    <a:pt x="658" y="782"/>
                    <a:pt x="658" y="782"/>
                  </a:cubicBezTo>
                  <a:cubicBezTo>
                    <a:pt x="656" y="784"/>
                    <a:pt x="651" y="782"/>
                    <a:pt x="652" y="787"/>
                  </a:cubicBezTo>
                  <a:cubicBezTo>
                    <a:pt x="649" y="784"/>
                    <a:pt x="638" y="784"/>
                    <a:pt x="637" y="788"/>
                  </a:cubicBezTo>
                  <a:cubicBezTo>
                    <a:pt x="637" y="790"/>
                    <a:pt x="639" y="789"/>
                    <a:pt x="639" y="788"/>
                  </a:cubicBezTo>
                  <a:cubicBezTo>
                    <a:pt x="642" y="788"/>
                    <a:pt x="638" y="792"/>
                    <a:pt x="636" y="791"/>
                  </a:cubicBezTo>
                  <a:cubicBezTo>
                    <a:pt x="636" y="794"/>
                    <a:pt x="631" y="799"/>
                    <a:pt x="634" y="800"/>
                  </a:cubicBezTo>
                  <a:cubicBezTo>
                    <a:pt x="634" y="801"/>
                    <a:pt x="632" y="802"/>
                    <a:pt x="631" y="801"/>
                  </a:cubicBezTo>
                  <a:cubicBezTo>
                    <a:pt x="631" y="801"/>
                    <a:pt x="629" y="800"/>
                    <a:pt x="630" y="800"/>
                  </a:cubicBezTo>
                  <a:cubicBezTo>
                    <a:pt x="628" y="800"/>
                    <a:pt x="624" y="804"/>
                    <a:pt x="625" y="799"/>
                  </a:cubicBezTo>
                  <a:cubicBezTo>
                    <a:pt x="624" y="799"/>
                    <a:pt x="623" y="803"/>
                    <a:pt x="622" y="800"/>
                  </a:cubicBezTo>
                  <a:cubicBezTo>
                    <a:pt x="620" y="801"/>
                    <a:pt x="623" y="809"/>
                    <a:pt x="624" y="812"/>
                  </a:cubicBezTo>
                  <a:cubicBezTo>
                    <a:pt x="624" y="816"/>
                    <a:pt x="621" y="815"/>
                    <a:pt x="621" y="818"/>
                  </a:cubicBezTo>
                  <a:cubicBezTo>
                    <a:pt x="620" y="820"/>
                    <a:pt x="621" y="823"/>
                    <a:pt x="616" y="822"/>
                  </a:cubicBezTo>
                  <a:cubicBezTo>
                    <a:pt x="616" y="824"/>
                    <a:pt x="619" y="825"/>
                    <a:pt x="619" y="825"/>
                  </a:cubicBezTo>
                  <a:cubicBezTo>
                    <a:pt x="620" y="828"/>
                    <a:pt x="617" y="825"/>
                    <a:pt x="616" y="825"/>
                  </a:cubicBezTo>
                  <a:cubicBezTo>
                    <a:pt x="615" y="826"/>
                    <a:pt x="615" y="830"/>
                    <a:pt x="616" y="830"/>
                  </a:cubicBezTo>
                  <a:cubicBezTo>
                    <a:pt x="616" y="832"/>
                    <a:pt x="615" y="830"/>
                    <a:pt x="613" y="830"/>
                  </a:cubicBezTo>
                  <a:cubicBezTo>
                    <a:pt x="614" y="830"/>
                    <a:pt x="613" y="832"/>
                    <a:pt x="612" y="831"/>
                  </a:cubicBezTo>
                  <a:cubicBezTo>
                    <a:pt x="609" y="828"/>
                    <a:pt x="613" y="832"/>
                    <a:pt x="610" y="834"/>
                  </a:cubicBezTo>
                  <a:cubicBezTo>
                    <a:pt x="608" y="837"/>
                    <a:pt x="607" y="833"/>
                    <a:pt x="604" y="836"/>
                  </a:cubicBezTo>
                  <a:cubicBezTo>
                    <a:pt x="602" y="839"/>
                    <a:pt x="611" y="839"/>
                    <a:pt x="606" y="841"/>
                  </a:cubicBezTo>
                  <a:cubicBezTo>
                    <a:pt x="606" y="843"/>
                    <a:pt x="609" y="843"/>
                    <a:pt x="610" y="843"/>
                  </a:cubicBezTo>
                  <a:cubicBezTo>
                    <a:pt x="610" y="846"/>
                    <a:pt x="611" y="848"/>
                    <a:pt x="613" y="847"/>
                  </a:cubicBezTo>
                  <a:cubicBezTo>
                    <a:pt x="616" y="851"/>
                    <a:pt x="611" y="852"/>
                    <a:pt x="610" y="853"/>
                  </a:cubicBezTo>
                  <a:cubicBezTo>
                    <a:pt x="610" y="854"/>
                    <a:pt x="611" y="855"/>
                    <a:pt x="612" y="855"/>
                  </a:cubicBezTo>
                  <a:cubicBezTo>
                    <a:pt x="610" y="857"/>
                    <a:pt x="611" y="855"/>
                    <a:pt x="610" y="855"/>
                  </a:cubicBezTo>
                  <a:cubicBezTo>
                    <a:pt x="608" y="855"/>
                    <a:pt x="609" y="858"/>
                    <a:pt x="604" y="858"/>
                  </a:cubicBezTo>
                  <a:cubicBezTo>
                    <a:pt x="607" y="860"/>
                    <a:pt x="606" y="861"/>
                    <a:pt x="601" y="861"/>
                  </a:cubicBezTo>
                  <a:cubicBezTo>
                    <a:pt x="603" y="865"/>
                    <a:pt x="599" y="865"/>
                    <a:pt x="600" y="868"/>
                  </a:cubicBezTo>
                  <a:cubicBezTo>
                    <a:pt x="594" y="869"/>
                    <a:pt x="601" y="875"/>
                    <a:pt x="595" y="871"/>
                  </a:cubicBezTo>
                  <a:cubicBezTo>
                    <a:pt x="596" y="874"/>
                    <a:pt x="595" y="878"/>
                    <a:pt x="595" y="882"/>
                  </a:cubicBezTo>
                  <a:cubicBezTo>
                    <a:pt x="596" y="882"/>
                    <a:pt x="597" y="883"/>
                    <a:pt x="597" y="883"/>
                  </a:cubicBezTo>
                  <a:cubicBezTo>
                    <a:pt x="597" y="885"/>
                    <a:pt x="594" y="886"/>
                    <a:pt x="597" y="889"/>
                  </a:cubicBezTo>
                  <a:cubicBezTo>
                    <a:pt x="599" y="891"/>
                    <a:pt x="597" y="892"/>
                    <a:pt x="598" y="896"/>
                  </a:cubicBezTo>
                  <a:cubicBezTo>
                    <a:pt x="600" y="899"/>
                    <a:pt x="603" y="900"/>
                    <a:pt x="604" y="904"/>
                  </a:cubicBezTo>
                  <a:cubicBezTo>
                    <a:pt x="608" y="907"/>
                    <a:pt x="610" y="901"/>
                    <a:pt x="613" y="905"/>
                  </a:cubicBezTo>
                  <a:cubicBezTo>
                    <a:pt x="615" y="910"/>
                    <a:pt x="609" y="907"/>
                    <a:pt x="606" y="908"/>
                  </a:cubicBezTo>
                  <a:cubicBezTo>
                    <a:pt x="600" y="910"/>
                    <a:pt x="593" y="912"/>
                    <a:pt x="588" y="911"/>
                  </a:cubicBezTo>
                  <a:cubicBezTo>
                    <a:pt x="588" y="911"/>
                    <a:pt x="588" y="908"/>
                    <a:pt x="588" y="908"/>
                  </a:cubicBezTo>
                  <a:cubicBezTo>
                    <a:pt x="581" y="910"/>
                    <a:pt x="580" y="906"/>
                    <a:pt x="575" y="905"/>
                  </a:cubicBezTo>
                  <a:cubicBezTo>
                    <a:pt x="575" y="904"/>
                    <a:pt x="575" y="902"/>
                    <a:pt x="575" y="901"/>
                  </a:cubicBezTo>
                  <a:cubicBezTo>
                    <a:pt x="574" y="897"/>
                    <a:pt x="569" y="900"/>
                    <a:pt x="569" y="896"/>
                  </a:cubicBezTo>
                  <a:cubicBezTo>
                    <a:pt x="569" y="895"/>
                    <a:pt x="567" y="895"/>
                    <a:pt x="567" y="893"/>
                  </a:cubicBezTo>
                  <a:cubicBezTo>
                    <a:pt x="567" y="892"/>
                    <a:pt x="566" y="892"/>
                    <a:pt x="566" y="892"/>
                  </a:cubicBezTo>
                  <a:cubicBezTo>
                    <a:pt x="566" y="891"/>
                    <a:pt x="569" y="888"/>
                    <a:pt x="566" y="887"/>
                  </a:cubicBezTo>
                  <a:cubicBezTo>
                    <a:pt x="564" y="887"/>
                    <a:pt x="566" y="886"/>
                    <a:pt x="566" y="884"/>
                  </a:cubicBezTo>
                  <a:cubicBezTo>
                    <a:pt x="566" y="883"/>
                    <a:pt x="563" y="883"/>
                    <a:pt x="563" y="882"/>
                  </a:cubicBezTo>
                  <a:cubicBezTo>
                    <a:pt x="563" y="881"/>
                    <a:pt x="565" y="880"/>
                    <a:pt x="564" y="879"/>
                  </a:cubicBezTo>
                  <a:cubicBezTo>
                    <a:pt x="564" y="879"/>
                    <a:pt x="563" y="878"/>
                    <a:pt x="563" y="877"/>
                  </a:cubicBezTo>
                  <a:cubicBezTo>
                    <a:pt x="562" y="876"/>
                    <a:pt x="561" y="873"/>
                    <a:pt x="560" y="873"/>
                  </a:cubicBezTo>
                  <a:cubicBezTo>
                    <a:pt x="559" y="870"/>
                    <a:pt x="562" y="870"/>
                    <a:pt x="561" y="868"/>
                  </a:cubicBezTo>
                  <a:cubicBezTo>
                    <a:pt x="561" y="868"/>
                    <a:pt x="558" y="866"/>
                    <a:pt x="558" y="867"/>
                  </a:cubicBezTo>
                  <a:cubicBezTo>
                    <a:pt x="559" y="866"/>
                    <a:pt x="564" y="864"/>
                    <a:pt x="560" y="862"/>
                  </a:cubicBezTo>
                  <a:cubicBezTo>
                    <a:pt x="560" y="861"/>
                    <a:pt x="562" y="861"/>
                    <a:pt x="563" y="861"/>
                  </a:cubicBezTo>
                  <a:cubicBezTo>
                    <a:pt x="563" y="857"/>
                    <a:pt x="563" y="854"/>
                    <a:pt x="563" y="850"/>
                  </a:cubicBezTo>
                  <a:cubicBezTo>
                    <a:pt x="562" y="849"/>
                    <a:pt x="560" y="848"/>
                    <a:pt x="558" y="847"/>
                  </a:cubicBezTo>
                  <a:cubicBezTo>
                    <a:pt x="560" y="843"/>
                    <a:pt x="564" y="839"/>
                    <a:pt x="561" y="834"/>
                  </a:cubicBezTo>
                  <a:cubicBezTo>
                    <a:pt x="566" y="835"/>
                    <a:pt x="565" y="832"/>
                    <a:pt x="569" y="833"/>
                  </a:cubicBezTo>
                  <a:cubicBezTo>
                    <a:pt x="569" y="828"/>
                    <a:pt x="569" y="824"/>
                    <a:pt x="569" y="819"/>
                  </a:cubicBezTo>
                  <a:cubicBezTo>
                    <a:pt x="576" y="819"/>
                    <a:pt x="573" y="810"/>
                    <a:pt x="576" y="806"/>
                  </a:cubicBezTo>
                  <a:cubicBezTo>
                    <a:pt x="575" y="807"/>
                    <a:pt x="574" y="808"/>
                    <a:pt x="573" y="806"/>
                  </a:cubicBezTo>
                  <a:cubicBezTo>
                    <a:pt x="570" y="807"/>
                    <a:pt x="569" y="810"/>
                    <a:pt x="569" y="815"/>
                  </a:cubicBezTo>
                  <a:cubicBezTo>
                    <a:pt x="567" y="814"/>
                    <a:pt x="564" y="813"/>
                    <a:pt x="564" y="809"/>
                  </a:cubicBezTo>
                  <a:cubicBezTo>
                    <a:pt x="562" y="807"/>
                    <a:pt x="569" y="804"/>
                    <a:pt x="567" y="803"/>
                  </a:cubicBezTo>
                  <a:cubicBezTo>
                    <a:pt x="564" y="801"/>
                    <a:pt x="568" y="804"/>
                    <a:pt x="570" y="801"/>
                  </a:cubicBezTo>
                  <a:cubicBezTo>
                    <a:pt x="572" y="794"/>
                    <a:pt x="568" y="787"/>
                    <a:pt x="569" y="781"/>
                  </a:cubicBezTo>
                  <a:cubicBezTo>
                    <a:pt x="569" y="781"/>
                    <a:pt x="572" y="781"/>
                    <a:pt x="572" y="781"/>
                  </a:cubicBezTo>
                  <a:cubicBezTo>
                    <a:pt x="571" y="773"/>
                    <a:pt x="572" y="773"/>
                    <a:pt x="572" y="764"/>
                  </a:cubicBezTo>
                  <a:cubicBezTo>
                    <a:pt x="575" y="760"/>
                    <a:pt x="580" y="755"/>
                    <a:pt x="578" y="750"/>
                  </a:cubicBezTo>
                  <a:cubicBezTo>
                    <a:pt x="583" y="756"/>
                    <a:pt x="578" y="739"/>
                    <a:pt x="584" y="745"/>
                  </a:cubicBezTo>
                  <a:cubicBezTo>
                    <a:pt x="583" y="742"/>
                    <a:pt x="583" y="739"/>
                    <a:pt x="582" y="735"/>
                  </a:cubicBezTo>
                  <a:cubicBezTo>
                    <a:pt x="582" y="733"/>
                    <a:pt x="579" y="731"/>
                    <a:pt x="579" y="729"/>
                  </a:cubicBezTo>
                  <a:cubicBezTo>
                    <a:pt x="579" y="726"/>
                    <a:pt x="580" y="726"/>
                    <a:pt x="581" y="724"/>
                  </a:cubicBezTo>
                  <a:cubicBezTo>
                    <a:pt x="581" y="721"/>
                    <a:pt x="580" y="716"/>
                    <a:pt x="584" y="720"/>
                  </a:cubicBezTo>
                  <a:cubicBezTo>
                    <a:pt x="583" y="716"/>
                    <a:pt x="584" y="712"/>
                    <a:pt x="585" y="708"/>
                  </a:cubicBezTo>
                  <a:cubicBezTo>
                    <a:pt x="586" y="705"/>
                    <a:pt x="586" y="707"/>
                    <a:pt x="585" y="704"/>
                  </a:cubicBezTo>
                  <a:cubicBezTo>
                    <a:pt x="585" y="702"/>
                    <a:pt x="589" y="698"/>
                    <a:pt x="587" y="696"/>
                  </a:cubicBezTo>
                  <a:cubicBezTo>
                    <a:pt x="585" y="695"/>
                    <a:pt x="586" y="695"/>
                    <a:pt x="587" y="692"/>
                  </a:cubicBezTo>
                  <a:cubicBezTo>
                    <a:pt x="587" y="690"/>
                    <a:pt x="586" y="688"/>
                    <a:pt x="587" y="686"/>
                  </a:cubicBezTo>
                  <a:cubicBezTo>
                    <a:pt x="587" y="684"/>
                    <a:pt x="588" y="683"/>
                    <a:pt x="588" y="681"/>
                  </a:cubicBezTo>
                  <a:cubicBezTo>
                    <a:pt x="588" y="676"/>
                    <a:pt x="587" y="671"/>
                    <a:pt x="588" y="665"/>
                  </a:cubicBezTo>
                  <a:cubicBezTo>
                    <a:pt x="588" y="663"/>
                    <a:pt x="590" y="662"/>
                    <a:pt x="590" y="661"/>
                  </a:cubicBezTo>
                  <a:cubicBezTo>
                    <a:pt x="589" y="656"/>
                    <a:pt x="585" y="652"/>
                    <a:pt x="585" y="647"/>
                  </a:cubicBezTo>
                  <a:cubicBezTo>
                    <a:pt x="584" y="645"/>
                    <a:pt x="583" y="648"/>
                    <a:pt x="581" y="647"/>
                  </a:cubicBezTo>
                  <a:cubicBezTo>
                    <a:pt x="579" y="644"/>
                    <a:pt x="574" y="640"/>
                    <a:pt x="570" y="640"/>
                  </a:cubicBezTo>
                  <a:cubicBezTo>
                    <a:pt x="570" y="640"/>
                    <a:pt x="568" y="636"/>
                    <a:pt x="567" y="637"/>
                  </a:cubicBezTo>
                  <a:cubicBezTo>
                    <a:pt x="565" y="639"/>
                    <a:pt x="567" y="636"/>
                    <a:pt x="566" y="636"/>
                  </a:cubicBezTo>
                  <a:cubicBezTo>
                    <a:pt x="564" y="634"/>
                    <a:pt x="559" y="637"/>
                    <a:pt x="563" y="633"/>
                  </a:cubicBezTo>
                  <a:cubicBezTo>
                    <a:pt x="563" y="630"/>
                    <a:pt x="559" y="632"/>
                    <a:pt x="557" y="631"/>
                  </a:cubicBezTo>
                  <a:cubicBezTo>
                    <a:pt x="556" y="631"/>
                    <a:pt x="557" y="628"/>
                    <a:pt x="557" y="628"/>
                  </a:cubicBezTo>
                  <a:cubicBezTo>
                    <a:pt x="556" y="628"/>
                    <a:pt x="555" y="627"/>
                    <a:pt x="554" y="627"/>
                  </a:cubicBezTo>
                  <a:cubicBezTo>
                    <a:pt x="552" y="625"/>
                    <a:pt x="550" y="621"/>
                    <a:pt x="550" y="616"/>
                  </a:cubicBezTo>
                  <a:cubicBezTo>
                    <a:pt x="550" y="614"/>
                    <a:pt x="547" y="615"/>
                    <a:pt x="547" y="615"/>
                  </a:cubicBezTo>
                  <a:cubicBezTo>
                    <a:pt x="545" y="614"/>
                    <a:pt x="546" y="607"/>
                    <a:pt x="544" y="607"/>
                  </a:cubicBezTo>
                  <a:cubicBezTo>
                    <a:pt x="541" y="607"/>
                    <a:pt x="540" y="599"/>
                    <a:pt x="538" y="596"/>
                  </a:cubicBezTo>
                  <a:cubicBezTo>
                    <a:pt x="536" y="593"/>
                    <a:pt x="534" y="590"/>
                    <a:pt x="532" y="587"/>
                  </a:cubicBezTo>
                  <a:cubicBezTo>
                    <a:pt x="531" y="585"/>
                    <a:pt x="529" y="585"/>
                    <a:pt x="529" y="584"/>
                  </a:cubicBezTo>
                  <a:cubicBezTo>
                    <a:pt x="528" y="583"/>
                    <a:pt x="529" y="581"/>
                    <a:pt x="529" y="581"/>
                  </a:cubicBezTo>
                  <a:cubicBezTo>
                    <a:pt x="528" y="579"/>
                    <a:pt x="527" y="580"/>
                    <a:pt x="526" y="579"/>
                  </a:cubicBezTo>
                  <a:cubicBezTo>
                    <a:pt x="526" y="579"/>
                    <a:pt x="524" y="568"/>
                    <a:pt x="523" y="576"/>
                  </a:cubicBezTo>
                  <a:cubicBezTo>
                    <a:pt x="519" y="575"/>
                    <a:pt x="522" y="567"/>
                    <a:pt x="521" y="563"/>
                  </a:cubicBezTo>
                  <a:cubicBezTo>
                    <a:pt x="526" y="563"/>
                    <a:pt x="525" y="559"/>
                    <a:pt x="527" y="557"/>
                  </a:cubicBezTo>
                  <a:cubicBezTo>
                    <a:pt x="528" y="553"/>
                    <a:pt x="524" y="554"/>
                    <a:pt x="523" y="553"/>
                  </a:cubicBezTo>
                  <a:cubicBezTo>
                    <a:pt x="523" y="548"/>
                    <a:pt x="526" y="546"/>
                    <a:pt x="524" y="541"/>
                  </a:cubicBezTo>
                  <a:cubicBezTo>
                    <a:pt x="526" y="540"/>
                    <a:pt x="527" y="539"/>
                    <a:pt x="529" y="539"/>
                  </a:cubicBezTo>
                  <a:cubicBezTo>
                    <a:pt x="529" y="538"/>
                    <a:pt x="528" y="536"/>
                    <a:pt x="529" y="535"/>
                  </a:cubicBezTo>
                  <a:cubicBezTo>
                    <a:pt x="529" y="534"/>
                    <a:pt x="531" y="535"/>
                    <a:pt x="532" y="535"/>
                  </a:cubicBezTo>
                  <a:cubicBezTo>
                    <a:pt x="532" y="534"/>
                    <a:pt x="532" y="534"/>
                    <a:pt x="532" y="533"/>
                  </a:cubicBezTo>
                  <a:cubicBezTo>
                    <a:pt x="532" y="533"/>
                    <a:pt x="535" y="531"/>
                    <a:pt x="535" y="530"/>
                  </a:cubicBezTo>
                  <a:cubicBezTo>
                    <a:pt x="535" y="530"/>
                    <a:pt x="533" y="530"/>
                    <a:pt x="533" y="530"/>
                  </a:cubicBezTo>
                  <a:cubicBezTo>
                    <a:pt x="533" y="530"/>
                    <a:pt x="534" y="528"/>
                    <a:pt x="535" y="529"/>
                  </a:cubicBezTo>
                  <a:cubicBezTo>
                    <a:pt x="538" y="533"/>
                    <a:pt x="536" y="526"/>
                    <a:pt x="539" y="526"/>
                  </a:cubicBezTo>
                  <a:cubicBezTo>
                    <a:pt x="542" y="526"/>
                    <a:pt x="540" y="523"/>
                    <a:pt x="542" y="520"/>
                  </a:cubicBezTo>
                  <a:cubicBezTo>
                    <a:pt x="542" y="520"/>
                    <a:pt x="549" y="515"/>
                    <a:pt x="545" y="511"/>
                  </a:cubicBezTo>
                  <a:cubicBezTo>
                    <a:pt x="543" y="509"/>
                    <a:pt x="545" y="511"/>
                    <a:pt x="545" y="508"/>
                  </a:cubicBezTo>
                  <a:cubicBezTo>
                    <a:pt x="545" y="505"/>
                    <a:pt x="542" y="494"/>
                    <a:pt x="544" y="490"/>
                  </a:cubicBezTo>
                  <a:cubicBezTo>
                    <a:pt x="536" y="492"/>
                    <a:pt x="537" y="485"/>
                    <a:pt x="529" y="487"/>
                  </a:cubicBezTo>
                  <a:cubicBezTo>
                    <a:pt x="527" y="489"/>
                    <a:pt x="529" y="490"/>
                    <a:pt x="527" y="493"/>
                  </a:cubicBezTo>
                  <a:cubicBezTo>
                    <a:pt x="520" y="493"/>
                    <a:pt x="516" y="489"/>
                    <a:pt x="510" y="489"/>
                  </a:cubicBezTo>
                  <a:cubicBezTo>
                    <a:pt x="510" y="486"/>
                    <a:pt x="505" y="487"/>
                    <a:pt x="507" y="483"/>
                  </a:cubicBezTo>
                  <a:cubicBezTo>
                    <a:pt x="505" y="482"/>
                    <a:pt x="502" y="483"/>
                    <a:pt x="501" y="481"/>
                  </a:cubicBezTo>
                  <a:cubicBezTo>
                    <a:pt x="500" y="481"/>
                    <a:pt x="501" y="479"/>
                    <a:pt x="501" y="478"/>
                  </a:cubicBezTo>
                  <a:cubicBezTo>
                    <a:pt x="500" y="478"/>
                    <a:pt x="498" y="479"/>
                    <a:pt x="498" y="478"/>
                  </a:cubicBezTo>
                  <a:cubicBezTo>
                    <a:pt x="496" y="477"/>
                    <a:pt x="498" y="474"/>
                    <a:pt x="495" y="474"/>
                  </a:cubicBezTo>
                  <a:cubicBezTo>
                    <a:pt x="495" y="470"/>
                    <a:pt x="497" y="471"/>
                    <a:pt x="495" y="468"/>
                  </a:cubicBezTo>
                  <a:cubicBezTo>
                    <a:pt x="494" y="466"/>
                    <a:pt x="493" y="467"/>
                    <a:pt x="493" y="468"/>
                  </a:cubicBezTo>
                  <a:cubicBezTo>
                    <a:pt x="491" y="466"/>
                    <a:pt x="490" y="463"/>
                    <a:pt x="486" y="464"/>
                  </a:cubicBezTo>
                  <a:cubicBezTo>
                    <a:pt x="488" y="459"/>
                    <a:pt x="481" y="462"/>
                    <a:pt x="483" y="458"/>
                  </a:cubicBezTo>
                  <a:cubicBezTo>
                    <a:pt x="481" y="457"/>
                    <a:pt x="473" y="457"/>
                    <a:pt x="475" y="458"/>
                  </a:cubicBezTo>
                  <a:cubicBezTo>
                    <a:pt x="474" y="457"/>
                    <a:pt x="475" y="456"/>
                    <a:pt x="474" y="455"/>
                  </a:cubicBezTo>
                  <a:cubicBezTo>
                    <a:pt x="473" y="454"/>
                    <a:pt x="472" y="455"/>
                    <a:pt x="471" y="455"/>
                  </a:cubicBezTo>
                  <a:cubicBezTo>
                    <a:pt x="470" y="454"/>
                    <a:pt x="467" y="452"/>
                    <a:pt x="462" y="453"/>
                  </a:cubicBezTo>
                  <a:cubicBezTo>
                    <a:pt x="464" y="448"/>
                    <a:pt x="459" y="451"/>
                    <a:pt x="456" y="449"/>
                  </a:cubicBezTo>
                  <a:cubicBezTo>
                    <a:pt x="456" y="448"/>
                    <a:pt x="457" y="446"/>
                    <a:pt x="456" y="446"/>
                  </a:cubicBezTo>
                  <a:cubicBezTo>
                    <a:pt x="456" y="445"/>
                    <a:pt x="454" y="446"/>
                    <a:pt x="453" y="446"/>
                  </a:cubicBezTo>
                  <a:cubicBezTo>
                    <a:pt x="453" y="445"/>
                    <a:pt x="454" y="443"/>
                    <a:pt x="453" y="443"/>
                  </a:cubicBezTo>
                  <a:cubicBezTo>
                    <a:pt x="453" y="442"/>
                    <a:pt x="451" y="443"/>
                    <a:pt x="450" y="443"/>
                  </a:cubicBezTo>
                  <a:cubicBezTo>
                    <a:pt x="450" y="442"/>
                    <a:pt x="451" y="440"/>
                    <a:pt x="450" y="440"/>
                  </a:cubicBezTo>
                  <a:cubicBezTo>
                    <a:pt x="449" y="439"/>
                    <a:pt x="449" y="441"/>
                    <a:pt x="449" y="441"/>
                  </a:cubicBezTo>
                  <a:cubicBezTo>
                    <a:pt x="448" y="442"/>
                    <a:pt x="445" y="439"/>
                    <a:pt x="444" y="438"/>
                  </a:cubicBezTo>
                  <a:cubicBezTo>
                    <a:pt x="442" y="441"/>
                    <a:pt x="442" y="438"/>
                    <a:pt x="440" y="438"/>
                  </a:cubicBezTo>
                  <a:cubicBezTo>
                    <a:pt x="438" y="439"/>
                    <a:pt x="435" y="441"/>
                    <a:pt x="432" y="441"/>
                  </a:cubicBezTo>
                  <a:cubicBezTo>
                    <a:pt x="429" y="442"/>
                    <a:pt x="429" y="440"/>
                    <a:pt x="427" y="440"/>
                  </a:cubicBezTo>
                  <a:cubicBezTo>
                    <a:pt x="423" y="440"/>
                    <a:pt x="424" y="442"/>
                    <a:pt x="421" y="440"/>
                  </a:cubicBezTo>
                  <a:cubicBezTo>
                    <a:pt x="419" y="439"/>
                    <a:pt x="417" y="440"/>
                    <a:pt x="413" y="438"/>
                  </a:cubicBezTo>
                  <a:cubicBezTo>
                    <a:pt x="412" y="438"/>
                    <a:pt x="412" y="436"/>
                    <a:pt x="412" y="435"/>
                  </a:cubicBezTo>
                  <a:cubicBezTo>
                    <a:pt x="411" y="435"/>
                    <a:pt x="410" y="436"/>
                    <a:pt x="409" y="435"/>
                  </a:cubicBezTo>
                  <a:cubicBezTo>
                    <a:pt x="407" y="435"/>
                    <a:pt x="400" y="434"/>
                    <a:pt x="404" y="431"/>
                  </a:cubicBezTo>
                  <a:cubicBezTo>
                    <a:pt x="400" y="431"/>
                    <a:pt x="400" y="428"/>
                    <a:pt x="395" y="428"/>
                  </a:cubicBezTo>
                  <a:cubicBezTo>
                    <a:pt x="395" y="427"/>
                    <a:pt x="394" y="426"/>
                    <a:pt x="394" y="424"/>
                  </a:cubicBezTo>
                  <a:cubicBezTo>
                    <a:pt x="388" y="423"/>
                    <a:pt x="386" y="418"/>
                    <a:pt x="379" y="418"/>
                  </a:cubicBezTo>
                  <a:cubicBezTo>
                    <a:pt x="378" y="413"/>
                    <a:pt x="375" y="410"/>
                    <a:pt x="376" y="403"/>
                  </a:cubicBezTo>
                  <a:cubicBezTo>
                    <a:pt x="376" y="397"/>
                    <a:pt x="368" y="400"/>
                    <a:pt x="372" y="394"/>
                  </a:cubicBezTo>
                  <a:cubicBezTo>
                    <a:pt x="370" y="394"/>
                    <a:pt x="369" y="394"/>
                    <a:pt x="369" y="395"/>
                  </a:cubicBezTo>
                  <a:cubicBezTo>
                    <a:pt x="367" y="396"/>
                    <a:pt x="368" y="393"/>
                    <a:pt x="367" y="392"/>
                  </a:cubicBezTo>
                  <a:cubicBezTo>
                    <a:pt x="366" y="391"/>
                    <a:pt x="363" y="391"/>
                    <a:pt x="363" y="388"/>
                  </a:cubicBezTo>
                  <a:cubicBezTo>
                    <a:pt x="363" y="386"/>
                    <a:pt x="360" y="387"/>
                    <a:pt x="358" y="387"/>
                  </a:cubicBezTo>
                  <a:cubicBezTo>
                    <a:pt x="358" y="385"/>
                    <a:pt x="360" y="385"/>
                    <a:pt x="360" y="384"/>
                  </a:cubicBezTo>
                  <a:cubicBezTo>
                    <a:pt x="360" y="383"/>
                    <a:pt x="358" y="381"/>
                    <a:pt x="358" y="381"/>
                  </a:cubicBezTo>
                  <a:cubicBezTo>
                    <a:pt x="358" y="380"/>
                    <a:pt x="356" y="381"/>
                    <a:pt x="355" y="381"/>
                  </a:cubicBezTo>
                  <a:cubicBezTo>
                    <a:pt x="354" y="379"/>
                    <a:pt x="355" y="377"/>
                    <a:pt x="354" y="376"/>
                  </a:cubicBezTo>
                  <a:cubicBezTo>
                    <a:pt x="351" y="373"/>
                    <a:pt x="346" y="372"/>
                    <a:pt x="345" y="366"/>
                  </a:cubicBezTo>
                  <a:cubicBezTo>
                    <a:pt x="342" y="363"/>
                    <a:pt x="342" y="367"/>
                    <a:pt x="339" y="364"/>
                  </a:cubicBezTo>
                  <a:cubicBezTo>
                    <a:pt x="340" y="361"/>
                    <a:pt x="337" y="361"/>
                    <a:pt x="336" y="360"/>
                  </a:cubicBezTo>
                  <a:cubicBezTo>
                    <a:pt x="335" y="357"/>
                    <a:pt x="336" y="352"/>
                    <a:pt x="332" y="352"/>
                  </a:cubicBezTo>
                  <a:cubicBezTo>
                    <a:pt x="332" y="345"/>
                    <a:pt x="329" y="342"/>
                    <a:pt x="324" y="341"/>
                  </a:cubicBezTo>
                  <a:cubicBezTo>
                    <a:pt x="323" y="342"/>
                    <a:pt x="322" y="343"/>
                    <a:pt x="321" y="345"/>
                  </a:cubicBezTo>
                  <a:cubicBezTo>
                    <a:pt x="320" y="349"/>
                    <a:pt x="324" y="349"/>
                    <a:pt x="326" y="351"/>
                  </a:cubicBezTo>
                  <a:cubicBezTo>
                    <a:pt x="326" y="351"/>
                    <a:pt x="325" y="354"/>
                    <a:pt x="326" y="354"/>
                  </a:cubicBezTo>
                  <a:cubicBezTo>
                    <a:pt x="326" y="354"/>
                    <a:pt x="327" y="354"/>
                    <a:pt x="327" y="354"/>
                  </a:cubicBezTo>
                  <a:cubicBezTo>
                    <a:pt x="328" y="356"/>
                    <a:pt x="326" y="360"/>
                    <a:pt x="329" y="360"/>
                  </a:cubicBezTo>
                  <a:cubicBezTo>
                    <a:pt x="331" y="360"/>
                    <a:pt x="330" y="364"/>
                    <a:pt x="332" y="367"/>
                  </a:cubicBezTo>
                  <a:cubicBezTo>
                    <a:pt x="332" y="368"/>
                    <a:pt x="333" y="367"/>
                    <a:pt x="333" y="369"/>
                  </a:cubicBezTo>
                  <a:cubicBezTo>
                    <a:pt x="333" y="372"/>
                    <a:pt x="337" y="371"/>
                    <a:pt x="336" y="376"/>
                  </a:cubicBezTo>
                  <a:cubicBezTo>
                    <a:pt x="336" y="378"/>
                    <a:pt x="339" y="377"/>
                    <a:pt x="341" y="378"/>
                  </a:cubicBezTo>
                  <a:cubicBezTo>
                    <a:pt x="339" y="379"/>
                    <a:pt x="342" y="380"/>
                    <a:pt x="342" y="381"/>
                  </a:cubicBezTo>
                  <a:cubicBezTo>
                    <a:pt x="342" y="382"/>
                    <a:pt x="341" y="384"/>
                    <a:pt x="341" y="384"/>
                  </a:cubicBezTo>
                  <a:cubicBezTo>
                    <a:pt x="341" y="386"/>
                    <a:pt x="345" y="385"/>
                    <a:pt x="344" y="390"/>
                  </a:cubicBezTo>
                  <a:cubicBezTo>
                    <a:pt x="342" y="388"/>
                    <a:pt x="341" y="385"/>
                    <a:pt x="336" y="387"/>
                  </a:cubicBezTo>
                  <a:cubicBezTo>
                    <a:pt x="338" y="381"/>
                    <a:pt x="333" y="382"/>
                    <a:pt x="333" y="378"/>
                  </a:cubicBezTo>
                  <a:cubicBezTo>
                    <a:pt x="333" y="375"/>
                    <a:pt x="330" y="375"/>
                    <a:pt x="329" y="373"/>
                  </a:cubicBezTo>
                  <a:cubicBezTo>
                    <a:pt x="328" y="372"/>
                    <a:pt x="327" y="370"/>
                    <a:pt x="326" y="369"/>
                  </a:cubicBezTo>
                  <a:cubicBezTo>
                    <a:pt x="323" y="369"/>
                    <a:pt x="321" y="368"/>
                    <a:pt x="320" y="366"/>
                  </a:cubicBezTo>
                  <a:cubicBezTo>
                    <a:pt x="320" y="362"/>
                    <a:pt x="321" y="364"/>
                    <a:pt x="323" y="364"/>
                  </a:cubicBezTo>
                  <a:cubicBezTo>
                    <a:pt x="324" y="358"/>
                    <a:pt x="318" y="359"/>
                    <a:pt x="318" y="354"/>
                  </a:cubicBezTo>
                  <a:cubicBezTo>
                    <a:pt x="316" y="353"/>
                    <a:pt x="315" y="351"/>
                    <a:pt x="311" y="351"/>
                  </a:cubicBezTo>
                  <a:cubicBezTo>
                    <a:pt x="311" y="347"/>
                    <a:pt x="313" y="347"/>
                    <a:pt x="311" y="344"/>
                  </a:cubicBezTo>
                  <a:cubicBezTo>
                    <a:pt x="311" y="343"/>
                    <a:pt x="310" y="342"/>
                    <a:pt x="309" y="342"/>
                  </a:cubicBezTo>
                  <a:cubicBezTo>
                    <a:pt x="308" y="339"/>
                    <a:pt x="309" y="334"/>
                    <a:pt x="302" y="335"/>
                  </a:cubicBezTo>
                  <a:cubicBezTo>
                    <a:pt x="303" y="333"/>
                    <a:pt x="303" y="332"/>
                    <a:pt x="302" y="330"/>
                  </a:cubicBezTo>
                  <a:cubicBezTo>
                    <a:pt x="302" y="330"/>
                    <a:pt x="301" y="327"/>
                    <a:pt x="301" y="327"/>
                  </a:cubicBezTo>
                  <a:cubicBezTo>
                    <a:pt x="300" y="327"/>
                    <a:pt x="297" y="328"/>
                    <a:pt x="296" y="327"/>
                  </a:cubicBezTo>
                  <a:cubicBezTo>
                    <a:pt x="295" y="326"/>
                    <a:pt x="299" y="326"/>
                    <a:pt x="299" y="326"/>
                  </a:cubicBezTo>
                  <a:cubicBezTo>
                    <a:pt x="298" y="323"/>
                    <a:pt x="290" y="321"/>
                    <a:pt x="286" y="320"/>
                  </a:cubicBezTo>
                  <a:cubicBezTo>
                    <a:pt x="285" y="319"/>
                    <a:pt x="285" y="318"/>
                    <a:pt x="284" y="317"/>
                  </a:cubicBezTo>
                  <a:cubicBezTo>
                    <a:pt x="283" y="315"/>
                    <a:pt x="283" y="314"/>
                    <a:pt x="281" y="312"/>
                  </a:cubicBezTo>
                  <a:cubicBezTo>
                    <a:pt x="280" y="311"/>
                    <a:pt x="280" y="307"/>
                    <a:pt x="278" y="304"/>
                  </a:cubicBezTo>
                  <a:cubicBezTo>
                    <a:pt x="278" y="303"/>
                    <a:pt x="276" y="303"/>
                    <a:pt x="275" y="302"/>
                  </a:cubicBezTo>
                  <a:cubicBezTo>
                    <a:pt x="274" y="300"/>
                    <a:pt x="276" y="297"/>
                    <a:pt x="272" y="298"/>
                  </a:cubicBezTo>
                  <a:cubicBezTo>
                    <a:pt x="273" y="292"/>
                    <a:pt x="270" y="288"/>
                    <a:pt x="266" y="284"/>
                  </a:cubicBezTo>
                  <a:cubicBezTo>
                    <a:pt x="265" y="283"/>
                    <a:pt x="265" y="278"/>
                    <a:pt x="262" y="280"/>
                  </a:cubicBezTo>
                  <a:cubicBezTo>
                    <a:pt x="264" y="262"/>
                    <a:pt x="262" y="252"/>
                    <a:pt x="262" y="231"/>
                  </a:cubicBezTo>
                  <a:cubicBezTo>
                    <a:pt x="262" y="230"/>
                    <a:pt x="261" y="229"/>
                    <a:pt x="261" y="228"/>
                  </a:cubicBezTo>
                  <a:cubicBezTo>
                    <a:pt x="259" y="227"/>
                    <a:pt x="259" y="226"/>
                    <a:pt x="258" y="225"/>
                  </a:cubicBezTo>
                  <a:cubicBezTo>
                    <a:pt x="257" y="224"/>
                    <a:pt x="256" y="223"/>
                    <a:pt x="255" y="224"/>
                  </a:cubicBezTo>
                  <a:cubicBezTo>
                    <a:pt x="254" y="216"/>
                    <a:pt x="248" y="212"/>
                    <a:pt x="243" y="207"/>
                  </a:cubicBezTo>
                  <a:cubicBezTo>
                    <a:pt x="242" y="206"/>
                    <a:pt x="241" y="206"/>
                    <a:pt x="241" y="204"/>
                  </a:cubicBezTo>
                  <a:cubicBezTo>
                    <a:pt x="242" y="205"/>
                    <a:pt x="245" y="207"/>
                    <a:pt x="246" y="204"/>
                  </a:cubicBezTo>
                  <a:cubicBezTo>
                    <a:pt x="249" y="204"/>
                    <a:pt x="248" y="208"/>
                    <a:pt x="252" y="207"/>
                  </a:cubicBezTo>
                  <a:cubicBezTo>
                    <a:pt x="253" y="209"/>
                    <a:pt x="253" y="211"/>
                    <a:pt x="253" y="213"/>
                  </a:cubicBezTo>
                  <a:cubicBezTo>
                    <a:pt x="261" y="212"/>
                    <a:pt x="262" y="217"/>
                    <a:pt x="266" y="219"/>
                  </a:cubicBezTo>
                  <a:cubicBezTo>
                    <a:pt x="266" y="224"/>
                    <a:pt x="269" y="226"/>
                    <a:pt x="271" y="228"/>
                  </a:cubicBezTo>
                  <a:cubicBezTo>
                    <a:pt x="272" y="228"/>
                    <a:pt x="273" y="225"/>
                    <a:pt x="272" y="224"/>
                  </a:cubicBezTo>
                  <a:cubicBezTo>
                    <a:pt x="272" y="222"/>
                    <a:pt x="270" y="221"/>
                    <a:pt x="269" y="221"/>
                  </a:cubicBezTo>
                  <a:cubicBezTo>
                    <a:pt x="269" y="218"/>
                    <a:pt x="269" y="217"/>
                    <a:pt x="268" y="215"/>
                  </a:cubicBezTo>
                  <a:cubicBezTo>
                    <a:pt x="268" y="214"/>
                    <a:pt x="266" y="213"/>
                    <a:pt x="266" y="213"/>
                  </a:cubicBezTo>
                  <a:cubicBezTo>
                    <a:pt x="266" y="212"/>
                    <a:pt x="268" y="211"/>
                    <a:pt x="268" y="212"/>
                  </a:cubicBezTo>
                  <a:cubicBezTo>
                    <a:pt x="266" y="208"/>
                    <a:pt x="263" y="209"/>
                    <a:pt x="264" y="206"/>
                  </a:cubicBezTo>
                  <a:cubicBezTo>
                    <a:pt x="256" y="206"/>
                    <a:pt x="255" y="201"/>
                    <a:pt x="249" y="201"/>
                  </a:cubicBezTo>
                  <a:cubicBezTo>
                    <a:pt x="251" y="196"/>
                    <a:pt x="244" y="200"/>
                    <a:pt x="246" y="195"/>
                  </a:cubicBezTo>
                  <a:cubicBezTo>
                    <a:pt x="244" y="194"/>
                    <a:pt x="242" y="195"/>
                    <a:pt x="240" y="192"/>
                  </a:cubicBezTo>
                  <a:cubicBezTo>
                    <a:pt x="240" y="191"/>
                    <a:pt x="242" y="191"/>
                    <a:pt x="243" y="191"/>
                  </a:cubicBezTo>
                  <a:cubicBezTo>
                    <a:pt x="245" y="187"/>
                    <a:pt x="238" y="189"/>
                    <a:pt x="238" y="189"/>
                  </a:cubicBezTo>
                  <a:cubicBezTo>
                    <a:pt x="237" y="189"/>
                    <a:pt x="238" y="187"/>
                    <a:pt x="237" y="186"/>
                  </a:cubicBezTo>
                  <a:cubicBezTo>
                    <a:pt x="237" y="186"/>
                    <a:pt x="234" y="187"/>
                    <a:pt x="234" y="186"/>
                  </a:cubicBezTo>
                  <a:cubicBezTo>
                    <a:pt x="234" y="185"/>
                    <a:pt x="236" y="185"/>
                    <a:pt x="235" y="183"/>
                  </a:cubicBezTo>
                  <a:cubicBezTo>
                    <a:pt x="235" y="181"/>
                    <a:pt x="233" y="184"/>
                    <a:pt x="231" y="183"/>
                  </a:cubicBezTo>
                  <a:cubicBezTo>
                    <a:pt x="228" y="181"/>
                    <a:pt x="230" y="178"/>
                    <a:pt x="228" y="176"/>
                  </a:cubicBezTo>
                  <a:cubicBezTo>
                    <a:pt x="227" y="175"/>
                    <a:pt x="226" y="174"/>
                    <a:pt x="224" y="175"/>
                  </a:cubicBezTo>
                  <a:cubicBezTo>
                    <a:pt x="229" y="166"/>
                    <a:pt x="212" y="172"/>
                    <a:pt x="213" y="163"/>
                  </a:cubicBezTo>
                  <a:cubicBezTo>
                    <a:pt x="215" y="163"/>
                    <a:pt x="216" y="163"/>
                    <a:pt x="218" y="163"/>
                  </a:cubicBezTo>
                  <a:cubicBezTo>
                    <a:pt x="218" y="159"/>
                    <a:pt x="211" y="164"/>
                    <a:pt x="213" y="158"/>
                  </a:cubicBezTo>
                  <a:cubicBezTo>
                    <a:pt x="210" y="158"/>
                    <a:pt x="207" y="158"/>
                    <a:pt x="204" y="158"/>
                  </a:cubicBezTo>
                  <a:cubicBezTo>
                    <a:pt x="208" y="156"/>
                    <a:pt x="202" y="155"/>
                    <a:pt x="206" y="154"/>
                  </a:cubicBezTo>
                  <a:cubicBezTo>
                    <a:pt x="206" y="151"/>
                    <a:pt x="202" y="151"/>
                    <a:pt x="203" y="152"/>
                  </a:cubicBezTo>
                  <a:cubicBezTo>
                    <a:pt x="200" y="149"/>
                    <a:pt x="202" y="149"/>
                    <a:pt x="200" y="145"/>
                  </a:cubicBezTo>
                  <a:cubicBezTo>
                    <a:pt x="197" y="145"/>
                    <a:pt x="194" y="145"/>
                    <a:pt x="191" y="145"/>
                  </a:cubicBezTo>
                  <a:cubicBezTo>
                    <a:pt x="192" y="143"/>
                    <a:pt x="193" y="141"/>
                    <a:pt x="194" y="139"/>
                  </a:cubicBezTo>
                  <a:cubicBezTo>
                    <a:pt x="193" y="136"/>
                    <a:pt x="189" y="138"/>
                    <a:pt x="192" y="135"/>
                  </a:cubicBezTo>
                  <a:cubicBezTo>
                    <a:pt x="187" y="135"/>
                    <a:pt x="184" y="137"/>
                    <a:pt x="178" y="136"/>
                  </a:cubicBezTo>
                  <a:cubicBezTo>
                    <a:pt x="178" y="132"/>
                    <a:pt x="174" y="130"/>
                    <a:pt x="170" y="129"/>
                  </a:cubicBezTo>
                  <a:cubicBezTo>
                    <a:pt x="169" y="128"/>
                    <a:pt x="167" y="128"/>
                    <a:pt x="166" y="127"/>
                  </a:cubicBezTo>
                  <a:cubicBezTo>
                    <a:pt x="165" y="127"/>
                    <a:pt x="166" y="125"/>
                    <a:pt x="166" y="124"/>
                  </a:cubicBezTo>
                  <a:cubicBezTo>
                    <a:pt x="165" y="124"/>
                    <a:pt x="162" y="125"/>
                    <a:pt x="163" y="123"/>
                  </a:cubicBezTo>
                  <a:cubicBezTo>
                    <a:pt x="158" y="121"/>
                    <a:pt x="147" y="126"/>
                    <a:pt x="145" y="123"/>
                  </a:cubicBezTo>
                  <a:cubicBezTo>
                    <a:pt x="145" y="123"/>
                    <a:pt x="145" y="121"/>
                    <a:pt x="145" y="121"/>
                  </a:cubicBezTo>
                  <a:cubicBezTo>
                    <a:pt x="143" y="121"/>
                    <a:pt x="142" y="123"/>
                    <a:pt x="142" y="123"/>
                  </a:cubicBezTo>
                  <a:cubicBezTo>
                    <a:pt x="140" y="122"/>
                    <a:pt x="140" y="118"/>
                    <a:pt x="135" y="120"/>
                  </a:cubicBezTo>
                  <a:cubicBezTo>
                    <a:pt x="134" y="116"/>
                    <a:pt x="128" y="118"/>
                    <a:pt x="132" y="114"/>
                  </a:cubicBezTo>
                  <a:cubicBezTo>
                    <a:pt x="130" y="114"/>
                    <a:pt x="130" y="115"/>
                    <a:pt x="129" y="115"/>
                  </a:cubicBezTo>
                  <a:cubicBezTo>
                    <a:pt x="128" y="115"/>
                    <a:pt x="127" y="114"/>
                    <a:pt x="127" y="114"/>
                  </a:cubicBezTo>
                  <a:cubicBezTo>
                    <a:pt x="124" y="114"/>
                    <a:pt x="122" y="117"/>
                    <a:pt x="120" y="115"/>
                  </a:cubicBezTo>
                  <a:cubicBezTo>
                    <a:pt x="117" y="115"/>
                    <a:pt x="119" y="121"/>
                    <a:pt x="118" y="123"/>
                  </a:cubicBezTo>
                  <a:cubicBezTo>
                    <a:pt x="117" y="122"/>
                    <a:pt x="116" y="121"/>
                    <a:pt x="114" y="121"/>
                  </a:cubicBezTo>
                  <a:cubicBezTo>
                    <a:pt x="112" y="122"/>
                    <a:pt x="113" y="124"/>
                    <a:pt x="112" y="124"/>
                  </a:cubicBezTo>
                  <a:cubicBezTo>
                    <a:pt x="111" y="125"/>
                    <a:pt x="106" y="124"/>
                    <a:pt x="103" y="126"/>
                  </a:cubicBezTo>
                  <a:cubicBezTo>
                    <a:pt x="102" y="126"/>
                    <a:pt x="102" y="128"/>
                    <a:pt x="101" y="129"/>
                  </a:cubicBezTo>
                  <a:cubicBezTo>
                    <a:pt x="98" y="129"/>
                    <a:pt x="97" y="127"/>
                    <a:pt x="95" y="127"/>
                  </a:cubicBezTo>
                  <a:cubicBezTo>
                    <a:pt x="97" y="125"/>
                    <a:pt x="101" y="124"/>
                    <a:pt x="99" y="118"/>
                  </a:cubicBezTo>
                  <a:cubicBezTo>
                    <a:pt x="102" y="119"/>
                    <a:pt x="102" y="117"/>
                    <a:pt x="102" y="115"/>
                  </a:cubicBezTo>
                  <a:cubicBezTo>
                    <a:pt x="102" y="114"/>
                    <a:pt x="99" y="114"/>
                    <a:pt x="98" y="114"/>
                  </a:cubicBezTo>
                  <a:cubicBezTo>
                    <a:pt x="95" y="116"/>
                    <a:pt x="96" y="118"/>
                    <a:pt x="93" y="120"/>
                  </a:cubicBezTo>
                  <a:cubicBezTo>
                    <a:pt x="92" y="120"/>
                    <a:pt x="92" y="123"/>
                    <a:pt x="90" y="123"/>
                  </a:cubicBezTo>
                  <a:cubicBezTo>
                    <a:pt x="89" y="123"/>
                    <a:pt x="89" y="127"/>
                    <a:pt x="86" y="126"/>
                  </a:cubicBezTo>
                  <a:cubicBezTo>
                    <a:pt x="86" y="128"/>
                    <a:pt x="85" y="128"/>
                    <a:pt x="83" y="129"/>
                  </a:cubicBezTo>
                  <a:cubicBezTo>
                    <a:pt x="83" y="131"/>
                    <a:pt x="83" y="133"/>
                    <a:pt x="83" y="135"/>
                  </a:cubicBezTo>
                  <a:cubicBezTo>
                    <a:pt x="79" y="136"/>
                    <a:pt x="77" y="141"/>
                    <a:pt x="74" y="143"/>
                  </a:cubicBezTo>
                  <a:cubicBezTo>
                    <a:pt x="73" y="144"/>
                    <a:pt x="71" y="143"/>
                    <a:pt x="71" y="143"/>
                  </a:cubicBezTo>
                  <a:cubicBezTo>
                    <a:pt x="70" y="144"/>
                    <a:pt x="71" y="146"/>
                    <a:pt x="71" y="146"/>
                  </a:cubicBezTo>
                  <a:cubicBezTo>
                    <a:pt x="71" y="147"/>
                    <a:pt x="65" y="147"/>
                    <a:pt x="66" y="148"/>
                  </a:cubicBezTo>
                  <a:cubicBezTo>
                    <a:pt x="69" y="150"/>
                    <a:pt x="63" y="149"/>
                    <a:pt x="60" y="152"/>
                  </a:cubicBezTo>
                  <a:cubicBezTo>
                    <a:pt x="60" y="153"/>
                    <a:pt x="58" y="158"/>
                    <a:pt x="58" y="157"/>
                  </a:cubicBezTo>
                  <a:cubicBezTo>
                    <a:pt x="56" y="155"/>
                    <a:pt x="57" y="156"/>
                    <a:pt x="56" y="158"/>
                  </a:cubicBezTo>
                  <a:cubicBezTo>
                    <a:pt x="54" y="158"/>
                    <a:pt x="52" y="158"/>
                    <a:pt x="50" y="158"/>
                  </a:cubicBezTo>
                  <a:cubicBezTo>
                    <a:pt x="47" y="160"/>
                    <a:pt x="53" y="161"/>
                    <a:pt x="46" y="161"/>
                  </a:cubicBezTo>
                  <a:cubicBezTo>
                    <a:pt x="43" y="161"/>
                    <a:pt x="40" y="161"/>
                    <a:pt x="37" y="163"/>
                  </a:cubicBezTo>
                  <a:cubicBezTo>
                    <a:pt x="34" y="164"/>
                    <a:pt x="34" y="168"/>
                    <a:pt x="31" y="166"/>
                  </a:cubicBezTo>
                  <a:cubicBezTo>
                    <a:pt x="31" y="162"/>
                    <a:pt x="35" y="163"/>
                    <a:pt x="38" y="161"/>
                  </a:cubicBezTo>
                  <a:cubicBezTo>
                    <a:pt x="39" y="161"/>
                    <a:pt x="40" y="161"/>
                    <a:pt x="40" y="160"/>
                  </a:cubicBezTo>
                  <a:cubicBezTo>
                    <a:pt x="40" y="158"/>
                    <a:pt x="44" y="159"/>
                    <a:pt x="46" y="158"/>
                  </a:cubicBezTo>
                  <a:cubicBezTo>
                    <a:pt x="48" y="159"/>
                    <a:pt x="46" y="155"/>
                    <a:pt x="47" y="154"/>
                  </a:cubicBezTo>
                  <a:cubicBezTo>
                    <a:pt x="48" y="153"/>
                    <a:pt x="49" y="156"/>
                    <a:pt x="52" y="152"/>
                  </a:cubicBezTo>
                  <a:cubicBezTo>
                    <a:pt x="52" y="152"/>
                    <a:pt x="53" y="153"/>
                    <a:pt x="53" y="151"/>
                  </a:cubicBezTo>
                  <a:cubicBezTo>
                    <a:pt x="53" y="149"/>
                    <a:pt x="57" y="150"/>
                    <a:pt x="59" y="148"/>
                  </a:cubicBezTo>
                  <a:cubicBezTo>
                    <a:pt x="59" y="145"/>
                    <a:pt x="59" y="143"/>
                    <a:pt x="59" y="141"/>
                  </a:cubicBezTo>
                  <a:cubicBezTo>
                    <a:pt x="64" y="145"/>
                    <a:pt x="60" y="136"/>
                    <a:pt x="65" y="138"/>
                  </a:cubicBezTo>
                  <a:cubicBezTo>
                    <a:pt x="65" y="134"/>
                    <a:pt x="58" y="138"/>
                    <a:pt x="60" y="133"/>
                  </a:cubicBezTo>
                  <a:cubicBezTo>
                    <a:pt x="59" y="136"/>
                    <a:pt x="50" y="132"/>
                    <a:pt x="49" y="136"/>
                  </a:cubicBezTo>
                  <a:cubicBezTo>
                    <a:pt x="47" y="137"/>
                    <a:pt x="48" y="134"/>
                    <a:pt x="47" y="133"/>
                  </a:cubicBezTo>
                  <a:cubicBezTo>
                    <a:pt x="45" y="132"/>
                    <a:pt x="41" y="134"/>
                    <a:pt x="38" y="133"/>
                  </a:cubicBezTo>
                  <a:cubicBezTo>
                    <a:pt x="40" y="130"/>
                    <a:pt x="36" y="131"/>
                    <a:pt x="35" y="130"/>
                  </a:cubicBezTo>
                  <a:cubicBezTo>
                    <a:pt x="35" y="129"/>
                    <a:pt x="36" y="128"/>
                    <a:pt x="37" y="129"/>
                  </a:cubicBezTo>
                  <a:cubicBezTo>
                    <a:pt x="34" y="125"/>
                    <a:pt x="32" y="126"/>
                    <a:pt x="29" y="121"/>
                  </a:cubicBezTo>
                  <a:cubicBezTo>
                    <a:pt x="27" y="123"/>
                    <a:pt x="23" y="123"/>
                    <a:pt x="19" y="123"/>
                  </a:cubicBezTo>
                  <a:cubicBezTo>
                    <a:pt x="19" y="121"/>
                    <a:pt x="19" y="120"/>
                    <a:pt x="20" y="120"/>
                  </a:cubicBezTo>
                  <a:cubicBezTo>
                    <a:pt x="19" y="117"/>
                    <a:pt x="14" y="118"/>
                    <a:pt x="16" y="112"/>
                  </a:cubicBezTo>
                  <a:cubicBezTo>
                    <a:pt x="15" y="111"/>
                    <a:pt x="13" y="109"/>
                    <a:pt x="13" y="111"/>
                  </a:cubicBezTo>
                  <a:cubicBezTo>
                    <a:pt x="9" y="111"/>
                    <a:pt x="13" y="106"/>
                    <a:pt x="13" y="105"/>
                  </a:cubicBezTo>
                  <a:cubicBezTo>
                    <a:pt x="13" y="104"/>
                    <a:pt x="13" y="103"/>
                    <a:pt x="13" y="102"/>
                  </a:cubicBezTo>
                  <a:cubicBezTo>
                    <a:pt x="13" y="102"/>
                    <a:pt x="16" y="102"/>
                    <a:pt x="16" y="102"/>
                  </a:cubicBezTo>
                  <a:cubicBezTo>
                    <a:pt x="17" y="101"/>
                    <a:pt x="16" y="99"/>
                    <a:pt x="17" y="98"/>
                  </a:cubicBezTo>
                  <a:cubicBezTo>
                    <a:pt x="21" y="97"/>
                    <a:pt x="26" y="97"/>
                    <a:pt x="29" y="95"/>
                  </a:cubicBezTo>
                  <a:cubicBezTo>
                    <a:pt x="31" y="93"/>
                    <a:pt x="33" y="94"/>
                    <a:pt x="35" y="93"/>
                  </a:cubicBezTo>
                  <a:cubicBezTo>
                    <a:pt x="38" y="92"/>
                    <a:pt x="33" y="89"/>
                    <a:pt x="41" y="90"/>
                  </a:cubicBezTo>
                  <a:cubicBezTo>
                    <a:pt x="40" y="87"/>
                    <a:pt x="40" y="84"/>
                    <a:pt x="38" y="78"/>
                  </a:cubicBezTo>
                  <a:cubicBezTo>
                    <a:pt x="35" y="75"/>
                    <a:pt x="27" y="83"/>
                    <a:pt x="23" y="80"/>
                  </a:cubicBezTo>
                  <a:cubicBezTo>
                    <a:pt x="21" y="77"/>
                    <a:pt x="23" y="81"/>
                    <a:pt x="17" y="81"/>
                  </a:cubicBezTo>
                  <a:cubicBezTo>
                    <a:pt x="16" y="79"/>
                    <a:pt x="11" y="80"/>
                    <a:pt x="7" y="78"/>
                  </a:cubicBezTo>
                  <a:cubicBezTo>
                    <a:pt x="7" y="78"/>
                    <a:pt x="10" y="75"/>
                    <a:pt x="7" y="75"/>
                  </a:cubicBezTo>
                  <a:cubicBezTo>
                    <a:pt x="4" y="75"/>
                    <a:pt x="2" y="74"/>
                    <a:pt x="1" y="69"/>
                  </a:cubicBezTo>
                  <a:cubicBezTo>
                    <a:pt x="10" y="70"/>
                    <a:pt x="0" y="65"/>
                    <a:pt x="10" y="66"/>
                  </a:cubicBezTo>
                  <a:cubicBezTo>
                    <a:pt x="12" y="66"/>
                    <a:pt x="11" y="65"/>
                    <a:pt x="10" y="65"/>
                  </a:cubicBezTo>
                  <a:cubicBezTo>
                    <a:pt x="10" y="62"/>
                    <a:pt x="13" y="65"/>
                    <a:pt x="13" y="65"/>
                  </a:cubicBezTo>
                  <a:cubicBezTo>
                    <a:pt x="16" y="65"/>
                    <a:pt x="16" y="63"/>
                    <a:pt x="19" y="63"/>
                  </a:cubicBezTo>
                  <a:cubicBezTo>
                    <a:pt x="20" y="64"/>
                    <a:pt x="21" y="66"/>
                    <a:pt x="22" y="66"/>
                  </a:cubicBezTo>
                  <a:cubicBezTo>
                    <a:pt x="25" y="67"/>
                    <a:pt x="28" y="65"/>
                    <a:pt x="32" y="66"/>
                  </a:cubicBezTo>
                  <a:cubicBezTo>
                    <a:pt x="35" y="67"/>
                    <a:pt x="34" y="68"/>
                    <a:pt x="37" y="66"/>
                  </a:cubicBezTo>
                  <a:cubicBezTo>
                    <a:pt x="39" y="66"/>
                    <a:pt x="37" y="65"/>
                    <a:pt x="37" y="63"/>
                  </a:cubicBezTo>
                  <a:cubicBezTo>
                    <a:pt x="38" y="64"/>
                    <a:pt x="39" y="63"/>
                    <a:pt x="40" y="62"/>
                  </a:cubicBezTo>
                  <a:cubicBezTo>
                    <a:pt x="40" y="58"/>
                    <a:pt x="33" y="63"/>
                    <a:pt x="35" y="58"/>
                  </a:cubicBezTo>
                  <a:cubicBezTo>
                    <a:pt x="31" y="57"/>
                    <a:pt x="28" y="55"/>
                    <a:pt x="23" y="55"/>
                  </a:cubicBezTo>
                  <a:cubicBezTo>
                    <a:pt x="25" y="52"/>
                    <a:pt x="25" y="52"/>
                    <a:pt x="22" y="50"/>
                  </a:cubicBezTo>
                  <a:cubicBezTo>
                    <a:pt x="21" y="50"/>
                    <a:pt x="21" y="49"/>
                    <a:pt x="20" y="49"/>
                  </a:cubicBezTo>
                  <a:cubicBezTo>
                    <a:pt x="19" y="48"/>
                    <a:pt x="16" y="48"/>
                    <a:pt x="15" y="47"/>
                  </a:cubicBezTo>
                  <a:cubicBezTo>
                    <a:pt x="15" y="47"/>
                    <a:pt x="17" y="42"/>
                    <a:pt x="15" y="43"/>
                  </a:cubicBezTo>
                  <a:cubicBezTo>
                    <a:pt x="14" y="43"/>
                    <a:pt x="15" y="44"/>
                    <a:pt x="13" y="44"/>
                  </a:cubicBezTo>
                  <a:cubicBezTo>
                    <a:pt x="12" y="44"/>
                    <a:pt x="11" y="42"/>
                    <a:pt x="9" y="43"/>
                  </a:cubicBezTo>
                  <a:cubicBezTo>
                    <a:pt x="12" y="39"/>
                    <a:pt x="18" y="37"/>
                    <a:pt x="23" y="35"/>
                  </a:cubicBezTo>
                  <a:cubicBezTo>
                    <a:pt x="22" y="30"/>
                    <a:pt x="28" y="30"/>
                    <a:pt x="29" y="28"/>
                  </a:cubicBezTo>
                  <a:cubicBezTo>
                    <a:pt x="31" y="26"/>
                    <a:pt x="29" y="23"/>
                    <a:pt x="31" y="22"/>
                  </a:cubicBezTo>
                  <a:cubicBezTo>
                    <a:pt x="34" y="26"/>
                    <a:pt x="35" y="23"/>
                    <a:pt x="41" y="23"/>
                  </a:cubicBezTo>
                  <a:cubicBezTo>
                    <a:pt x="44" y="19"/>
                    <a:pt x="49" y="16"/>
                    <a:pt x="58" y="17"/>
                  </a:cubicBezTo>
                  <a:cubicBezTo>
                    <a:pt x="59" y="18"/>
                    <a:pt x="58" y="15"/>
                    <a:pt x="59" y="15"/>
                  </a:cubicBezTo>
                  <a:cubicBezTo>
                    <a:pt x="62" y="13"/>
                    <a:pt x="67" y="16"/>
                    <a:pt x="68" y="12"/>
                  </a:cubicBezTo>
                  <a:cubicBezTo>
                    <a:pt x="70" y="11"/>
                    <a:pt x="70" y="14"/>
                    <a:pt x="71" y="15"/>
                  </a:cubicBezTo>
                  <a:cubicBezTo>
                    <a:pt x="73" y="15"/>
                    <a:pt x="76" y="14"/>
                    <a:pt x="75" y="17"/>
                  </a:cubicBezTo>
                  <a:cubicBezTo>
                    <a:pt x="82" y="17"/>
                    <a:pt x="88" y="17"/>
                    <a:pt x="95" y="17"/>
                  </a:cubicBezTo>
                  <a:cubicBezTo>
                    <a:pt x="88" y="24"/>
                    <a:pt x="104" y="15"/>
                    <a:pt x="99" y="22"/>
                  </a:cubicBezTo>
                  <a:cubicBezTo>
                    <a:pt x="102" y="22"/>
                    <a:pt x="105" y="22"/>
                    <a:pt x="105" y="19"/>
                  </a:cubicBezTo>
                  <a:cubicBezTo>
                    <a:pt x="108" y="22"/>
                    <a:pt x="114" y="21"/>
                    <a:pt x="118" y="22"/>
                  </a:cubicBezTo>
                  <a:cubicBezTo>
                    <a:pt x="119" y="22"/>
                    <a:pt x="118" y="23"/>
                    <a:pt x="120" y="23"/>
                  </a:cubicBezTo>
                  <a:cubicBezTo>
                    <a:pt x="121" y="23"/>
                    <a:pt x="121" y="25"/>
                    <a:pt x="123" y="25"/>
                  </a:cubicBezTo>
                  <a:cubicBezTo>
                    <a:pt x="126" y="25"/>
                    <a:pt x="128" y="22"/>
                    <a:pt x="130" y="25"/>
                  </a:cubicBezTo>
                  <a:cubicBezTo>
                    <a:pt x="131" y="26"/>
                    <a:pt x="147" y="25"/>
                    <a:pt x="149" y="26"/>
                  </a:cubicBezTo>
                  <a:cubicBezTo>
                    <a:pt x="151" y="28"/>
                    <a:pt x="160" y="29"/>
                    <a:pt x="166" y="29"/>
                  </a:cubicBezTo>
                  <a:cubicBezTo>
                    <a:pt x="167" y="31"/>
                    <a:pt x="170" y="32"/>
                    <a:pt x="170" y="35"/>
                  </a:cubicBezTo>
                  <a:cubicBezTo>
                    <a:pt x="175" y="36"/>
                    <a:pt x="177" y="39"/>
                    <a:pt x="182" y="37"/>
                  </a:cubicBezTo>
                  <a:cubicBezTo>
                    <a:pt x="182" y="41"/>
                    <a:pt x="189" y="39"/>
                    <a:pt x="194" y="40"/>
                  </a:cubicBezTo>
                  <a:cubicBezTo>
                    <a:pt x="194" y="38"/>
                    <a:pt x="192" y="39"/>
                    <a:pt x="191" y="38"/>
                  </a:cubicBezTo>
                  <a:cubicBezTo>
                    <a:pt x="194" y="35"/>
                    <a:pt x="197" y="32"/>
                    <a:pt x="203" y="31"/>
                  </a:cubicBezTo>
                  <a:cubicBezTo>
                    <a:pt x="202" y="33"/>
                    <a:pt x="204" y="34"/>
                    <a:pt x="204" y="32"/>
                  </a:cubicBezTo>
                  <a:cubicBezTo>
                    <a:pt x="206" y="33"/>
                    <a:pt x="205" y="35"/>
                    <a:pt x="207" y="35"/>
                  </a:cubicBezTo>
                  <a:cubicBezTo>
                    <a:pt x="210" y="36"/>
                    <a:pt x="210" y="33"/>
                    <a:pt x="210" y="31"/>
                  </a:cubicBezTo>
                  <a:cubicBezTo>
                    <a:pt x="213" y="30"/>
                    <a:pt x="214" y="32"/>
                    <a:pt x="216" y="32"/>
                  </a:cubicBezTo>
                  <a:cubicBezTo>
                    <a:pt x="218" y="31"/>
                    <a:pt x="216" y="29"/>
                    <a:pt x="219" y="26"/>
                  </a:cubicBezTo>
                  <a:cubicBezTo>
                    <a:pt x="222" y="26"/>
                    <a:pt x="223" y="29"/>
                    <a:pt x="224" y="26"/>
                  </a:cubicBezTo>
                  <a:cubicBezTo>
                    <a:pt x="226" y="27"/>
                    <a:pt x="224" y="30"/>
                    <a:pt x="222" y="29"/>
                  </a:cubicBezTo>
                  <a:cubicBezTo>
                    <a:pt x="224" y="34"/>
                    <a:pt x="234" y="25"/>
                    <a:pt x="237" y="31"/>
                  </a:cubicBezTo>
                  <a:cubicBezTo>
                    <a:pt x="241" y="31"/>
                    <a:pt x="233" y="27"/>
                    <a:pt x="238" y="26"/>
                  </a:cubicBezTo>
                  <a:cubicBezTo>
                    <a:pt x="239" y="25"/>
                    <a:pt x="240" y="23"/>
                    <a:pt x="243" y="23"/>
                  </a:cubicBezTo>
                  <a:cubicBezTo>
                    <a:pt x="243" y="25"/>
                    <a:pt x="243" y="26"/>
                    <a:pt x="243" y="28"/>
                  </a:cubicBezTo>
                  <a:cubicBezTo>
                    <a:pt x="246" y="24"/>
                    <a:pt x="247" y="30"/>
                    <a:pt x="250" y="31"/>
                  </a:cubicBezTo>
                  <a:cubicBezTo>
                    <a:pt x="254" y="31"/>
                    <a:pt x="258" y="30"/>
                    <a:pt x="259" y="28"/>
                  </a:cubicBezTo>
                  <a:cubicBezTo>
                    <a:pt x="261" y="29"/>
                    <a:pt x="265" y="29"/>
                    <a:pt x="264" y="34"/>
                  </a:cubicBezTo>
                  <a:cubicBezTo>
                    <a:pt x="267" y="33"/>
                    <a:pt x="270" y="32"/>
                    <a:pt x="271" y="28"/>
                  </a:cubicBezTo>
                  <a:cubicBezTo>
                    <a:pt x="275" y="30"/>
                    <a:pt x="277" y="27"/>
                    <a:pt x="280" y="31"/>
                  </a:cubicBezTo>
                  <a:cubicBezTo>
                    <a:pt x="283" y="31"/>
                    <a:pt x="287" y="31"/>
                    <a:pt x="290" y="31"/>
                  </a:cubicBezTo>
                  <a:cubicBezTo>
                    <a:pt x="290" y="31"/>
                    <a:pt x="288" y="33"/>
                    <a:pt x="289" y="34"/>
                  </a:cubicBezTo>
                  <a:cubicBezTo>
                    <a:pt x="288" y="34"/>
                    <a:pt x="293" y="35"/>
                    <a:pt x="292" y="35"/>
                  </a:cubicBezTo>
                  <a:cubicBezTo>
                    <a:pt x="293" y="35"/>
                    <a:pt x="294" y="33"/>
                    <a:pt x="296" y="34"/>
                  </a:cubicBezTo>
                  <a:cubicBezTo>
                    <a:pt x="296" y="34"/>
                    <a:pt x="296" y="37"/>
                    <a:pt x="296" y="37"/>
                  </a:cubicBezTo>
                  <a:cubicBezTo>
                    <a:pt x="300" y="39"/>
                    <a:pt x="306" y="35"/>
                    <a:pt x="311" y="37"/>
                  </a:cubicBezTo>
                  <a:cubicBezTo>
                    <a:pt x="311" y="39"/>
                    <a:pt x="314" y="38"/>
                    <a:pt x="315" y="38"/>
                  </a:cubicBezTo>
                  <a:cubicBezTo>
                    <a:pt x="313" y="43"/>
                    <a:pt x="320" y="39"/>
                    <a:pt x="320" y="43"/>
                  </a:cubicBezTo>
                  <a:cubicBezTo>
                    <a:pt x="321" y="46"/>
                    <a:pt x="317" y="45"/>
                    <a:pt x="317" y="47"/>
                  </a:cubicBezTo>
                  <a:cubicBezTo>
                    <a:pt x="316" y="50"/>
                    <a:pt x="318" y="50"/>
                    <a:pt x="318" y="52"/>
                  </a:cubicBezTo>
                  <a:cubicBezTo>
                    <a:pt x="334" y="50"/>
                    <a:pt x="348" y="50"/>
                    <a:pt x="360" y="55"/>
                  </a:cubicBezTo>
                  <a:cubicBezTo>
                    <a:pt x="359" y="56"/>
                    <a:pt x="358" y="57"/>
                    <a:pt x="358" y="59"/>
                  </a:cubicBezTo>
                  <a:cubicBezTo>
                    <a:pt x="361" y="59"/>
                    <a:pt x="362" y="57"/>
                    <a:pt x="364" y="58"/>
                  </a:cubicBezTo>
                  <a:cubicBezTo>
                    <a:pt x="363" y="52"/>
                    <a:pt x="364" y="54"/>
                    <a:pt x="363" y="49"/>
                  </a:cubicBezTo>
                  <a:cubicBezTo>
                    <a:pt x="364" y="46"/>
                    <a:pt x="375" y="46"/>
                    <a:pt x="372" y="44"/>
                  </a:cubicBezTo>
                  <a:cubicBezTo>
                    <a:pt x="373" y="42"/>
                    <a:pt x="374" y="44"/>
                    <a:pt x="376" y="44"/>
                  </a:cubicBezTo>
                  <a:cubicBezTo>
                    <a:pt x="377" y="46"/>
                    <a:pt x="379" y="45"/>
                    <a:pt x="379" y="47"/>
                  </a:cubicBezTo>
                  <a:cubicBezTo>
                    <a:pt x="385" y="48"/>
                    <a:pt x="389" y="46"/>
                    <a:pt x="394" y="47"/>
                  </a:cubicBezTo>
                  <a:cubicBezTo>
                    <a:pt x="394" y="47"/>
                    <a:pt x="394" y="49"/>
                    <a:pt x="395" y="49"/>
                  </a:cubicBezTo>
                  <a:cubicBezTo>
                    <a:pt x="397" y="49"/>
                    <a:pt x="397" y="50"/>
                    <a:pt x="398" y="50"/>
                  </a:cubicBezTo>
                  <a:cubicBezTo>
                    <a:pt x="404" y="50"/>
                    <a:pt x="409" y="47"/>
                    <a:pt x="416" y="49"/>
                  </a:cubicBezTo>
                  <a:cubicBezTo>
                    <a:pt x="420" y="45"/>
                    <a:pt x="419" y="43"/>
                    <a:pt x="421" y="40"/>
                  </a:cubicBezTo>
                  <a:cubicBezTo>
                    <a:pt x="420" y="35"/>
                    <a:pt x="416" y="37"/>
                    <a:pt x="415" y="35"/>
                  </a:cubicBezTo>
                  <a:cubicBezTo>
                    <a:pt x="416" y="28"/>
                    <a:pt x="429" y="31"/>
                    <a:pt x="432" y="34"/>
                  </a:cubicBezTo>
                  <a:cubicBezTo>
                    <a:pt x="432" y="36"/>
                    <a:pt x="431" y="37"/>
                    <a:pt x="428" y="37"/>
                  </a:cubicBezTo>
                  <a:cubicBezTo>
                    <a:pt x="431" y="40"/>
                    <a:pt x="428" y="41"/>
                    <a:pt x="427" y="43"/>
                  </a:cubicBezTo>
                  <a:cubicBezTo>
                    <a:pt x="426" y="46"/>
                    <a:pt x="429" y="46"/>
                    <a:pt x="431" y="46"/>
                  </a:cubicBezTo>
                  <a:cubicBezTo>
                    <a:pt x="429" y="50"/>
                    <a:pt x="432" y="51"/>
                    <a:pt x="429" y="55"/>
                  </a:cubicBezTo>
                  <a:cubicBezTo>
                    <a:pt x="434" y="57"/>
                    <a:pt x="437" y="47"/>
                    <a:pt x="435" y="49"/>
                  </a:cubicBezTo>
                  <a:cubicBezTo>
                    <a:pt x="436" y="48"/>
                    <a:pt x="440" y="52"/>
                    <a:pt x="438" y="46"/>
                  </a:cubicBezTo>
                  <a:cubicBezTo>
                    <a:pt x="445" y="47"/>
                    <a:pt x="443" y="40"/>
                    <a:pt x="447" y="38"/>
                  </a:cubicBezTo>
                  <a:cubicBezTo>
                    <a:pt x="445" y="34"/>
                    <a:pt x="443" y="31"/>
                    <a:pt x="437" y="31"/>
                  </a:cubicBezTo>
                  <a:cubicBezTo>
                    <a:pt x="440" y="29"/>
                    <a:pt x="434" y="25"/>
                    <a:pt x="429" y="23"/>
                  </a:cubicBezTo>
                  <a:cubicBezTo>
                    <a:pt x="430" y="21"/>
                    <a:pt x="430" y="19"/>
                    <a:pt x="428" y="19"/>
                  </a:cubicBezTo>
                  <a:cubicBezTo>
                    <a:pt x="428" y="16"/>
                    <a:pt x="432" y="14"/>
                    <a:pt x="432" y="12"/>
                  </a:cubicBezTo>
                  <a:cubicBezTo>
                    <a:pt x="433" y="11"/>
                    <a:pt x="436" y="9"/>
                    <a:pt x="435" y="9"/>
                  </a:cubicBezTo>
                  <a:cubicBezTo>
                    <a:pt x="431" y="5"/>
                    <a:pt x="441" y="10"/>
                    <a:pt x="437" y="6"/>
                  </a:cubicBezTo>
                  <a:cubicBezTo>
                    <a:pt x="437" y="0"/>
                    <a:pt x="441" y="7"/>
                    <a:pt x="441" y="7"/>
                  </a:cubicBezTo>
                  <a:cubicBezTo>
                    <a:pt x="443" y="8"/>
                    <a:pt x="446" y="6"/>
                    <a:pt x="447" y="7"/>
                  </a:cubicBezTo>
                  <a:cubicBezTo>
                    <a:pt x="448" y="7"/>
                    <a:pt x="445" y="9"/>
                    <a:pt x="446" y="10"/>
                  </a:cubicBezTo>
                  <a:cubicBezTo>
                    <a:pt x="446" y="11"/>
                    <a:pt x="450" y="9"/>
                    <a:pt x="450" y="10"/>
                  </a:cubicBezTo>
                  <a:cubicBezTo>
                    <a:pt x="451" y="11"/>
                    <a:pt x="450" y="14"/>
                    <a:pt x="450" y="15"/>
                  </a:cubicBezTo>
                  <a:cubicBezTo>
                    <a:pt x="451" y="15"/>
                    <a:pt x="453" y="14"/>
                    <a:pt x="453" y="15"/>
                  </a:cubicBezTo>
                  <a:cubicBezTo>
                    <a:pt x="455" y="18"/>
                    <a:pt x="451" y="17"/>
                    <a:pt x="453" y="20"/>
                  </a:cubicBezTo>
                  <a:cubicBezTo>
                    <a:pt x="454" y="21"/>
                    <a:pt x="455" y="22"/>
                    <a:pt x="455" y="23"/>
                  </a:cubicBezTo>
                  <a:cubicBezTo>
                    <a:pt x="455" y="23"/>
                    <a:pt x="453" y="24"/>
                    <a:pt x="453" y="25"/>
                  </a:cubicBezTo>
                  <a:cubicBezTo>
                    <a:pt x="453" y="27"/>
                    <a:pt x="452" y="27"/>
                    <a:pt x="452" y="29"/>
                  </a:cubicBezTo>
                  <a:cubicBezTo>
                    <a:pt x="451" y="32"/>
                    <a:pt x="461" y="32"/>
                    <a:pt x="459" y="28"/>
                  </a:cubicBezTo>
                  <a:cubicBezTo>
                    <a:pt x="462" y="28"/>
                    <a:pt x="461" y="32"/>
                    <a:pt x="465" y="31"/>
                  </a:cubicBezTo>
                  <a:cubicBezTo>
                    <a:pt x="462" y="34"/>
                    <a:pt x="466" y="34"/>
                    <a:pt x="465" y="38"/>
                  </a:cubicBezTo>
                  <a:cubicBezTo>
                    <a:pt x="472" y="39"/>
                    <a:pt x="470" y="34"/>
                    <a:pt x="475" y="37"/>
                  </a:cubicBezTo>
                  <a:cubicBezTo>
                    <a:pt x="477" y="37"/>
                    <a:pt x="477" y="36"/>
                    <a:pt x="477" y="35"/>
                  </a:cubicBezTo>
                  <a:cubicBezTo>
                    <a:pt x="480" y="36"/>
                    <a:pt x="475" y="37"/>
                    <a:pt x="478" y="40"/>
                  </a:cubicBezTo>
                  <a:cubicBezTo>
                    <a:pt x="478" y="40"/>
                    <a:pt x="481" y="41"/>
                    <a:pt x="481" y="41"/>
                  </a:cubicBezTo>
                  <a:cubicBezTo>
                    <a:pt x="482" y="44"/>
                    <a:pt x="476" y="46"/>
                    <a:pt x="478" y="50"/>
                  </a:cubicBezTo>
                  <a:close/>
                  <a:moveTo>
                    <a:pt x="302" y="66"/>
                  </a:moveTo>
                  <a:cubicBezTo>
                    <a:pt x="301" y="64"/>
                    <a:pt x="304" y="63"/>
                    <a:pt x="302" y="62"/>
                  </a:cubicBezTo>
                  <a:cubicBezTo>
                    <a:pt x="302" y="63"/>
                    <a:pt x="302" y="64"/>
                    <a:pt x="301" y="63"/>
                  </a:cubicBezTo>
                  <a:cubicBezTo>
                    <a:pt x="300" y="62"/>
                    <a:pt x="301" y="59"/>
                    <a:pt x="299" y="59"/>
                  </a:cubicBezTo>
                  <a:cubicBezTo>
                    <a:pt x="297" y="61"/>
                    <a:pt x="290" y="66"/>
                    <a:pt x="287" y="62"/>
                  </a:cubicBezTo>
                  <a:cubicBezTo>
                    <a:pt x="287" y="58"/>
                    <a:pt x="294" y="63"/>
                    <a:pt x="292" y="58"/>
                  </a:cubicBezTo>
                  <a:cubicBezTo>
                    <a:pt x="291" y="57"/>
                    <a:pt x="289" y="57"/>
                    <a:pt x="289" y="56"/>
                  </a:cubicBezTo>
                  <a:cubicBezTo>
                    <a:pt x="286" y="55"/>
                    <a:pt x="285" y="58"/>
                    <a:pt x="283" y="59"/>
                  </a:cubicBezTo>
                  <a:cubicBezTo>
                    <a:pt x="280" y="60"/>
                    <a:pt x="276" y="60"/>
                    <a:pt x="272" y="60"/>
                  </a:cubicBezTo>
                  <a:cubicBezTo>
                    <a:pt x="272" y="61"/>
                    <a:pt x="272" y="62"/>
                    <a:pt x="271" y="62"/>
                  </a:cubicBezTo>
                  <a:cubicBezTo>
                    <a:pt x="266" y="63"/>
                    <a:pt x="261" y="64"/>
                    <a:pt x="256" y="63"/>
                  </a:cubicBezTo>
                  <a:cubicBezTo>
                    <a:pt x="257" y="66"/>
                    <a:pt x="254" y="67"/>
                    <a:pt x="256" y="68"/>
                  </a:cubicBezTo>
                  <a:cubicBezTo>
                    <a:pt x="256" y="66"/>
                    <a:pt x="258" y="67"/>
                    <a:pt x="258" y="69"/>
                  </a:cubicBezTo>
                  <a:cubicBezTo>
                    <a:pt x="264" y="70"/>
                    <a:pt x="274" y="64"/>
                    <a:pt x="275" y="69"/>
                  </a:cubicBezTo>
                  <a:cubicBezTo>
                    <a:pt x="272" y="66"/>
                    <a:pt x="274" y="70"/>
                    <a:pt x="271" y="71"/>
                  </a:cubicBezTo>
                  <a:cubicBezTo>
                    <a:pt x="268" y="71"/>
                    <a:pt x="266" y="72"/>
                    <a:pt x="265" y="74"/>
                  </a:cubicBezTo>
                  <a:cubicBezTo>
                    <a:pt x="273" y="75"/>
                    <a:pt x="277" y="72"/>
                    <a:pt x="284" y="72"/>
                  </a:cubicBezTo>
                  <a:cubicBezTo>
                    <a:pt x="285" y="74"/>
                    <a:pt x="284" y="77"/>
                    <a:pt x="286" y="77"/>
                  </a:cubicBezTo>
                  <a:cubicBezTo>
                    <a:pt x="286" y="75"/>
                    <a:pt x="288" y="75"/>
                    <a:pt x="290" y="75"/>
                  </a:cubicBezTo>
                  <a:cubicBezTo>
                    <a:pt x="290" y="73"/>
                    <a:pt x="291" y="70"/>
                    <a:pt x="293" y="69"/>
                  </a:cubicBezTo>
                  <a:cubicBezTo>
                    <a:pt x="296" y="67"/>
                    <a:pt x="295" y="69"/>
                    <a:pt x="299" y="69"/>
                  </a:cubicBezTo>
                  <a:cubicBezTo>
                    <a:pt x="299" y="68"/>
                    <a:pt x="300" y="66"/>
                    <a:pt x="302" y="66"/>
                  </a:cubicBezTo>
                  <a:close/>
                  <a:moveTo>
                    <a:pt x="312" y="117"/>
                  </a:moveTo>
                  <a:cubicBezTo>
                    <a:pt x="313" y="113"/>
                    <a:pt x="318" y="114"/>
                    <a:pt x="320" y="112"/>
                  </a:cubicBezTo>
                  <a:cubicBezTo>
                    <a:pt x="320" y="112"/>
                    <a:pt x="322" y="113"/>
                    <a:pt x="323" y="112"/>
                  </a:cubicBezTo>
                  <a:cubicBezTo>
                    <a:pt x="325" y="111"/>
                    <a:pt x="328" y="112"/>
                    <a:pt x="330" y="111"/>
                  </a:cubicBezTo>
                  <a:cubicBezTo>
                    <a:pt x="331" y="111"/>
                    <a:pt x="331" y="108"/>
                    <a:pt x="332" y="108"/>
                  </a:cubicBezTo>
                  <a:cubicBezTo>
                    <a:pt x="336" y="105"/>
                    <a:pt x="339" y="109"/>
                    <a:pt x="339" y="106"/>
                  </a:cubicBezTo>
                  <a:cubicBezTo>
                    <a:pt x="338" y="106"/>
                    <a:pt x="337" y="105"/>
                    <a:pt x="339" y="105"/>
                  </a:cubicBezTo>
                  <a:cubicBezTo>
                    <a:pt x="342" y="105"/>
                    <a:pt x="342" y="103"/>
                    <a:pt x="344" y="105"/>
                  </a:cubicBezTo>
                  <a:cubicBezTo>
                    <a:pt x="344" y="106"/>
                    <a:pt x="345" y="103"/>
                    <a:pt x="345" y="103"/>
                  </a:cubicBezTo>
                  <a:cubicBezTo>
                    <a:pt x="342" y="104"/>
                    <a:pt x="346" y="100"/>
                    <a:pt x="348" y="103"/>
                  </a:cubicBezTo>
                  <a:cubicBezTo>
                    <a:pt x="349" y="101"/>
                    <a:pt x="351" y="100"/>
                    <a:pt x="351" y="96"/>
                  </a:cubicBezTo>
                  <a:cubicBezTo>
                    <a:pt x="345" y="95"/>
                    <a:pt x="345" y="99"/>
                    <a:pt x="339" y="98"/>
                  </a:cubicBezTo>
                  <a:cubicBezTo>
                    <a:pt x="339" y="100"/>
                    <a:pt x="338" y="101"/>
                    <a:pt x="336" y="102"/>
                  </a:cubicBezTo>
                  <a:cubicBezTo>
                    <a:pt x="331" y="104"/>
                    <a:pt x="333" y="101"/>
                    <a:pt x="329" y="102"/>
                  </a:cubicBezTo>
                  <a:cubicBezTo>
                    <a:pt x="328" y="102"/>
                    <a:pt x="328" y="104"/>
                    <a:pt x="326" y="103"/>
                  </a:cubicBezTo>
                  <a:cubicBezTo>
                    <a:pt x="324" y="103"/>
                    <a:pt x="323" y="101"/>
                    <a:pt x="320" y="102"/>
                  </a:cubicBezTo>
                  <a:cubicBezTo>
                    <a:pt x="320" y="101"/>
                    <a:pt x="320" y="99"/>
                    <a:pt x="318" y="99"/>
                  </a:cubicBezTo>
                  <a:cubicBezTo>
                    <a:pt x="318" y="101"/>
                    <a:pt x="318" y="102"/>
                    <a:pt x="317" y="103"/>
                  </a:cubicBezTo>
                  <a:cubicBezTo>
                    <a:pt x="317" y="105"/>
                    <a:pt x="319" y="105"/>
                    <a:pt x="320" y="106"/>
                  </a:cubicBezTo>
                  <a:cubicBezTo>
                    <a:pt x="315" y="105"/>
                    <a:pt x="315" y="108"/>
                    <a:pt x="314" y="109"/>
                  </a:cubicBezTo>
                  <a:cubicBezTo>
                    <a:pt x="312" y="111"/>
                    <a:pt x="308" y="110"/>
                    <a:pt x="308" y="112"/>
                  </a:cubicBezTo>
                  <a:cubicBezTo>
                    <a:pt x="308" y="116"/>
                    <a:pt x="301" y="112"/>
                    <a:pt x="304" y="117"/>
                  </a:cubicBezTo>
                  <a:cubicBezTo>
                    <a:pt x="306" y="117"/>
                    <a:pt x="309" y="117"/>
                    <a:pt x="312" y="117"/>
                  </a:cubicBezTo>
                  <a:close/>
                  <a:moveTo>
                    <a:pt x="421" y="175"/>
                  </a:moveTo>
                  <a:cubicBezTo>
                    <a:pt x="419" y="175"/>
                    <a:pt x="420" y="176"/>
                    <a:pt x="419" y="176"/>
                  </a:cubicBezTo>
                  <a:cubicBezTo>
                    <a:pt x="419" y="176"/>
                    <a:pt x="415" y="177"/>
                    <a:pt x="415" y="178"/>
                  </a:cubicBezTo>
                  <a:cubicBezTo>
                    <a:pt x="414" y="179"/>
                    <a:pt x="416" y="183"/>
                    <a:pt x="413" y="183"/>
                  </a:cubicBezTo>
                  <a:cubicBezTo>
                    <a:pt x="413" y="182"/>
                    <a:pt x="413" y="179"/>
                    <a:pt x="412" y="179"/>
                  </a:cubicBezTo>
                  <a:cubicBezTo>
                    <a:pt x="412" y="181"/>
                    <a:pt x="412" y="183"/>
                    <a:pt x="412" y="185"/>
                  </a:cubicBezTo>
                  <a:cubicBezTo>
                    <a:pt x="414" y="185"/>
                    <a:pt x="417" y="185"/>
                    <a:pt x="419" y="185"/>
                  </a:cubicBezTo>
                  <a:cubicBezTo>
                    <a:pt x="418" y="187"/>
                    <a:pt x="422" y="189"/>
                    <a:pt x="422" y="191"/>
                  </a:cubicBezTo>
                  <a:cubicBezTo>
                    <a:pt x="424" y="196"/>
                    <a:pt x="424" y="194"/>
                    <a:pt x="427" y="197"/>
                  </a:cubicBezTo>
                  <a:cubicBezTo>
                    <a:pt x="425" y="197"/>
                    <a:pt x="423" y="197"/>
                    <a:pt x="424" y="200"/>
                  </a:cubicBezTo>
                  <a:cubicBezTo>
                    <a:pt x="424" y="202"/>
                    <a:pt x="425" y="202"/>
                    <a:pt x="425" y="204"/>
                  </a:cubicBezTo>
                  <a:cubicBezTo>
                    <a:pt x="427" y="204"/>
                    <a:pt x="429" y="204"/>
                    <a:pt x="431" y="204"/>
                  </a:cubicBezTo>
                  <a:cubicBezTo>
                    <a:pt x="433" y="202"/>
                    <a:pt x="433" y="199"/>
                    <a:pt x="432" y="195"/>
                  </a:cubicBezTo>
                  <a:cubicBezTo>
                    <a:pt x="431" y="195"/>
                    <a:pt x="429" y="194"/>
                    <a:pt x="428" y="192"/>
                  </a:cubicBezTo>
                  <a:cubicBezTo>
                    <a:pt x="431" y="184"/>
                    <a:pt x="428" y="189"/>
                    <a:pt x="427" y="186"/>
                  </a:cubicBezTo>
                  <a:cubicBezTo>
                    <a:pt x="425" y="184"/>
                    <a:pt x="425" y="178"/>
                    <a:pt x="424" y="175"/>
                  </a:cubicBezTo>
                  <a:cubicBezTo>
                    <a:pt x="423" y="175"/>
                    <a:pt x="422" y="174"/>
                    <a:pt x="421" y="175"/>
                  </a:cubicBezTo>
                  <a:close/>
                  <a:moveTo>
                    <a:pt x="478" y="221"/>
                  </a:moveTo>
                  <a:cubicBezTo>
                    <a:pt x="474" y="219"/>
                    <a:pt x="475" y="223"/>
                    <a:pt x="472" y="224"/>
                  </a:cubicBezTo>
                  <a:cubicBezTo>
                    <a:pt x="472" y="222"/>
                    <a:pt x="471" y="222"/>
                    <a:pt x="470" y="222"/>
                  </a:cubicBezTo>
                  <a:cubicBezTo>
                    <a:pt x="470" y="227"/>
                    <a:pt x="464" y="225"/>
                    <a:pt x="462" y="226"/>
                  </a:cubicBezTo>
                  <a:cubicBezTo>
                    <a:pt x="461" y="228"/>
                    <a:pt x="462" y="228"/>
                    <a:pt x="461" y="229"/>
                  </a:cubicBezTo>
                  <a:cubicBezTo>
                    <a:pt x="460" y="230"/>
                    <a:pt x="458" y="229"/>
                    <a:pt x="458" y="231"/>
                  </a:cubicBezTo>
                  <a:cubicBezTo>
                    <a:pt x="460" y="232"/>
                    <a:pt x="457" y="233"/>
                    <a:pt x="458" y="235"/>
                  </a:cubicBezTo>
                  <a:cubicBezTo>
                    <a:pt x="461" y="238"/>
                    <a:pt x="461" y="233"/>
                    <a:pt x="464" y="232"/>
                  </a:cubicBezTo>
                  <a:cubicBezTo>
                    <a:pt x="466" y="232"/>
                    <a:pt x="469" y="233"/>
                    <a:pt x="472" y="232"/>
                  </a:cubicBezTo>
                  <a:cubicBezTo>
                    <a:pt x="474" y="232"/>
                    <a:pt x="475" y="231"/>
                    <a:pt x="477" y="231"/>
                  </a:cubicBezTo>
                  <a:cubicBezTo>
                    <a:pt x="480" y="231"/>
                    <a:pt x="485" y="232"/>
                    <a:pt x="486" y="234"/>
                  </a:cubicBezTo>
                  <a:cubicBezTo>
                    <a:pt x="485" y="234"/>
                    <a:pt x="483" y="234"/>
                    <a:pt x="483" y="235"/>
                  </a:cubicBezTo>
                  <a:cubicBezTo>
                    <a:pt x="484" y="234"/>
                    <a:pt x="484" y="237"/>
                    <a:pt x="484" y="237"/>
                  </a:cubicBezTo>
                  <a:cubicBezTo>
                    <a:pt x="485" y="237"/>
                    <a:pt x="486" y="235"/>
                    <a:pt x="486" y="235"/>
                  </a:cubicBezTo>
                  <a:cubicBezTo>
                    <a:pt x="492" y="236"/>
                    <a:pt x="489" y="236"/>
                    <a:pt x="493" y="234"/>
                  </a:cubicBezTo>
                  <a:cubicBezTo>
                    <a:pt x="498" y="231"/>
                    <a:pt x="501" y="236"/>
                    <a:pt x="504" y="232"/>
                  </a:cubicBezTo>
                  <a:cubicBezTo>
                    <a:pt x="500" y="232"/>
                    <a:pt x="504" y="226"/>
                    <a:pt x="501" y="229"/>
                  </a:cubicBezTo>
                  <a:cubicBezTo>
                    <a:pt x="498" y="232"/>
                    <a:pt x="498" y="224"/>
                    <a:pt x="498" y="224"/>
                  </a:cubicBezTo>
                  <a:cubicBezTo>
                    <a:pt x="497" y="223"/>
                    <a:pt x="493" y="224"/>
                    <a:pt x="495" y="221"/>
                  </a:cubicBezTo>
                  <a:cubicBezTo>
                    <a:pt x="492" y="221"/>
                    <a:pt x="490" y="221"/>
                    <a:pt x="487" y="221"/>
                  </a:cubicBezTo>
                  <a:cubicBezTo>
                    <a:pt x="488" y="218"/>
                    <a:pt x="489" y="218"/>
                    <a:pt x="487" y="216"/>
                  </a:cubicBezTo>
                  <a:cubicBezTo>
                    <a:pt x="483" y="218"/>
                    <a:pt x="484" y="216"/>
                    <a:pt x="478" y="216"/>
                  </a:cubicBezTo>
                  <a:cubicBezTo>
                    <a:pt x="478" y="218"/>
                    <a:pt x="477" y="219"/>
                    <a:pt x="478" y="221"/>
                  </a:cubicBezTo>
                  <a:close/>
                  <a:moveTo>
                    <a:pt x="518" y="258"/>
                  </a:moveTo>
                  <a:cubicBezTo>
                    <a:pt x="518" y="258"/>
                    <a:pt x="517" y="257"/>
                    <a:pt x="517" y="256"/>
                  </a:cubicBezTo>
                  <a:cubicBezTo>
                    <a:pt x="523" y="257"/>
                    <a:pt x="517" y="246"/>
                    <a:pt x="523" y="247"/>
                  </a:cubicBezTo>
                  <a:cubicBezTo>
                    <a:pt x="526" y="250"/>
                    <a:pt x="527" y="246"/>
                    <a:pt x="532" y="247"/>
                  </a:cubicBezTo>
                  <a:cubicBezTo>
                    <a:pt x="529" y="238"/>
                    <a:pt x="519" y="237"/>
                    <a:pt x="510" y="238"/>
                  </a:cubicBezTo>
                  <a:cubicBezTo>
                    <a:pt x="508" y="238"/>
                    <a:pt x="508" y="237"/>
                    <a:pt x="508" y="235"/>
                  </a:cubicBezTo>
                  <a:cubicBezTo>
                    <a:pt x="505" y="234"/>
                    <a:pt x="504" y="238"/>
                    <a:pt x="501" y="238"/>
                  </a:cubicBezTo>
                  <a:cubicBezTo>
                    <a:pt x="499" y="238"/>
                    <a:pt x="499" y="236"/>
                    <a:pt x="496" y="237"/>
                  </a:cubicBezTo>
                  <a:cubicBezTo>
                    <a:pt x="494" y="237"/>
                    <a:pt x="494" y="239"/>
                    <a:pt x="492" y="240"/>
                  </a:cubicBezTo>
                  <a:cubicBezTo>
                    <a:pt x="490" y="241"/>
                    <a:pt x="488" y="240"/>
                    <a:pt x="486" y="241"/>
                  </a:cubicBezTo>
                  <a:cubicBezTo>
                    <a:pt x="486" y="244"/>
                    <a:pt x="485" y="245"/>
                    <a:pt x="483" y="246"/>
                  </a:cubicBezTo>
                  <a:cubicBezTo>
                    <a:pt x="483" y="258"/>
                    <a:pt x="481" y="258"/>
                    <a:pt x="481" y="271"/>
                  </a:cubicBezTo>
                  <a:cubicBezTo>
                    <a:pt x="487" y="273"/>
                    <a:pt x="484" y="267"/>
                    <a:pt x="489" y="268"/>
                  </a:cubicBezTo>
                  <a:cubicBezTo>
                    <a:pt x="489" y="265"/>
                    <a:pt x="489" y="263"/>
                    <a:pt x="490" y="262"/>
                  </a:cubicBezTo>
                  <a:cubicBezTo>
                    <a:pt x="493" y="259"/>
                    <a:pt x="491" y="255"/>
                    <a:pt x="492" y="250"/>
                  </a:cubicBezTo>
                  <a:cubicBezTo>
                    <a:pt x="492" y="250"/>
                    <a:pt x="494" y="248"/>
                    <a:pt x="495" y="247"/>
                  </a:cubicBezTo>
                  <a:cubicBezTo>
                    <a:pt x="495" y="246"/>
                    <a:pt x="494" y="243"/>
                    <a:pt x="496" y="243"/>
                  </a:cubicBezTo>
                  <a:cubicBezTo>
                    <a:pt x="499" y="243"/>
                    <a:pt x="501" y="242"/>
                    <a:pt x="502" y="241"/>
                  </a:cubicBezTo>
                  <a:cubicBezTo>
                    <a:pt x="500" y="247"/>
                    <a:pt x="507" y="242"/>
                    <a:pt x="507" y="246"/>
                  </a:cubicBezTo>
                  <a:cubicBezTo>
                    <a:pt x="508" y="250"/>
                    <a:pt x="508" y="249"/>
                    <a:pt x="507" y="253"/>
                  </a:cubicBezTo>
                  <a:cubicBezTo>
                    <a:pt x="508" y="253"/>
                    <a:pt x="510" y="253"/>
                    <a:pt x="510" y="255"/>
                  </a:cubicBezTo>
                  <a:cubicBezTo>
                    <a:pt x="508" y="255"/>
                    <a:pt x="507" y="255"/>
                    <a:pt x="507" y="256"/>
                  </a:cubicBezTo>
                  <a:cubicBezTo>
                    <a:pt x="512" y="254"/>
                    <a:pt x="517" y="261"/>
                    <a:pt x="518" y="258"/>
                  </a:cubicBezTo>
                  <a:close/>
                  <a:moveTo>
                    <a:pt x="545" y="252"/>
                  </a:moveTo>
                  <a:cubicBezTo>
                    <a:pt x="545" y="252"/>
                    <a:pt x="545" y="254"/>
                    <a:pt x="545" y="255"/>
                  </a:cubicBezTo>
                  <a:cubicBezTo>
                    <a:pt x="543" y="257"/>
                    <a:pt x="536" y="250"/>
                    <a:pt x="533" y="253"/>
                  </a:cubicBezTo>
                  <a:cubicBezTo>
                    <a:pt x="534" y="256"/>
                    <a:pt x="531" y="256"/>
                    <a:pt x="530" y="258"/>
                  </a:cubicBezTo>
                  <a:cubicBezTo>
                    <a:pt x="534" y="262"/>
                    <a:pt x="535" y="259"/>
                    <a:pt x="539" y="259"/>
                  </a:cubicBezTo>
                  <a:cubicBezTo>
                    <a:pt x="542" y="259"/>
                    <a:pt x="548" y="260"/>
                    <a:pt x="550" y="258"/>
                  </a:cubicBezTo>
                  <a:cubicBezTo>
                    <a:pt x="549" y="258"/>
                    <a:pt x="548" y="256"/>
                    <a:pt x="550" y="256"/>
                  </a:cubicBezTo>
                  <a:cubicBezTo>
                    <a:pt x="551" y="256"/>
                    <a:pt x="552" y="256"/>
                    <a:pt x="553" y="255"/>
                  </a:cubicBezTo>
                  <a:cubicBezTo>
                    <a:pt x="549" y="255"/>
                    <a:pt x="548" y="252"/>
                    <a:pt x="545" y="252"/>
                  </a:cubicBezTo>
                  <a:close/>
                  <a:moveTo>
                    <a:pt x="524" y="264"/>
                  </a:moveTo>
                  <a:cubicBezTo>
                    <a:pt x="524" y="263"/>
                    <a:pt x="523" y="261"/>
                    <a:pt x="521" y="262"/>
                  </a:cubicBezTo>
                  <a:cubicBezTo>
                    <a:pt x="521" y="262"/>
                    <a:pt x="522" y="265"/>
                    <a:pt x="521" y="265"/>
                  </a:cubicBezTo>
                  <a:cubicBezTo>
                    <a:pt x="519" y="265"/>
                    <a:pt x="516" y="265"/>
                    <a:pt x="514" y="265"/>
                  </a:cubicBezTo>
                  <a:cubicBezTo>
                    <a:pt x="516" y="270"/>
                    <a:pt x="509" y="266"/>
                    <a:pt x="510" y="269"/>
                  </a:cubicBezTo>
                  <a:cubicBezTo>
                    <a:pt x="511" y="269"/>
                    <a:pt x="512" y="269"/>
                    <a:pt x="514" y="269"/>
                  </a:cubicBezTo>
                  <a:cubicBezTo>
                    <a:pt x="514" y="271"/>
                    <a:pt x="513" y="271"/>
                    <a:pt x="512" y="272"/>
                  </a:cubicBezTo>
                  <a:cubicBezTo>
                    <a:pt x="517" y="273"/>
                    <a:pt x="515" y="269"/>
                    <a:pt x="518" y="269"/>
                  </a:cubicBezTo>
                  <a:cubicBezTo>
                    <a:pt x="520" y="271"/>
                    <a:pt x="522" y="271"/>
                    <a:pt x="526" y="271"/>
                  </a:cubicBezTo>
                  <a:cubicBezTo>
                    <a:pt x="525" y="265"/>
                    <a:pt x="536" y="270"/>
                    <a:pt x="533" y="262"/>
                  </a:cubicBezTo>
                  <a:cubicBezTo>
                    <a:pt x="529" y="261"/>
                    <a:pt x="526" y="264"/>
                    <a:pt x="524" y="264"/>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107" name="Freeform 92">
              <a:extLst>
                <a:ext uri="{FF2B5EF4-FFF2-40B4-BE49-F238E27FC236}">
                  <a16:creationId xmlns:a16="http://schemas.microsoft.com/office/drawing/2014/main" id="{685BE1F7-5C75-4F84-A3BD-037EC03E8B9C}"/>
                </a:ext>
              </a:extLst>
            </p:cNvPr>
            <p:cNvSpPr>
              <a:spLocks/>
            </p:cNvSpPr>
            <p:nvPr/>
          </p:nvSpPr>
          <p:spPr bwMode="auto">
            <a:xfrm>
              <a:off x="1832885" y="1906615"/>
              <a:ext cx="131599" cy="196243"/>
            </a:xfrm>
            <a:custGeom>
              <a:avLst/>
              <a:gdLst>
                <a:gd name="T0" fmla="*/ 14 w 48"/>
                <a:gd name="T1" fmla="*/ 7 h 72"/>
                <a:gd name="T2" fmla="*/ 24 w 48"/>
                <a:gd name="T3" fmla="*/ 5 h 72"/>
                <a:gd name="T4" fmla="*/ 26 w 48"/>
                <a:gd name="T5" fmla="*/ 14 h 72"/>
                <a:gd name="T6" fmla="*/ 18 w 48"/>
                <a:gd name="T7" fmla="*/ 19 h 72"/>
                <a:gd name="T8" fmla="*/ 27 w 48"/>
                <a:gd name="T9" fmla="*/ 23 h 72"/>
                <a:gd name="T10" fmla="*/ 32 w 48"/>
                <a:gd name="T11" fmla="*/ 34 h 72"/>
                <a:gd name="T12" fmla="*/ 35 w 48"/>
                <a:gd name="T13" fmla="*/ 37 h 72"/>
                <a:gd name="T14" fmla="*/ 40 w 48"/>
                <a:gd name="T15" fmla="*/ 40 h 72"/>
                <a:gd name="T16" fmla="*/ 37 w 48"/>
                <a:gd name="T17" fmla="*/ 45 h 72"/>
                <a:gd name="T18" fmla="*/ 46 w 48"/>
                <a:gd name="T19" fmla="*/ 47 h 72"/>
                <a:gd name="T20" fmla="*/ 46 w 48"/>
                <a:gd name="T21" fmla="*/ 56 h 72"/>
                <a:gd name="T22" fmla="*/ 43 w 48"/>
                <a:gd name="T23" fmla="*/ 56 h 72"/>
                <a:gd name="T24" fmla="*/ 46 w 48"/>
                <a:gd name="T25" fmla="*/ 57 h 72"/>
                <a:gd name="T26" fmla="*/ 43 w 48"/>
                <a:gd name="T27" fmla="*/ 62 h 72"/>
                <a:gd name="T28" fmla="*/ 39 w 48"/>
                <a:gd name="T29" fmla="*/ 65 h 72"/>
                <a:gd name="T30" fmla="*/ 24 w 48"/>
                <a:gd name="T31" fmla="*/ 63 h 72"/>
                <a:gd name="T32" fmla="*/ 18 w 48"/>
                <a:gd name="T33" fmla="*/ 65 h 72"/>
                <a:gd name="T34" fmla="*/ 8 w 48"/>
                <a:gd name="T35" fmla="*/ 65 h 72"/>
                <a:gd name="T36" fmla="*/ 11 w 48"/>
                <a:gd name="T37" fmla="*/ 63 h 72"/>
                <a:gd name="T38" fmla="*/ 12 w 48"/>
                <a:gd name="T39" fmla="*/ 65 h 72"/>
                <a:gd name="T40" fmla="*/ 14 w 48"/>
                <a:gd name="T41" fmla="*/ 62 h 72"/>
                <a:gd name="T42" fmla="*/ 23 w 48"/>
                <a:gd name="T43" fmla="*/ 60 h 72"/>
                <a:gd name="T44" fmla="*/ 11 w 48"/>
                <a:gd name="T45" fmla="*/ 56 h 72"/>
                <a:gd name="T46" fmla="*/ 11 w 48"/>
                <a:gd name="T47" fmla="*/ 47 h 72"/>
                <a:gd name="T48" fmla="*/ 14 w 48"/>
                <a:gd name="T49" fmla="*/ 45 h 72"/>
                <a:gd name="T50" fmla="*/ 20 w 48"/>
                <a:gd name="T51" fmla="*/ 45 h 72"/>
                <a:gd name="T52" fmla="*/ 21 w 48"/>
                <a:gd name="T53" fmla="*/ 37 h 72"/>
                <a:gd name="T54" fmla="*/ 17 w 48"/>
                <a:gd name="T55" fmla="*/ 31 h 72"/>
                <a:gd name="T56" fmla="*/ 11 w 48"/>
                <a:gd name="T57" fmla="*/ 32 h 72"/>
                <a:gd name="T58" fmla="*/ 11 w 48"/>
                <a:gd name="T59" fmla="*/ 25 h 72"/>
                <a:gd name="T60" fmla="*/ 5 w 48"/>
                <a:gd name="T61" fmla="*/ 22 h 72"/>
                <a:gd name="T62" fmla="*/ 0 w 48"/>
                <a:gd name="T63" fmla="*/ 7 h 72"/>
                <a:gd name="T64" fmla="*/ 8 w 48"/>
                <a:gd name="T65" fmla="*/ 0 h 72"/>
                <a:gd name="T66" fmla="*/ 21 w 48"/>
                <a:gd name="T67" fmla="*/ 0 h 72"/>
                <a:gd name="T68" fmla="*/ 14 w 48"/>
                <a:gd name="T69" fmla="*/ 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8" h="72">
                  <a:moveTo>
                    <a:pt x="14" y="7"/>
                  </a:moveTo>
                  <a:cubicBezTo>
                    <a:pt x="15" y="10"/>
                    <a:pt x="21" y="5"/>
                    <a:pt x="24" y="5"/>
                  </a:cubicBezTo>
                  <a:cubicBezTo>
                    <a:pt x="26" y="7"/>
                    <a:pt x="26" y="11"/>
                    <a:pt x="26" y="14"/>
                  </a:cubicBezTo>
                  <a:cubicBezTo>
                    <a:pt x="22" y="15"/>
                    <a:pt x="19" y="16"/>
                    <a:pt x="18" y="19"/>
                  </a:cubicBezTo>
                  <a:cubicBezTo>
                    <a:pt x="20" y="22"/>
                    <a:pt x="23" y="23"/>
                    <a:pt x="27" y="23"/>
                  </a:cubicBezTo>
                  <a:cubicBezTo>
                    <a:pt x="27" y="29"/>
                    <a:pt x="33" y="27"/>
                    <a:pt x="32" y="34"/>
                  </a:cubicBezTo>
                  <a:cubicBezTo>
                    <a:pt x="32" y="35"/>
                    <a:pt x="34" y="35"/>
                    <a:pt x="35" y="37"/>
                  </a:cubicBezTo>
                  <a:cubicBezTo>
                    <a:pt x="35" y="39"/>
                    <a:pt x="40" y="38"/>
                    <a:pt x="40" y="40"/>
                  </a:cubicBezTo>
                  <a:cubicBezTo>
                    <a:pt x="40" y="42"/>
                    <a:pt x="38" y="43"/>
                    <a:pt x="37" y="45"/>
                  </a:cubicBezTo>
                  <a:cubicBezTo>
                    <a:pt x="41" y="45"/>
                    <a:pt x="45" y="45"/>
                    <a:pt x="46" y="47"/>
                  </a:cubicBezTo>
                  <a:cubicBezTo>
                    <a:pt x="45" y="49"/>
                    <a:pt x="48" y="53"/>
                    <a:pt x="46" y="56"/>
                  </a:cubicBezTo>
                  <a:cubicBezTo>
                    <a:pt x="46" y="56"/>
                    <a:pt x="43" y="56"/>
                    <a:pt x="43" y="56"/>
                  </a:cubicBezTo>
                  <a:cubicBezTo>
                    <a:pt x="43" y="57"/>
                    <a:pt x="45" y="57"/>
                    <a:pt x="46" y="57"/>
                  </a:cubicBezTo>
                  <a:cubicBezTo>
                    <a:pt x="45" y="59"/>
                    <a:pt x="43" y="59"/>
                    <a:pt x="43" y="62"/>
                  </a:cubicBezTo>
                  <a:cubicBezTo>
                    <a:pt x="41" y="62"/>
                    <a:pt x="41" y="64"/>
                    <a:pt x="39" y="65"/>
                  </a:cubicBezTo>
                  <a:cubicBezTo>
                    <a:pt x="34" y="64"/>
                    <a:pt x="30" y="62"/>
                    <a:pt x="24" y="63"/>
                  </a:cubicBezTo>
                  <a:cubicBezTo>
                    <a:pt x="21" y="66"/>
                    <a:pt x="23" y="66"/>
                    <a:pt x="18" y="65"/>
                  </a:cubicBezTo>
                  <a:cubicBezTo>
                    <a:pt x="16" y="68"/>
                    <a:pt x="8" y="72"/>
                    <a:pt x="8" y="65"/>
                  </a:cubicBezTo>
                  <a:cubicBezTo>
                    <a:pt x="10" y="66"/>
                    <a:pt x="10" y="63"/>
                    <a:pt x="11" y="63"/>
                  </a:cubicBezTo>
                  <a:cubicBezTo>
                    <a:pt x="12" y="63"/>
                    <a:pt x="13" y="65"/>
                    <a:pt x="12" y="65"/>
                  </a:cubicBezTo>
                  <a:cubicBezTo>
                    <a:pt x="14" y="64"/>
                    <a:pt x="13" y="63"/>
                    <a:pt x="14" y="62"/>
                  </a:cubicBezTo>
                  <a:cubicBezTo>
                    <a:pt x="16" y="60"/>
                    <a:pt x="19" y="62"/>
                    <a:pt x="23" y="60"/>
                  </a:cubicBezTo>
                  <a:cubicBezTo>
                    <a:pt x="22" y="53"/>
                    <a:pt x="15" y="58"/>
                    <a:pt x="11" y="56"/>
                  </a:cubicBezTo>
                  <a:cubicBezTo>
                    <a:pt x="11" y="53"/>
                    <a:pt x="11" y="50"/>
                    <a:pt x="11" y="47"/>
                  </a:cubicBezTo>
                  <a:cubicBezTo>
                    <a:pt x="14" y="48"/>
                    <a:pt x="16" y="46"/>
                    <a:pt x="14" y="45"/>
                  </a:cubicBezTo>
                  <a:cubicBezTo>
                    <a:pt x="15" y="41"/>
                    <a:pt x="17" y="47"/>
                    <a:pt x="20" y="45"/>
                  </a:cubicBezTo>
                  <a:cubicBezTo>
                    <a:pt x="23" y="46"/>
                    <a:pt x="17" y="39"/>
                    <a:pt x="21" y="37"/>
                  </a:cubicBezTo>
                  <a:cubicBezTo>
                    <a:pt x="21" y="34"/>
                    <a:pt x="15" y="35"/>
                    <a:pt x="17" y="31"/>
                  </a:cubicBezTo>
                  <a:cubicBezTo>
                    <a:pt x="15" y="32"/>
                    <a:pt x="13" y="32"/>
                    <a:pt x="11" y="32"/>
                  </a:cubicBezTo>
                  <a:cubicBezTo>
                    <a:pt x="11" y="30"/>
                    <a:pt x="11" y="27"/>
                    <a:pt x="11" y="25"/>
                  </a:cubicBezTo>
                  <a:cubicBezTo>
                    <a:pt x="11" y="22"/>
                    <a:pt x="6" y="24"/>
                    <a:pt x="5" y="22"/>
                  </a:cubicBezTo>
                  <a:cubicBezTo>
                    <a:pt x="8" y="16"/>
                    <a:pt x="7" y="8"/>
                    <a:pt x="0" y="7"/>
                  </a:cubicBezTo>
                  <a:cubicBezTo>
                    <a:pt x="3" y="4"/>
                    <a:pt x="7" y="3"/>
                    <a:pt x="8" y="0"/>
                  </a:cubicBezTo>
                  <a:cubicBezTo>
                    <a:pt x="12" y="0"/>
                    <a:pt x="17" y="0"/>
                    <a:pt x="21" y="0"/>
                  </a:cubicBezTo>
                  <a:cubicBezTo>
                    <a:pt x="18" y="2"/>
                    <a:pt x="16" y="4"/>
                    <a:pt x="14" y="7"/>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108" name="Freeform 93">
              <a:extLst>
                <a:ext uri="{FF2B5EF4-FFF2-40B4-BE49-F238E27FC236}">
                  <a16:creationId xmlns:a16="http://schemas.microsoft.com/office/drawing/2014/main" id="{73FC6A60-44CC-4E84-BC9C-52D46FC724B9}"/>
                </a:ext>
              </a:extLst>
            </p:cNvPr>
            <p:cNvSpPr>
              <a:spLocks/>
            </p:cNvSpPr>
            <p:nvPr/>
          </p:nvSpPr>
          <p:spPr bwMode="auto">
            <a:xfrm>
              <a:off x="5420909" y="1914696"/>
              <a:ext cx="35786" cy="27705"/>
            </a:xfrm>
            <a:custGeom>
              <a:avLst/>
              <a:gdLst>
                <a:gd name="T0" fmla="*/ 12 w 13"/>
                <a:gd name="T1" fmla="*/ 1 h 10"/>
                <a:gd name="T2" fmla="*/ 13 w 13"/>
                <a:gd name="T3" fmla="*/ 7 h 10"/>
                <a:gd name="T4" fmla="*/ 6 w 13"/>
                <a:gd name="T5" fmla="*/ 10 h 10"/>
                <a:gd name="T6" fmla="*/ 6 w 13"/>
                <a:gd name="T7" fmla="*/ 7 h 10"/>
                <a:gd name="T8" fmla="*/ 3 w 13"/>
                <a:gd name="T9" fmla="*/ 8 h 10"/>
                <a:gd name="T10" fmla="*/ 4 w 13"/>
                <a:gd name="T11" fmla="*/ 7 h 10"/>
                <a:gd name="T12" fmla="*/ 12 w 13"/>
                <a:gd name="T13" fmla="*/ 1 h 10"/>
              </a:gdLst>
              <a:ahLst/>
              <a:cxnLst>
                <a:cxn ang="0">
                  <a:pos x="T0" y="T1"/>
                </a:cxn>
                <a:cxn ang="0">
                  <a:pos x="T2" y="T3"/>
                </a:cxn>
                <a:cxn ang="0">
                  <a:pos x="T4" y="T5"/>
                </a:cxn>
                <a:cxn ang="0">
                  <a:pos x="T6" y="T7"/>
                </a:cxn>
                <a:cxn ang="0">
                  <a:pos x="T8" y="T9"/>
                </a:cxn>
                <a:cxn ang="0">
                  <a:pos x="T10" y="T11"/>
                </a:cxn>
                <a:cxn ang="0">
                  <a:pos x="T12" y="T13"/>
                </a:cxn>
              </a:cxnLst>
              <a:rect l="0" t="0" r="r" b="b"/>
              <a:pathLst>
                <a:path w="13" h="10">
                  <a:moveTo>
                    <a:pt x="12" y="1"/>
                  </a:moveTo>
                  <a:cubicBezTo>
                    <a:pt x="10" y="3"/>
                    <a:pt x="11" y="5"/>
                    <a:pt x="13" y="7"/>
                  </a:cubicBezTo>
                  <a:cubicBezTo>
                    <a:pt x="12" y="9"/>
                    <a:pt x="8" y="9"/>
                    <a:pt x="6" y="10"/>
                  </a:cubicBezTo>
                  <a:cubicBezTo>
                    <a:pt x="6" y="9"/>
                    <a:pt x="6" y="8"/>
                    <a:pt x="6" y="7"/>
                  </a:cubicBezTo>
                  <a:cubicBezTo>
                    <a:pt x="5" y="7"/>
                    <a:pt x="4" y="8"/>
                    <a:pt x="3" y="8"/>
                  </a:cubicBezTo>
                  <a:cubicBezTo>
                    <a:pt x="0" y="7"/>
                    <a:pt x="3" y="8"/>
                    <a:pt x="4" y="7"/>
                  </a:cubicBezTo>
                  <a:cubicBezTo>
                    <a:pt x="5" y="6"/>
                    <a:pt x="8" y="0"/>
                    <a:pt x="12" y="1"/>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109" name="Freeform 94">
              <a:extLst>
                <a:ext uri="{FF2B5EF4-FFF2-40B4-BE49-F238E27FC236}">
                  <a16:creationId xmlns:a16="http://schemas.microsoft.com/office/drawing/2014/main" id="{5F662ED4-78F1-4277-B1E5-A0F43F8645CA}"/>
                </a:ext>
              </a:extLst>
            </p:cNvPr>
            <p:cNvSpPr>
              <a:spLocks/>
            </p:cNvSpPr>
            <p:nvPr/>
          </p:nvSpPr>
          <p:spPr bwMode="auto">
            <a:xfrm>
              <a:off x="4243215" y="2240229"/>
              <a:ext cx="19625" cy="21933"/>
            </a:xfrm>
            <a:custGeom>
              <a:avLst/>
              <a:gdLst>
                <a:gd name="T0" fmla="*/ 1 w 7"/>
                <a:gd name="T1" fmla="*/ 2 h 8"/>
                <a:gd name="T2" fmla="*/ 7 w 7"/>
                <a:gd name="T3" fmla="*/ 1 h 8"/>
                <a:gd name="T4" fmla="*/ 0 w 7"/>
                <a:gd name="T5" fmla="*/ 8 h 8"/>
                <a:gd name="T6" fmla="*/ 1 w 7"/>
                <a:gd name="T7" fmla="*/ 2 h 8"/>
              </a:gdLst>
              <a:ahLst/>
              <a:cxnLst>
                <a:cxn ang="0">
                  <a:pos x="T0" y="T1"/>
                </a:cxn>
                <a:cxn ang="0">
                  <a:pos x="T2" y="T3"/>
                </a:cxn>
                <a:cxn ang="0">
                  <a:pos x="T4" y="T5"/>
                </a:cxn>
                <a:cxn ang="0">
                  <a:pos x="T6" y="T7"/>
                </a:cxn>
              </a:cxnLst>
              <a:rect l="0" t="0" r="r" b="b"/>
              <a:pathLst>
                <a:path w="7" h="8">
                  <a:moveTo>
                    <a:pt x="1" y="2"/>
                  </a:moveTo>
                  <a:cubicBezTo>
                    <a:pt x="3" y="0"/>
                    <a:pt x="3" y="2"/>
                    <a:pt x="7" y="1"/>
                  </a:cubicBezTo>
                  <a:cubicBezTo>
                    <a:pt x="6" y="4"/>
                    <a:pt x="5" y="8"/>
                    <a:pt x="0" y="8"/>
                  </a:cubicBezTo>
                  <a:cubicBezTo>
                    <a:pt x="0" y="6"/>
                    <a:pt x="6" y="4"/>
                    <a:pt x="1" y="2"/>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110" name="Freeform 95">
              <a:extLst>
                <a:ext uri="{FF2B5EF4-FFF2-40B4-BE49-F238E27FC236}">
                  <a16:creationId xmlns:a16="http://schemas.microsoft.com/office/drawing/2014/main" id="{ABDE40CF-8D5A-4A16-9BD2-A5437EACF59A}"/>
                </a:ext>
              </a:extLst>
            </p:cNvPr>
            <p:cNvSpPr>
              <a:spLocks/>
            </p:cNvSpPr>
            <p:nvPr/>
          </p:nvSpPr>
          <p:spPr bwMode="auto">
            <a:xfrm>
              <a:off x="3734137" y="2877443"/>
              <a:ext cx="160458" cy="188163"/>
            </a:xfrm>
            <a:custGeom>
              <a:avLst/>
              <a:gdLst>
                <a:gd name="T0" fmla="*/ 47 w 59"/>
                <a:gd name="T1" fmla="*/ 4 h 69"/>
                <a:gd name="T2" fmla="*/ 53 w 59"/>
                <a:gd name="T3" fmla="*/ 7 h 69"/>
                <a:gd name="T4" fmla="*/ 59 w 59"/>
                <a:gd name="T5" fmla="*/ 11 h 69"/>
                <a:gd name="T6" fmla="*/ 53 w 59"/>
                <a:gd name="T7" fmla="*/ 18 h 69"/>
                <a:gd name="T8" fmla="*/ 52 w 59"/>
                <a:gd name="T9" fmla="*/ 27 h 69"/>
                <a:gd name="T10" fmla="*/ 55 w 59"/>
                <a:gd name="T11" fmla="*/ 30 h 69"/>
                <a:gd name="T12" fmla="*/ 55 w 59"/>
                <a:gd name="T13" fmla="*/ 35 h 69"/>
                <a:gd name="T14" fmla="*/ 58 w 59"/>
                <a:gd name="T15" fmla="*/ 38 h 69"/>
                <a:gd name="T16" fmla="*/ 50 w 59"/>
                <a:gd name="T17" fmla="*/ 42 h 69"/>
                <a:gd name="T18" fmla="*/ 49 w 59"/>
                <a:gd name="T19" fmla="*/ 50 h 69"/>
                <a:gd name="T20" fmla="*/ 49 w 59"/>
                <a:gd name="T21" fmla="*/ 53 h 69"/>
                <a:gd name="T22" fmla="*/ 46 w 59"/>
                <a:gd name="T23" fmla="*/ 53 h 69"/>
                <a:gd name="T24" fmla="*/ 41 w 59"/>
                <a:gd name="T25" fmla="*/ 59 h 69"/>
                <a:gd name="T26" fmla="*/ 41 w 59"/>
                <a:gd name="T27" fmla="*/ 67 h 69"/>
                <a:gd name="T28" fmla="*/ 27 w 59"/>
                <a:gd name="T29" fmla="*/ 63 h 69"/>
                <a:gd name="T30" fmla="*/ 25 w 59"/>
                <a:gd name="T31" fmla="*/ 66 h 69"/>
                <a:gd name="T32" fmla="*/ 21 w 59"/>
                <a:gd name="T33" fmla="*/ 63 h 69"/>
                <a:gd name="T34" fmla="*/ 13 w 59"/>
                <a:gd name="T35" fmla="*/ 63 h 69"/>
                <a:gd name="T36" fmla="*/ 9 w 59"/>
                <a:gd name="T37" fmla="*/ 61 h 69"/>
                <a:gd name="T38" fmla="*/ 3 w 59"/>
                <a:gd name="T39" fmla="*/ 53 h 69"/>
                <a:gd name="T40" fmla="*/ 4 w 59"/>
                <a:gd name="T41" fmla="*/ 47 h 69"/>
                <a:gd name="T42" fmla="*/ 3 w 59"/>
                <a:gd name="T43" fmla="*/ 47 h 69"/>
                <a:gd name="T44" fmla="*/ 1 w 59"/>
                <a:gd name="T45" fmla="*/ 35 h 69"/>
                <a:gd name="T46" fmla="*/ 16 w 59"/>
                <a:gd name="T47" fmla="*/ 33 h 69"/>
                <a:gd name="T48" fmla="*/ 16 w 59"/>
                <a:gd name="T49" fmla="*/ 29 h 69"/>
                <a:gd name="T50" fmla="*/ 27 w 59"/>
                <a:gd name="T51" fmla="*/ 21 h 69"/>
                <a:gd name="T52" fmla="*/ 36 w 59"/>
                <a:gd name="T53" fmla="*/ 18 h 69"/>
                <a:gd name="T54" fmla="*/ 37 w 59"/>
                <a:gd name="T55" fmla="*/ 14 h 69"/>
                <a:gd name="T56" fmla="*/ 40 w 59"/>
                <a:gd name="T57" fmla="*/ 14 h 69"/>
                <a:gd name="T58" fmla="*/ 43 w 59"/>
                <a:gd name="T59" fmla="*/ 11 h 69"/>
                <a:gd name="T60" fmla="*/ 49 w 59"/>
                <a:gd name="T61" fmla="*/ 4 h 69"/>
                <a:gd name="T62" fmla="*/ 47 w 59"/>
                <a:gd name="T63" fmla="*/ 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9" h="69">
                  <a:moveTo>
                    <a:pt x="47" y="4"/>
                  </a:moveTo>
                  <a:cubicBezTo>
                    <a:pt x="49" y="0"/>
                    <a:pt x="51" y="7"/>
                    <a:pt x="53" y="7"/>
                  </a:cubicBezTo>
                  <a:cubicBezTo>
                    <a:pt x="55" y="8"/>
                    <a:pt x="56" y="11"/>
                    <a:pt x="59" y="11"/>
                  </a:cubicBezTo>
                  <a:cubicBezTo>
                    <a:pt x="58" y="15"/>
                    <a:pt x="58" y="19"/>
                    <a:pt x="53" y="18"/>
                  </a:cubicBezTo>
                  <a:cubicBezTo>
                    <a:pt x="52" y="21"/>
                    <a:pt x="55" y="27"/>
                    <a:pt x="52" y="27"/>
                  </a:cubicBezTo>
                  <a:cubicBezTo>
                    <a:pt x="51" y="29"/>
                    <a:pt x="54" y="29"/>
                    <a:pt x="55" y="30"/>
                  </a:cubicBezTo>
                  <a:cubicBezTo>
                    <a:pt x="55" y="32"/>
                    <a:pt x="54" y="34"/>
                    <a:pt x="55" y="35"/>
                  </a:cubicBezTo>
                  <a:cubicBezTo>
                    <a:pt x="56" y="36"/>
                    <a:pt x="57" y="36"/>
                    <a:pt x="58" y="38"/>
                  </a:cubicBezTo>
                  <a:cubicBezTo>
                    <a:pt x="57" y="41"/>
                    <a:pt x="53" y="45"/>
                    <a:pt x="50" y="42"/>
                  </a:cubicBezTo>
                  <a:cubicBezTo>
                    <a:pt x="51" y="46"/>
                    <a:pt x="53" y="47"/>
                    <a:pt x="49" y="50"/>
                  </a:cubicBezTo>
                  <a:cubicBezTo>
                    <a:pt x="48" y="50"/>
                    <a:pt x="49" y="52"/>
                    <a:pt x="49" y="53"/>
                  </a:cubicBezTo>
                  <a:cubicBezTo>
                    <a:pt x="48" y="53"/>
                    <a:pt x="46" y="52"/>
                    <a:pt x="46" y="53"/>
                  </a:cubicBezTo>
                  <a:cubicBezTo>
                    <a:pt x="45" y="54"/>
                    <a:pt x="46" y="60"/>
                    <a:pt x="41" y="59"/>
                  </a:cubicBezTo>
                  <a:cubicBezTo>
                    <a:pt x="44" y="61"/>
                    <a:pt x="40" y="62"/>
                    <a:pt x="41" y="67"/>
                  </a:cubicBezTo>
                  <a:cubicBezTo>
                    <a:pt x="34" y="69"/>
                    <a:pt x="32" y="64"/>
                    <a:pt x="27" y="63"/>
                  </a:cubicBezTo>
                  <a:cubicBezTo>
                    <a:pt x="25" y="63"/>
                    <a:pt x="26" y="65"/>
                    <a:pt x="25" y="66"/>
                  </a:cubicBezTo>
                  <a:cubicBezTo>
                    <a:pt x="22" y="67"/>
                    <a:pt x="22" y="63"/>
                    <a:pt x="21" y="63"/>
                  </a:cubicBezTo>
                  <a:cubicBezTo>
                    <a:pt x="19" y="62"/>
                    <a:pt x="15" y="64"/>
                    <a:pt x="13" y="63"/>
                  </a:cubicBezTo>
                  <a:cubicBezTo>
                    <a:pt x="12" y="62"/>
                    <a:pt x="14" y="59"/>
                    <a:pt x="9" y="61"/>
                  </a:cubicBezTo>
                  <a:cubicBezTo>
                    <a:pt x="8" y="58"/>
                    <a:pt x="8" y="53"/>
                    <a:pt x="3" y="53"/>
                  </a:cubicBezTo>
                  <a:cubicBezTo>
                    <a:pt x="3" y="50"/>
                    <a:pt x="5" y="49"/>
                    <a:pt x="4" y="47"/>
                  </a:cubicBezTo>
                  <a:cubicBezTo>
                    <a:pt x="4" y="45"/>
                    <a:pt x="3" y="46"/>
                    <a:pt x="3" y="47"/>
                  </a:cubicBezTo>
                  <a:cubicBezTo>
                    <a:pt x="0" y="44"/>
                    <a:pt x="2" y="40"/>
                    <a:pt x="1" y="35"/>
                  </a:cubicBezTo>
                  <a:cubicBezTo>
                    <a:pt x="7" y="35"/>
                    <a:pt x="12" y="35"/>
                    <a:pt x="16" y="33"/>
                  </a:cubicBezTo>
                  <a:cubicBezTo>
                    <a:pt x="16" y="31"/>
                    <a:pt x="19" y="29"/>
                    <a:pt x="16" y="29"/>
                  </a:cubicBezTo>
                  <a:cubicBezTo>
                    <a:pt x="18" y="27"/>
                    <a:pt x="30" y="23"/>
                    <a:pt x="27" y="21"/>
                  </a:cubicBezTo>
                  <a:cubicBezTo>
                    <a:pt x="28" y="19"/>
                    <a:pt x="32" y="19"/>
                    <a:pt x="36" y="18"/>
                  </a:cubicBezTo>
                  <a:cubicBezTo>
                    <a:pt x="38" y="19"/>
                    <a:pt x="36" y="15"/>
                    <a:pt x="37" y="14"/>
                  </a:cubicBezTo>
                  <a:cubicBezTo>
                    <a:pt x="37" y="14"/>
                    <a:pt x="40" y="14"/>
                    <a:pt x="40" y="14"/>
                  </a:cubicBezTo>
                  <a:cubicBezTo>
                    <a:pt x="41" y="13"/>
                    <a:pt x="40" y="10"/>
                    <a:pt x="43" y="11"/>
                  </a:cubicBezTo>
                  <a:cubicBezTo>
                    <a:pt x="41" y="5"/>
                    <a:pt x="47" y="6"/>
                    <a:pt x="49" y="4"/>
                  </a:cubicBezTo>
                  <a:cubicBezTo>
                    <a:pt x="48" y="4"/>
                    <a:pt x="48" y="4"/>
                    <a:pt x="47" y="4"/>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111" name="Freeform 96">
              <a:extLst>
                <a:ext uri="{FF2B5EF4-FFF2-40B4-BE49-F238E27FC236}">
                  <a16:creationId xmlns:a16="http://schemas.microsoft.com/office/drawing/2014/main" id="{E7AF042E-564D-4573-8388-7A2470676758}"/>
                </a:ext>
              </a:extLst>
            </p:cNvPr>
            <p:cNvSpPr>
              <a:spLocks/>
            </p:cNvSpPr>
            <p:nvPr/>
          </p:nvSpPr>
          <p:spPr bwMode="auto">
            <a:xfrm>
              <a:off x="3900367" y="3011350"/>
              <a:ext cx="73880" cy="84270"/>
            </a:xfrm>
            <a:custGeom>
              <a:avLst/>
              <a:gdLst>
                <a:gd name="T0" fmla="*/ 23 w 27"/>
                <a:gd name="T1" fmla="*/ 1 h 31"/>
                <a:gd name="T2" fmla="*/ 19 w 27"/>
                <a:gd name="T3" fmla="*/ 7 h 31"/>
                <a:gd name="T4" fmla="*/ 18 w 27"/>
                <a:gd name="T5" fmla="*/ 7 h 31"/>
                <a:gd name="T6" fmla="*/ 19 w 27"/>
                <a:gd name="T7" fmla="*/ 11 h 31"/>
                <a:gd name="T8" fmla="*/ 22 w 27"/>
                <a:gd name="T9" fmla="*/ 14 h 31"/>
                <a:gd name="T10" fmla="*/ 23 w 27"/>
                <a:gd name="T11" fmla="*/ 27 h 31"/>
                <a:gd name="T12" fmla="*/ 18 w 27"/>
                <a:gd name="T13" fmla="*/ 27 h 31"/>
                <a:gd name="T14" fmla="*/ 13 w 27"/>
                <a:gd name="T15" fmla="*/ 12 h 31"/>
                <a:gd name="T16" fmla="*/ 7 w 27"/>
                <a:gd name="T17" fmla="*/ 17 h 31"/>
                <a:gd name="T18" fmla="*/ 7 w 27"/>
                <a:gd name="T19" fmla="*/ 26 h 31"/>
                <a:gd name="T20" fmla="*/ 3 w 27"/>
                <a:gd name="T21" fmla="*/ 30 h 31"/>
                <a:gd name="T22" fmla="*/ 1 w 27"/>
                <a:gd name="T23" fmla="*/ 23 h 31"/>
                <a:gd name="T24" fmla="*/ 3 w 27"/>
                <a:gd name="T25" fmla="*/ 21 h 31"/>
                <a:gd name="T26" fmla="*/ 1 w 27"/>
                <a:gd name="T27" fmla="*/ 20 h 31"/>
                <a:gd name="T28" fmla="*/ 3 w 27"/>
                <a:gd name="T29" fmla="*/ 14 h 31"/>
                <a:gd name="T30" fmla="*/ 0 w 27"/>
                <a:gd name="T31" fmla="*/ 11 h 31"/>
                <a:gd name="T32" fmla="*/ 12 w 27"/>
                <a:gd name="T33" fmla="*/ 1 h 31"/>
                <a:gd name="T34" fmla="*/ 23 w 27"/>
                <a:gd name="T35"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31">
                  <a:moveTo>
                    <a:pt x="23" y="1"/>
                  </a:moveTo>
                  <a:cubicBezTo>
                    <a:pt x="27" y="7"/>
                    <a:pt x="17" y="4"/>
                    <a:pt x="19" y="7"/>
                  </a:cubicBezTo>
                  <a:cubicBezTo>
                    <a:pt x="21" y="8"/>
                    <a:pt x="19" y="7"/>
                    <a:pt x="18" y="7"/>
                  </a:cubicBezTo>
                  <a:cubicBezTo>
                    <a:pt x="18" y="9"/>
                    <a:pt x="18" y="10"/>
                    <a:pt x="19" y="11"/>
                  </a:cubicBezTo>
                  <a:cubicBezTo>
                    <a:pt x="19" y="12"/>
                    <a:pt x="22" y="13"/>
                    <a:pt x="22" y="14"/>
                  </a:cubicBezTo>
                  <a:cubicBezTo>
                    <a:pt x="23" y="17"/>
                    <a:pt x="22" y="23"/>
                    <a:pt x="23" y="27"/>
                  </a:cubicBezTo>
                  <a:cubicBezTo>
                    <a:pt x="21" y="27"/>
                    <a:pt x="20" y="27"/>
                    <a:pt x="18" y="27"/>
                  </a:cubicBezTo>
                  <a:cubicBezTo>
                    <a:pt x="16" y="23"/>
                    <a:pt x="13" y="19"/>
                    <a:pt x="13" y="12"/>
                  </a:cubicBezTo>
                  <a:cubicBezTo>
                    <a:pt x="10" y="13"/>
                    <a:pt x="12" y="18"/>
                    <a:pt x="7" y="17"/>
                  </a:cubicBezTo>
                  <a:cubicBezTo>
                    <a:pt x="7" y="20"/>
                    <a:pt x="7" y="23"/>
                    <a:pt x="7" y="26"/>
                  </a:cubicBezTo>
                  <a:cubicBezTo>
                    <a:pt x="8" y="29"/>
                    <a:pt x="3" y="27"/>
                    <a:pt x="3" y="30"/>
                  </a:cubicBezTo>
                  <a:cubicBezTo>
                    <a:pt x="1" y="31"/>
                    <a:pt x="1" y="26"/>
                    <a:pt x="1" y="23"/>
                  </a:cubicBezTo>
                  <a:cubicBezTo>
                    <a:pt x="1" y="22"/>
                    <a:pt x="3" y="21"/>
                    <a:pt x="3" y="21"/>
                  </a:cubicBezTo>
                  <a:cubicBezTo>
                    <a:pt x="3" y="20"/>
                    <a:pt x="1" y="20"/>
                    <a:pt x="1" y="20"/>
                  </a:cubicBezTo>
                  <a:cubicBezTo>
                    <a:pt x="1" y="19"/>
                    <a:pt x="4" y="16"/>
                    <a:pt x="3" y="14"/>
                  </a:cubicBezTo>
                  <a:cubicBezTo>
                    <a:pt x="3" y="11"/>
                    <a:pt x="2" y="11"/>
                    <a:pt x="0" y="11"/>
                  </a:cubicBezTo>
                  <a:cubicBezTo>
                    <a:pt x="2" y="5"/>
                    <a:pt x="4" y="0"/>
                    <a:pt x="12" y="1"/>
                  </a:cubicBezTo>
                  <a:cubicBezTo>
                    <a:pt x="7" y="6"/>
                    <a:pt x="20" y="1"/>
                    <a:pt x="23" y="1"/>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112" name="Freeform 97">
              <a:extLst>
                <a:ext uri="{FF2B5EF4-FFF2-40B4-BE49-F238E27FC236}">
                  <a16:creationId xmlns:a16="http://schemas.microsoft.com/office/drawing/2014/main" id="{8726577B-6FBC-495F-B7CA-380009BBD401}"/>
                </a:ext>
              </a:extLst>
            </p:cNvPr>
            <p:cNvSpPr>
              <a:spLocks/>
            </p:cNvSpPr>
            <p:nvPr/>
          </p:nvSpPr>
          <p:spPr bwMode="auto">
            <a:xfrm>
              <a:off x="3676418" y="3093310"/>
              <a:ext cx="172002" cy="51947"/>
            </a:xfrm>
            <a:custGeom>
              <a:avLst/>
              <a:gdLst>
                <a:gd name="T0" fmla="*/ 2 w 63"/>
                <a:gd name="T1" fmla="*/ 6 h 19"/>
                <a:gd name="T2" fmla="*/ 8 w 63"/>
                <a:gd name="T3" fmla="*/ 2 h 19"/>
                <a:gd name="T4" fmla="*/ 11 w 63"/>
                <a:gd name="T5" fmla="*/ 5 h 19"/>
                <a:gd name="T6" fmla="*/ 14 w 63"/>
                <a:gd name="T7" fmla="*/ 6 h 19"/>
                <a:gd name="T8" fmla="*/ 28 w 63"/>
                <a:gd name="T9" fmla="*/ 9 h 19"/>
                <a:gd name="T10" fmla="*/ 43 w 63"/>
                <a:gd name="T11" fmla="*/ 8 h 19"/>
                <a:gd name="T12" fmla="*/ 46 w 63"/>
                <a:gd name="T13" fmla="*/ 11 h 19"/>
                <a:gd name="T14" fmla="*/ 51 w 63"/>
                <a:gd name="T15" fmla="*/ 12 h 19"/>
                <a:gd name="T16" fmla="*/ 58 w 63"/>
                <a:gd name="T17" fmla="*/ 12 h 19"/>
                <a:gd name="T18" fmla="*/ 60 w 63"/>
                <a:gd name="T19" fmla="*/ 17 h 19"/>
                <a:gd name="T20" fmla="*/ 57 w 63"/>
                <a:gd name="T21" fmla="*/ 17 h 19"/>
                <a:gd name="T22" fmla="*/ 27 w 63"/>
                <a:gd name="T23" fmla="*/ 12 h 19"/>
                <a:gd name="T24" fmla="*/ 19 w 63"/>
                <a:gd name="T25" fmla="*/ 12 h 19"/>
                <a:gd name="T26" fmla="*/ 9 w 63"/>
                <a:gd name="T27" fmla="*/ 9 h 19"/>
                <a:gd name="T28" fmla="*/ 2 w 63"/>
                <a:gd name="T29"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 h="19">
                  <a:moveTo>
                    <a:pt x="2" y="6"/>
                  </a:moveTo>
                  <a:cubicBezTo>
                    <a:pt x="0" y="1"/>
                    <a:pt x="7" y="4"/>
                    <a:pt x="8" y="2"/>
                  </a:cubicBezTo>
                  <a:cubicBezTo>
                    <a:pt x="11" y="0"/>
                    <a:pt x="10" y="4"/>
                    <a:pt x="11" y="5"/>
                  </a:cubicBezTo>
                  <a:cubicBezTo>
                    <a:pt x="11" y="5"/>
                    <a:pt x="14" y="4"/>
                    <a:pt x="14" y="6"/>
                  </a:cubicBezTo>
                  <a:cubicBezTo>
                    <a:pt x="21" y="4"/>
                    <a:pt x="23" y="5"/>
                    <a:pt x="28" y="9"/>
                  </a:cubicBezTo>
                  <a:cubicBezTo>
                    <a:pt x="34" y="6"/>
                    <a:pt x="36" y="8"/>
                    <a:pt x="43" y="8"/>
                  </a:cubicBezTo>
                  <a:cubicBezTo>
                    <a:pt x="46" y="7"/>
                    <a:pt x="46" y="9"/>
                    <a:pt x="46" y="11"/>
                  </a:cubicBezTo>
                  <a:cubicBezTo>
                    <a:pt x="48" y="10"/>
                    <a:pt x="50" y="10"/>
                    <a:pt x="51" y="12"/>
                  </a:cubicBezTo>
                  <a:cubicBezTo>
                    <a:pt x="54" y="10"/>
                    <a:pt x="58" y="15"/>
                    <a:pt x="58" y="12"/>
                  </a:cubicBezTo>
                  <a:cubicBezTo>
                    <a:pt x="63" y="12"/>
                    <a:pt x="55" y="17"/>
                    <a:pt x="60" y="17"/>
                  </a:cubicBezTo>
                  <a:cubicBezTo>
                    <a:pt x="59" y="19"/>
                    <a:pt x="58" y="16"/>
                    <a:pt x="57" y="17"/>
                  </a:cubicBezTo>
                  <a:cubicBezTo>
                    <a:pt x="45" y="19"/>
                    <a:pt x="36" y="14"/>
                    <a:pt x="27" y="12"/>
                  </a:cubicBezTo>
                  <a:cubicBezTo>
                    <a:pt x="25" y="12"/>
                    <a:pt x="22" y="12"/>
                    <a:pt x="19" y="12"/>
                  </a:cubicBezTo>
                  <a:cubicBezTo>
                    <a:pt x="16" y="12"/>
                    <a:pt x="13" y="10"/>
                    <a:pt x="9" y="9"/>
                  </a:cubicBezTo>
                  <a:cubicBezTo>
                    <a:pt x="6" y="8"/>
                    <a:pt x="2" y="9"/>
                    <a:pt x="2" y="6"/>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113" name="Freeform 98">
              <a:extLst>
                <a:ext uri="{FF2B5EF4-FFF2-40B4-BE49-F238E27FC236}">
                  <a16:creationId xmlns:a16="http://schemas.microsoft.com/office/drawing/2014/main" id="{6659DAF0-3AFA-46EF-94FA-F21548CFDA1E}"/>
                </a:ext>
              </a:extLst>
            </p:cNvPr>
            <p:cNvSpPr>
              <a:spLocks/>
            </p:cNvSpPr>
            <p:nvPr/>
          </p:nvSpPr>
          <p:spPr bwMode="auto">
            <a:xfrm>
              <a:off x="3904984" y="3153338"/>
              <a:ext cx="27705" cy="8081"/>
            </a:xfrm>
            <a:custGeom>
              <a:avLst/>
              <a:gdLst>
                <a:gd name="T0" fmla="*/ 4 w 10"/>
                <a:gd name="T1" fmla="*/ 2 h 3"/>
                <a:gd name="T2" fmla="*/ 10 w 10"/>
                <a:gd name="T3" fmla="*/ 3 h 3"/>
                <a:gd name="T4" fmla="*/ 4 w 10"/>
                <a:gd name="T5" fmla="*/ 3 h 3"/>
                <a:gd name="T6" fmla="*/ 2 w 10"/>
                <a:gd name="T7" fmla="*/ 2 h 3"/>
                <a:gd name="T8" fmla="*/ 4 w 10"/>
                <a:gd name="T9" fmla="*/ 2 h 3"/>
              </a:gdLst>
              <a:ahLst/>
              <a:cxnLst>
                <a:cxn ang="0">
                  <a:pos x="T0" y="T1"/>
                </a:cxn>
                <a:cxn ang="0">
                  <a:pos x="T2" y="T3"/>
                </a:cxn>
                <a:cxn ang="0">
                  <a:pos x="T4" y="T5"/>
                </a:cxn>
                <a:cxn ang="0">
                  <a:pos x="T6" y="T7"/>
                </a:cxn>
                <a:cxn ang="0">
                  <a:pos x="T8" y="T9"/>
                </a:cxn>
              </a:cxnLst>
              <a:rect l="0" t="0" r="r" b="b"/>
              <a:pathLst>
                <a:path w="10" h="3">
                  <a:moveTo>
                    <a:pt x="4" y="2"/>
                  </a:moveTo>
                  <a:cubicBezTo>
                    <a:pt x="6" y="2"/>
                    <a:pt x="9" y="1"/>
                    <a:pt x="10" y="3"/>
                  </a:cubicBezTo>
                  <a:cubicBezTo>
                    <a:pt x="8" y="3"/>
                    <a:pt x="6" y="3"/>
                    <a:pt x="4" y="3"/>
                  </a:cubicBezTo>
                  <a:cubicBezTo>
                    <a:pt x="4" y="2"/>
                    <a:pt x="3" y="2"/>
                    <a:pt x="2" y="2"/>
                  </a:cubicBezTo>
                  <a:cubicBezTo>
                    <a:pt x="0" y="0"/>
                    <a:pt x="3" y="0"/>
                    <a:pt x="4" y="2"/>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114" name="Freeform 99">
              <a:extLst>
                <a:ext uri="{FF2B5EF4-FFF2-40B4-BE49-F238E27FC236}">
                  <a16:creationId xmlns:a16="http://schemas.microsoft.com/office/drawing/2014/main" id="{E68F8F42-1D1E-4458-A366-51436F98E711}"/>
                </a:ext>
              </a:extLst>
            </p:cNvPr>
            <p:cNvSpPr>
              <a:spLocks/>
            </p:cNvSpPr>
            <p:nvPr/>
          </p:nvSpPr>
          <p:spPr bwMode="auto">
            <a:xfrm>
              <a:off x="4677259" y="3709745"/>
              <a:ext cx="125827" cy="125827"/>
            </a:xfrm>
            <a:custGeom>
              <a:avLst/>
              <a:gdLst>
                <a:gd name="T0" fmla="*/ 1 w 46"/>
                <a:gd name="T1" fmla="*/ 40 h 46"/>
                <a:gd name="T2" fmla="*/ 4 w 46"/>
                <a:gd name="T3" fmla="*/ 34 h 46"/>
                <a:gd name="T4" fmla="*/ 7 w 46"/>
                <a:gd name="T5" fmla="*/ 32 h 46"/>
                <a:gd name="T6" fmla="*/ 7 w 46"/>
                <a:gd name="T7" fmla="*/ 29 h 46"/>
                <a:gd name="T8" fmla="*/ 10 w 46"/>
                <a:gd name="T9" fmla="*/ 29 h 46"/>
                <a:gd name="T10" fmla="*/ 11 w 46"/>
                <a:gd name="T11" fmla="*/ 26 h 46"/>
                <a:gd name="T12" fmla="*/ 17 w 46"/>
                <a:gd name="T13" fmla="*/ 25 h 46"/>
                <a:gd name="T14" fmla="*/ 20 w 46"/>
                <a:gd name="T15" fmla="*/ 22 h 46"/>
                <a:gd name="T16" fmla="*/ 23 w 46"/>
                <a:gd name="T17" fmla="*/ 17 h 46"/>
                <a:gd name="T18" fmla="*/ 26 w 46"/>
                <a:gd name="T19" fmla="*/ 14 h 46"/>
                <a:gd name="T20" fmla="*/ 30 w 46"/>
                <a:gd name="T21" fmla="*/ 16 h 46"/>
                <a:gd name="T22" fmla="*/ 29 w 46"/>
                <a:gd name="T23" fmla="*/ 10 h 46"/>
                <a:gd name="T24" fmla="*/ 35 w 46"/>
                <a:gd name="T25" fmla="*/ 2 h 46"/>
                <a:gd name="T26" fmla="*/ 39 w 46"/>
                <a:gd name="T27" fmla="*/ 0 h 46"/>
                <a:gd name="T28" fmla="*/ 44 w 46"/>
                <a:gd name="T29" fmla="*/ 2 h 46"/>
                <a:gd name="T30" fmla="*/ 45 w 46"/>
                <a:gd name="T31" fmla="*/ 10 h 46"/>
                <a:gd name="T32" fmla="*/ 44 w 46"/>
                <a:gd name="T33" fmla="*/ 14 h 46"/>
                <a:gd name="T34" fmla="*/ 41 w 46"/>
                <a:gd name="T35" fmla="*/ 14 h 46"/>
                <a:gd name="T36" fmla="*/ 39 w 46"/>
                <a:gd name="T37" fmla="*/ 22 h 46"/>
                <a:gd name="T38" fmla="*/ 33 w 46"/>
                <a:gd name="T39" fmla="*/ 23 h 46"/>
                <a:gd name="T40" fmla="*/ 29 w 46"/>
                <a:gd name="T41" fmla="*/ 34 h 46"/>
                <a:gd name="T42" fmla="*/ 26 w 46"/>
                <a:gd name="T43" fmla="*/ 40 h 46"/>
                <a:gd name="T44" fmla="*/ 23 w 46"/>
                <a:gd name="T45" fmla="*/ 42 h 46"/>
                <a:gd name="T46" fmla="*/ 11 w 46"/>
                <a:gd name="T47" fmla="*/ 38 h 46"/>
                <a:gd name="T48" fmla="*/ 5 w 46"/>
                <a:gd name="T49" fmla="*/ 40 h 46"/>
                <a:gd name="T50" fmla="*/ 4 w 46"/>
                <a:gd name="T51" fmla="*/ 37 h 46"/>
                <a:gd name="T52" fmla="*/ 1 w 46"/>
                <a:gd name="T53" fmla="*/ 4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46">
                  <a:moveTo>
                    <a:pt x="1" y="40"/>
                  </a:moveTo>
                  <a:cubicBezTo>
                    <a:pt x="0" y="38"/>
                    <a:pt x="2" y="35"/>
                    <a:pt x="4" y="34"/>
                  </a:cubicBezTo>
                  <a:cubicBezTo>
                    <a:pt x="4" y="33"/>
                    <a:pt x="7" y="33"/>
                    <a:pt x="7" y="32"/>
                  </a:cubicBezTo>
                  <a:cubicBezTo>
                    <a:pt x="7" y="32"/>
                    <a:pt x="6" y="30"/>
                    <a:pt x="7" y="29"/>
                  </a:cubicBezTo>
                  <a:cubicBezTo>
                    <a:pt x="7" y="29"/>
                    <a:pt x="9" y="30"/>
                    <a:pt x="10" y="29"/>
                  </a:cubicBezTo>
                  <a:cubicBezTo>
                    <a:pt x="10" y="29"/>
                    <a:pt x="11" y="26"/>
                    <a:pt x="11" y="26"/>
                  </a:cubicBezTo>
                  <a:cubicBezTo>
                    <a:pt x="13" y="25"/>
                    <a:pt x="16" y="27"/>
                    <a:pt x="17" y="25"/>
                  </a:cubicBezTo>
                  <a:cubicBezTo>
                    <a:pt x="18" y="22"/>
                    <a:pt x="17" y="22"/>
                    <a:pt x="20" y="22"/>
                  </a:cubicBezTo>
                  <a:cubicBezTo>
                    <a:pt x="23" y="21"/>
                    <a:pt x="22" y="19"/>
                    <a:pt x="23" y="17"/>
                  </a:cubicBezTo>
                  <a:cubicBezTo>
                    <a:pt x="23" y="17"/>
                    <a:pt x="28" y="21"/>
                    <a:pt x="26" y="14"/>
                  </a:cubicBezTo>
                  <a:cubicBezTo>
                    <a:pt x="28" y="14"/>
                    <a:pt x="29" y="16"/>
                    <a:pt x="30" y="16"/>
                  </a:cubicBezTo>
                  <a:cubicBezTo>
                    <a:pt x="31" y="13"/>
                    <a:pt x="29" y="13"/>
                    <a:pt x="29" y="10"/>
                  </a:cubicBezTo>
                  <a:cubicBezTo>
                    <a:pt x="34" y="11"/>
                    <a:pt x="33" y="5"/>
                    <a:pt x="35" y="2"/>
                  </a:cubicBezTo>
                  <a:cubicBezTo>
                    <a:pt x="36" y="1"/>
                    <a:pt x="40" y="2"/>
                    <a:pt x="39" y="0"/>
                  </a:cubicBezTo>
                  <a:cubicBezTo>
                    <a:pt x="41" y="0"/>
                    <a:pt x="41" y="3"/>
                    <a:pt x="44" y="2"/>
                  </a:cubicBezTo>
                  <a:cubicBezTo>
                    <a:pt x="43" y="7"/>
                    <a:pt x="46" y="6"/>
                    <a:pt x="45" y="10"/>
                  </a:cubicBezTo>
                  <a:cubicBezTo>
                    <a:pt x="43" y="10"/>
                    <a:pt x="45" y="13"/>
                    <a:pt x="44" y="14"/>
                  </a:cubicBezTo>
                  <a:cubicBezTo>
                    <a:pt x="43" y="15"/>
                    <a:pt x="41" y="14"/>
                    <a:pt x="41" y="14"/>
                  </a:cubicBezTo>
                  <a:cubicBezTo>
                    <a:pt x="40" y="15"/>
                    <a:pt x="40" y="19"/>
                    <a:pt x="39" y="22"/>
                  </a:cubicBezTo>
                  <a:cubicBezTo>
                    <a:pt x="36" y="24"/>
                    <a:pt x="36" y="21"/>
                    <a:pt x="33" y="23"/>
                  </a:cubicBezTo>
                  <a:cubicBezTo>
                    <a:pt x="29" y="25"/>
                    <a:pt x="30" y="30"/>
                    <a:pt x="29" y="34"/>
                  </a:cubicBezTo>
                  <a:cubicBezTo>
                    <a:pt x="28" y="35"/>
                    <a:pt x="24" y="35"/>
                    <a:pt x="26" y="40"/>
                  </a:cubicBezTo>
                  <a:cubicBezTo>
                    <a:pt x="23" y="39"/>
                    <a:pt x="23" y="41"/>
                    <a:pt x="23" y="42"/>
                  </a:cubicBezTo>
                  <a:cubicBezTo>
                    <a:pt x="19" y="39"/>
                    <a:pt x="12" y="46"/>
                    <a:pt x="11" y="38"/>
                  </a:cubicBezTo>
                  <a:cubicBezTo>
                    <a:pt x="10" y="39"/>
                    <a:pt x="7" y="41"/>
                    <a:pt x="5" y="40"/>
                  </a:cubicBezTo>
                  <a:cubicBezTo>
                    <a:pt x="5" y="39"/>
                    <a:pt x="4" y="37"/>
                    <a:pt x="4" y="37"/>
                  </a:cubicBezTo>
                  <a:cubicBezTo>
                    <a:pt x="0" y="37"/>
                    <a:pt x="7" y="42"/>
                    <a:pt x="1" y="40"/>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115" name="Freeform 100">
              <a:extLst>
                <a:ext uri="{FF2B5EF4-FFF2-40B4-BE49-F238E27FC236}">
                  <a16:creationId xmlns:a16="http://schemas.microsoft.com/office/drawing/2014/main" id="{50756CBA-B866-4426-99F7-F9C98FD127C1}"/>
                </a:ext>
              </a:extLst>
            </p:cNvPr>
            <p:cNvSpPr>
              <a:spLocks/>
            </p:cNvSpPr>
            <p:nvPr/>
          </p:nvSpPr>
          <p:spPr bwMode="auto">
            <a:xfrm>
              <a:off x="6380194" y="1219764"/>
              <a:ext cx="180082" cy="130444"/>
            </a:xfrm>
            <a:custGeom>
              <a:avLst/>
              <a:gdLst>
                <a:gd name="T0" fmla="*/ 18 w 66"/>
                <a:gd name="T1" fmla="*/ 0 h 48"/>
                <a:gd name="T2" fmla="*/ 26 w 66"/>
                <a:gd name="T3" fmla="*/ 6 h 48"/>
                <a:gd name="T4" fmla="*/ 30 w 66"/>
                <a:gd name="T5" fmla="*/ 7 h 48"/>
                <a:gd name="T6" fmla="*/ 33 w 66"/>
                <a:gd name="T7" fmla="*/ 7 h 48"/>
                <a:gd name="T8" fmla="*/ 35 w 66"/>
                <a:gd name="T9" fmla="*/ 8 h 48"/>
                <a:gd name="T10" fmla="*/ 39 w 66"/>
                <a:gd name="T11" fmla="*/ 11 h 48"/>
                <a:gd name="T12" fmla="*/ 43 w 66"/>
                <a:gd name="T13" fmla="*/ 11 h 48"/>
                <a:gd name="T14" fmla="*/ 52 w 66"/>
                <a:gd name="T15" fmla="*/ 14 h 48"/>
                <a:gd name="T16" fmla="*/ 52 w 66"/>
                <a:gd name="T17" fmla="*/ 19 h 48"/>
                <a:gd name="T18" fmla="*/ 57 w 66"/>
                <a:gd name="T19" fmla="*/ 19 h 48"/>
                <a:gd name="T20" fmla="*/ 57 w 66"/>
                <a:gd name="T21" fmla="*/ 22 h 48"/>
                <a:gd name="T22" fmla="*/ 66 w 66"/>
                <a:gd name="T23" fmla="*/ 28 h 48"/>
                <a:gd name="T24" fmla="*/ 64 w 66"/>
                <a:gd name="T25" fmla="*/ 32 h 48"/>
                <a:gd name="T26" fmla="*/ 61 w 66"/>
                <a:gd name="T27" fmla="*/ 31 h 48"/>
                <a:gd name="T28" fmla="*/ 54 w 66"/>
                <a:gd name="T29" fmla="*/ 35 h 48"/>
                <a:gd name="T30" fmla="*/ 52 w 66"/>
                <a:gd name="T31" fmla="*/ 38 h 48"/>
                <a:gd name="T32" fmla="*/ 49 w 66"/>
                <a:gd name="T33" fmla="*/ 41 h 48"/>
                <a:gd name="T34" fmla="*/ 41 w 66"/>
                <a:gd name="T35" fmla="*/ 41 h 48"/>
                <a:gd name="T36" fmla="*/ 41 w 66"/>
                <a:gd name="T37" fmla="*/ 43 h 48"/>
                <a:gd name="T38" fmla="*/ 35 w 66"/>
                <a:gd name="T39" fmla="*/ 44 h 48"/>
                <a:gd name="T40" fmla="*/ 33 w 66"/>
                <a:gd name="T41" fmla="*/ 41 h 48"/>
                <a:gd name="T42" fmla="*/ 24 w 66"/>
                <a:gd name="T43" fmla="*/ 41 h 48"/>
                <a:gd name="T44" fmla="*/ 21 w 66"/>
                <a:gd name="T45" fmla="*/ 38 h 48"/>
                <a:gd name="T46" fmla="*/ 26 w 66"/>
                <a:gd name="T47" fmla="*/ 35 h 48"/>
                <a:gd name="T48" fmla="*/ 18 w 66"/>
                <a:gd name="T49" fmla="*/ 34 h 48"/>
                <a:gd name="T50" fmla="*/ 23 w 66"/>
                <a:gd name="T51" fmla="*/ 31 h 48"/>
                <a:gd name="T52" fmla="*/ 26 w 66"/>
                <a:gd name="T53" fmla="*/ 28 h 48"/>
                <a:gd name="T54" fmla="*/ 30 w 66"/>
                <a:gd name="T55" fmla="*/ 29 h 48"/>
                <a:gd name="T56" fmla="*/ 29 w 66"/>
                <a:gd name="T57" fmla="*/ 25 h 48"/>
                <a:gd name="T58" fmla="*/ 15 w 66"/>
                <a:gd name="T59" fmla="*/ 28 h 48"/>
                <a:gd name="T60" fmla="*/ 11 w 66"/>
                <a:gd name="T61" fmla="*/ 26 h 48"/>
                <a:gd name="T62" fmla="*/ 8 w 66"/>
                <a:gd name="T63" fmla="*/ 23 h 48"/>
                <a:gd name="T64" fmla="*/ 2 w 66"/>
                <a:gd name="T65" fmla="*/ 20 h 48"/>
                <a:gd name="T66" fmla="*/ 0 w 66"/>
                <a:gd name="T67" fmla="*/ 16 h 48"/>
                <a:gd name="T68" fmla="*/ 5 w 66"/>
                <a:gd name="T69" fmla="*/ 13 h 48"/>
                <a:gd name="T70" fmla="*/ 8 w 66"/>
                <a:gd name="T71" fmla="*/ 10 h 48"/>
                <a:gd name="T72" fmla="*/ 9 w 66"/>
                <a:gd name="T73" fmla="*/ 6 h 48"/>
                <a:gd name="T74" fmla="*/ 12 w 66"/>
                <a:gd name="T75" fmla="*/ 6 h 48"/>
                <a:gd name="T76" fmla="*/ 15 w 66"/>
                <a:gd name="T77" fmla="*/ 3 h 48"/>
                <a:gd name="T78" fmla="*/ 18 w 66"/>
                <a:gd name="T7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6" h="48">
                  <a:moveTo>
                    <a:pt x="18" y="0"/>
                  </a:moveTo>
                  <a:cubicBezTo>
                    <a:pt x="21" y="2"/>
                    <a:pt x="25" y="2"/>
                    <a:pt x="26" y="6"/>
                  </a:cubicBezTo>
                  <a:cubicBezTo>
                    <a:pt x="28" y="4"/>
                    <a:pt x="29" y="7"/>
                    <a:pt x="30" y="7"/>
                  </a:cubicBezTo>
                  <a:cubicBezTo>
                    <a:pt x="31" y="7"/>
                    <a:pt x="33" y="7"/>
                    <a:pt x="33" y="7"/>
                  </a:cubicBezTo>
                  <a:cubicBezTo>
                    <a:pt x="33" y="7"/>
                    <a:pt x="34" y="9"/>
                    <a:pt x="35" y="8"/>
                  </a:cubicBezTo>
                  <a:cubicBezTo>
                    <a:pt x="37" y="6"/>
                    <a:pt x="36" y="10"/>
                    <a:pt x="39" y="11"/>
                  </a:cubicBezTo>
                  <a:cubicBezTo>
                    <a:pt x="40" y="12"/>
                    <a:pt x="42" y="11"/>
                    <a:pt x="43" y="11"/>
                  </a:cubicBezTo>
                  <a:cubicBezTo>
                    <a:pt x="44" y="12"/>
                    <a:pt x="47" y="17"/>
                    <a:pt x="52" y="14"/>
                  </a:cubicBezTo>
                  <a:cubicBezTo>
                    <a:pt x="52" y="16"/>
                    <a:pt x="52" y="17"/>
                    <a:pt x="52" y="19"/>
                  </a:cubicBezTo>
                  <a:cubicBezTo>
                    <a:pt x="53" y="19"/>
                    <a:pt x="56" y="18"/>
                    <a:pt x="57" y="19"/>
                  </a:cubicBezTo>
                  <a:cubicBezTo>
                    <a:pt x="57" y="19"/>
                    <a:pt x="56" y="21"/>
                    <a:pt x="57" y="22"/>
                  </a:cubicBezTo>
                  <a:cubicBezTo>
                    <a:pt x="59" y="24"/>
                    <a:pt x="62" y="25"/>
                    <a:pt x="66" y="28"/>
                  </a:cubicBezTo>
                  <a:cubicBezTo>
                    <a:pt x="66" y="29"/>
                    <a:pt x="65" y="32"/>
                    <a:pt x="64" y="32"/>
                  </a:cubicBezTo>
                  <a:cubicBezTo>
                    <a:pt x="63" y="33"/>
                    <a:pt x="61" y="31"/>
                    <a:pt x="61" y="31"/>
                  </a:cubicBezTo>
                  <a:cubicBezTo>
                    <a:pt x="59" y="32"/>
                    <a:pt x="57" y="34"/>
                    <a:pt x="54" y="35"/>
                  </a:cubicBezTo>
                  <a:cubicBezTo>
                    <a:pt x="52" y="35"/>
                    <a:pt x="53" y="37"/>
                    <a:pt x="52" y="38"/>
                  </a:cubicBezTo>
                  <a:cubicBezTo>
                    <a:pt x="50" y="38"/>
                    <a:pt x="50" y="39"/>
                    <a:pt x="49" y="41"/>
                  </a:cubicBezTo>
                  <a:cubicBezTo>
                    <a:pt x="45" y="42"/>
                    <a:pt x="44" y="38"/>
                    <a:pt x="41" y="41"/>
                  </a:cubicBezTo>
                  <a:cubicBezTo>
                    <a:pt x="39" y="41"/>
                    <a:pt x="40" y="43"/>
                    <a:pt x="41" y="43"/>
                  </a:cubicBezTo>
                  <a:cubicBezTo>
                    <a:pt x="40" y="48"/>
                    <a:pt x="35" y="39"/>
                    <a:pt x="35" y="44"/>
                  </a:cubicBezTo>
                  <a:cubicBezTo>
                    <a:pt x="33" y="44"/>
                    <a:pt x="33" y="42"/>
                    <a:pt x="33" y="41"/>
                  </a:cubicBezTo>
                  <a:cubicBezTo>
                    <a:pt x="30" y="44"/>
                    <a:pt x="29" y="40"/>
                    <a:pt x="24" y="41"/>
                  </a:cubicBezTo>
                  <a:cubicBezTo>
                    <a:pt x="25" y="39"/>
                    <a:pt x="23" y="38"/>
                    <a:pt x="21" y="38"/>
                  </a:cubicBezTo>
                  <a:cubicBezTo>
                    <a:pt x="22" y="36"/>
                    <a:pt x="26" y="38"/>
                    <a:pt x="26" y="35"/>
                  </a:cubicBezTo>
                  <a:cubicBezTo>
                    <a:pt x="26" y="32"/>
                    <a:pt x="20" y="34"/>
                    <a:pt x="18" y="34"/>
                  </a:cubicBezTo>
                  <a:cubicBezTo>
                    <a:pt x="17" y="30"/>
                    <a:pt x="21" y="32"/>
                    <a:pt x="23" y="31"/>
                  </a:cubicBezTo>
                  <a:cubicBezTo>
                    <a:pt x="23" y="31"/>
                    <a:pt x="26" y="28"/>
                    <a:pt x="26" y="28"/>
                  </a:cubicBezTo>
                  <a:cubicBezTo>
                    <a:pt x="27" y="28"/>
                    <a:pt x="28" y="30"/>
                    <a:pt x="30" y="29"/>
                  </a:cubicBezTo>
                  <a:cubicBezTo>
                    <a:pt x="31" y="27"/>
                    <a:pt x="29" y="27"/>
                    <a:pt x="29" y="25"/>
                  </a:cubicBezTo>
                  <a:cubicBezTo>
                    <a:pt x="27" y="26"/>
                    <a:pt x="18" y="25"/>
                    <a:pt x="15" y="28"/>
                  </a:cubicBezTo>
                  <a:cubicBezTo>
                    <a:pt x="13" y="30"/>
                    <a:pt x="15" y="27"/>
                    <a:pt x="11" y="26"/>
                  </a:cubicBezTo>
                  <a:cubicBezTo>
                    <a:pt x="6" y="25"/>
                    <a:pt x="3" y="27"/>
                    <a:pt x="8" y="23"/>
                  </a:cubicBezTo>
                  <a:cubicBezTo>
                    <a:pt x="8" y="21"/>
                    <a:pt x="3" y="22"/>
                    <a:pt x="2" y="20"/>
                  </a:cubicBezTo>
                  <a:cubicBezTo>
                    <a:pt x="4" y="17"/>
                    <a:pt x="7" y="13"/>
                    <a:pt x="0" y="16"/>
                  </a:cubicBezTo>
                  <a:cubicBezTo>
                    <a:pt x="1" y="14"/>
                    <a:pt x="2" y="13"/>
                    <a:pt x="5" y="13"/>
                  </a:cubicBezTo>
                  <a:cubicBezTo>
                    <a:pt x="7" y="13"/>
                    <a:pt x="6" y="10"/>
                    <a:pt x="8" y="10"/>
                  </a:cubicBezTo>
                  <a:cubicBezTo>
                    <a:pt x="10" y="10"/>
                    <a:pt x="8" y="7"/>
                    <a:pt x="9" y="6"/>
                  </a:cubicBezTo>
                  <a:cubicBezTo>
                    <a:pt x="10" y="5"/>
                    <a:pt x="12" y="6"/>
                    <a:pt x="12" y="6"/>
                  </a:cubicBezTo>
                  <a:cubicBezTo>
                    <a:pt x="14" y="5"/>
                    <a:pt x="13" y="3"/>
                    <a:pt x="15" y="3"/>
                  </a:cubicBezTo>
                  <a:cubicBezTo>
                    <a:pt x="16" y="1"/>
                    <a:pt x="18" y="2"/>
                    <a:pt x="18" y="0"/>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116" name="Freeform 101">
              <a:extLst>
                <a:ext uri="{FF2B5EF4-FFF2-40B4-BE49-F238E27FC236}">
                  <a16:creationId xmlns:a16="http://schemas.microsoft.com/office/drawing/2014/main" id="{EF8BBC7C-1B93-4C2B-A06A-1B792C4C4838}"/>
                </a:ext>
              </a:extLst>
            </p:cNvPr>
            <p:cNvSpPr>
              <a:spLocks/>
            </p:cNvSpPr>
            <p:nvPr/>
          </p:nvSpPr>
          <p:spPr bwMode="auto">
            <a:xfrm>
              <a:off x="2116860" y="1265939"/>
              <a:ext cx="234338" cy="120055"/>
            </a:xfrm>
            <a:custGeom>
              <a:avLst/>
              <a:gdLst>
                <a:gd name="T0" fmla="*/ 30 w 86"/>
                <a:gd name="T1" fmla="*/ 30 h 44"/>
                <a:gd name="T2" fmla="*/ 27 w 86"/>
                <a:gd name="T3" fmla="*/ 32 h 44"/>
                <a:gd name="T4" fmla="*/ 19 w 86"/>
                <a:gd name="T5" fmla="*/ 30 h 44"/>
                <a:gd name="T6" fmla="*/ 24 w 86"/>
                <a:gd name="T7" fmla="*/ 27 h 44"/>
                <a:gd name="T8" fmla="*/ 33 w 86"/>
                <a:gd name="T9" fmla="*/ 21 h 44"/>
                <a:gd name="T10" fmla="*/ 30 w 86"/>
                <a:gd name="T11" fmla="*/ 17 h 44"/>
                <a:gd name="T12" fmla="*/ 22 w 86"/>
                <a:gd name="T13" fmla="*/ 17 h 44"/>
                <a:gd name="T14" fmla="*/ 15 w 86"/>
                <a:gd name="T15" fmla="*/ 23 h 44"/>
                <a:gd name="T16" fmla="*/ 5 w 86"/>
                <a:gd name="T17" fmla="*/ 21 h 44"/>
                <a:gd name="T18" fmla="*/ 6 w 86"/>
                <a:gd name="T19" fmla="*/ 11 h 44"/>
                <a:gd name="T20" fmla="*/ 3 w 86"/>
                <a:gd name="T21" fmla="*/ 12 h 44"/>
                <a:gd name="T22" fmla="*/ 2 w 86"/>
                <a:gd name="T23" fmla="*/ 5 h 44"/>
                <a:gd name="T24" fmla="*/ 5 w 86"/>
                <a:gd name="T25" fmla="*/ 6 h 44"/>
                <a:gd name="T26" fmla="*/ 14 w 86"/>
                <a:gd name="T27" fmla="*/ 3 h 44"/>
                <a:gd name="T28" fmla="*/ 15 w 86"/>
                <a:gd name="T29" fmla="*/ 8 h 44"/>
                <a:gd name="T30" fmla="*/ 27 w 86"/>
                <a:gd name="T31" fmla="*/ 9 h 44"/>
                <a:gd name="T32" fmla="*/ 31 w 86"/>
                <a:gd name="T33" fmla="*/ 3 h 44"/>
                <a:gd name="T34" fmla="*/ 46 w 86"/>
                <a:gd name="T35" fmla="*/ 5 h 44"/>
                <a:gd name="T36" fmla="*/ 48 w 86"/>
                <a:gd name="T37" fmla="*/ 5 h 44"/>
                <a:gd name="T38" fmla="*/ 54 w 86"/>
                <a:gd name="T39" fmla="*/ 9 h 44"/>
                <a:gd name="T40" fmla="*/ 52 w 86"/>
                <a:gd name="T41" fmla="*/ 12 h 44"/>
                <a:gd name="T42" fmla="*/ 59 w 86"/>
                <a:gd name="T43" fmla="*/ 11 h 44"/>
                <a:gd name="T44" fmla="*/ 68 w 86"/>
                <a:gd name="T45" fmla="*/ 14 h 44"/>
                <a:gd name="T46" fmla="*/ 70 w 86"/>
                <a:gd name="T47" fmla="*/ 17 h 44"/>
                <a:gd name="T48" fmla="*/ 71 w 86"/>
                <a:gd name="T49" fmla="*/ 18 h 44"/>
                <a:gd name="T50" fmla="*/ 73 w 86"/>
                <a:gd name="T51" fmla="*/ 21 h 44"/>
                <a:gd name="T52" fmla="*/ 76 w 86"/>
                <a:gd name="T53" fmla="*/ 21 h 44"/>
                <a:gd name="T54" fmla="*/ 76 w 86"/>
                <a:gd name="T55" fmla="*/ 24 h 44"/>
                <a:gd name="T56" fmla="*/ 79 w 86"/>
                <a:gd name="T57" fmla="*/ 24 h 44"/>
                <a:gd name="T58" fmla="*/ 80 w 86"/>
                <a:gd name="T59" fmla="*/ 29 h 44"/>
                <a:gd name="T60" fmla="*/ 85 w 86"/>
                <a:gd name="T61" fmla="*/ 29 h 44"/>
                <a:gd name="T62" fmla="*/ 80 w 86"/>
                <a:gd name="T63" fmla="*/ 32 h 44"/>
                <a:gd name="T64" fmla="*/ 80 w 86"/>
                <a:gd name="T65" fmla="*/ 33 h 44"/>
                <a:gd name="T66" fmla="*/ 65 w 86"/>
                <a:gd name="T67" fmla="*/ 33 h 44"/>
                <a:gd name="T68" fmla="*/ 65 w 86"/>
                <a:gd name="T69" fmla="*/ 24 h 44"/>
                <a:gd name="T70" fmla="*/ 51 w 86"/>
                <a:gd name="T71" fmla="*/ 23 h 44"/>
                <a:gd name="T72" fmla="*/ 49 w 86"/>
                <a:gd name="T73" fmla="*/ 27 h 44"/>
                <a:gd name="T74" fmla="*/ 46 w 86"/>
                <a:gd name="T75" fmla="*/ 27 h 44"/>
                <a:gd name="T76" fmla="*/ 43 w 86"/>
                <a:gd name="T77" fmla="*/ 30 h 44"/>
                <a:gd name="T78" fmla="*/ 45 w 86"/>
                <a:gd name="T79" fmla="*/ 32 h 44"/>
                <a:gd name="T80" fmla="*/ 40 w 86"/>
                <a:gd name="T81" fmla="*/ 33 h 44"/>
                <a:gd name="T82" fmla="*/ 40 w 86"/>
                <a:gd name="T83" fmla="*/ 42 h 44"/>
                <a:gd name="T84" fmla="*/ 21 w 86"/>
                <a:gd name="T85" fmla="*/ 36 h 44"/>
                <a:gd name="T86" fmla="*/ 25 w 86"/>
                <a:gd name="T87" fmla="*/ 33 h 44"/>
                <a:gd name="T88" fmla="*/ 31 w 86"/>
                <a:gd name="T89" fmla="*/ 33 h 44"/>
                <a:gd name="T90" fmla="*/ 30 w 86"/>
                <a:gd name="T91" fmla="*/ 3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44">
                  <a:moveTo>
                    <a:pt x="30" y="30"/>
                  </a:moveTo>
                  <a:cubicBezTo>
                    <a:pt x="29" y="27"/>
                    <a:pt x="27" y="31"/>
                    <a:pt x="27" y="32"/>
                  </a:cubicBezTo>
                  <a:cubicBezTo>
                    <a:pt x="25" y="32"/>
                    <a:pt x="23" y="28"/>
                    <a:pt x="19" y="30"/>
                  </a:cubicBezTo>
                  <a:cubicBezTo>
                    <a:pt x="20" y="27"/>
                    <a:pt x="22" y="28"/>
                    <a:pt x="24" y="27"/>
                  </a:cubicBezTo>
                  <a:cubicBezTo>
                    <a:pt x="27" y="25"/>
                    <a:pt x="29" y="21"/>
                    <a:pt x="33" y="21"/>
                  </a:cubicBezTo>
                  <a:cubicBezTo>
                    <a:pt x="32" y="20"/>
                    <a:pt x="29" y="20"/>
                    <a:pt x="30" y="17"/>
                  </a:cubicBezTo>
                  <a:cubicBezTo>
                    <a:pt x="27" y="16"/>
                    <a:pt x="24" y="21"/>
                    <a:pt x="22" y="17"/>
                  </a:cubicBezTo>
                  <a:cubicBezTo>
                    <a:pt x="20" y="19"/>
                    <a:pt x="18" y="21"/>
                    <a:pt x="15" y="23"/>
                  </a:cubicBezTo>
                  <a:cubicBezTo>
                    <a:pt x="10" y="23"/>
                    <a:pt x="10" y="20"/>
                    <a:pt x="5" y="21"/>
                  </a:cubicBezTo>
                  <a:cubicBezTo>
                    <a:pt x="8" y="18"/>
                    <a:pt x="8" y="15"/>
                    <a:pt x="6" y="11"/>
                  </a:cubicBezTo>
                  <a:cubicBezTo>
                    <a:pt x="4" y="11"/>
                    <a:pt x="3" y="11"/>
                    <a:pt x="3" y="12"/>
                  </a:cubicBezTo>
                  <a:cubicBezTo>
                    <a:pt x="0" y="12"/>
                    <a:pt x="2" y="7"/>
                    <a:pt x="2" y="5"/>
                  </a:cubicBezTo>
                  <a:cubicBezTo>
                    <a:pt x="3" y="5"/>
                    <a:pt x="4" y="5"/>
                    <a:pt x="5" y="6"/>
                  </a:cubicBezTo>
                  <a:cubicBezTo>
                    <a:pt x="6" y="3"/>
                    <a:pt x="13" y="7"/>
                    <a:pt x="14" y="3"/>
                  </a:cubicBezTo>
                  <a:cubicBezTo>
                    <a:pt x="15" y="4"/>
                    <a:pt x="15" y="6"/>
                    <a:pt x="15" y="8"/>
                  </a:cubicBezTo>
                  <a:cubicBezTo>
                    <a:pt x="21" y="9"/>
                    <a:pt x="26" y="0"/>
                    <a:pt x="27" y="9"/>
                  </a:cubicBezTo>
                  <a:cubicBezTo>
                    <a:pt x="31" y="10"/>
                    <a:pt x="32" y="7"/>
                    <a:pt x="31" y="3"/>
                  </a:cubicBezTo>
                  <a:cubicBezTo>
                    <a:pt x="35" y="5"/>
                    <a:pt x="40" y="4"/>
                    <a:pt x="46" y="5"/>
                  </a:cubicBezTo>
                  <a:cubicBezTo>
                    <a:pt x="47" y="5"/>
                    <a:pt x="47" y="7"/>
                    <a:pt x="48" y="5"/>
                  </a:cubicBezTo>
                  <a:cubicBezTo>
                    <a:pt x="50" y="5"/>
                    <a:pt x="48" y="12"/>
                    <a:pt x="54" y="9"/>
                  </a:cubicBezTo>
                  <a:cubicBezTo>
                    <a:pt x="53" y="10"/>
                    <a:pt x="52" y="11"/>
                    <a:pt x="52" y="12"/>
                  </a:cubicBezTo>
                  <a:cubicBezTo>
                    <a:pt x="54" y="11"/>
                    <a:pt x="60" y="14"/>
                    <a:pt x="59" y="11"/>
                  </a:cubicBezTo>
                  <a:cubicBezTo>
                    <a:pt x="61" y="12"/>
                    <a:pt x="62" y="15"/>
                    <a:pt x="68" y="14"/>
                  </a:cubicBezTo>
                  <a:cubicBezTo>
                    <a:pt x="66" y="16"/>
                    <a:pt x="68" y="16"/>
                    <a:pt x="70" y="17"/>
                  </a:cubicBezTo>
                  <a:cubicBezTo>
                    <a:pt x="71" y="17"/>
                    <a:pt x="70" y="18"/>
                    <a:pt x="71" y="18"/>
                  </a:cubicBezTo>
                  <a:cubicBezTo>
                    <a:pt x="73" y="18"/>
                    <a:pt x="72" y="20"/>
                    <a:pt x="73" y="21"/>
                  </a:cubicBezTo>
                  <a:cubicBezTo>
                    <a:pt x="73" y="22"/>
                    <a:pt x="75" y="21"/>
                    <a:pt x="76" y="21"/>
                  </a:cubicBezTo>
                  <a:cubicBezTo>
                    <a:pt x="76" y="22"/>
                    <a:pt x="75" y="24"/>
                    <a:pt x="76" y="24"/>
                  </a:cubicBezTo>
                  <a:cubicBezTo>
                    <a:pt x="76" y="25"/>
                    <a:pt x="78" y="24"/>
                    <a:pt x="79" y="24"/>
                  </a:cubicBezTo>
                  <a:cubicBezTo>
                    <a:pt x="80" y="25"/>
                    <a:pt x="79" y="27"/>
                    <a:pt x="80" y="29"/>
                  </a:cubicBezTo>
                  <a:cubicBezTo>
                    <a:pt x="83" y="29"/>
                    <a:pt x="84" y="26"/>
                    <a:pt x="85" y="29"/>
                  </a:cubicBezTo>
                  <a:cubicBezTo>
                    <a:pt x="86" y="33"/>
                    <a:pt x="81" y="30"/>
                    <a:pt x="80" y="32"/>
                  </a:cubicBezTo>
                  <a:cubicBezTo>
                    <a:pt x="80" y="32"/>
                    <a:pt x="80" y="33"/>
                    <a:pt x="80" y="33"/>
                  </a:cubicBezTo>
                  <a:cubicBezTo>
                    <a:pt x="76" y="34"/>
                    <a:pt x="70" y="32"/>
                    <a:pt x="65" y="33"/>
                  </a:cubicBezTo>
                  <a:cubicBezTo>
                    <a:pt x="64" y="28"/>
                    <a:pt x="65" y="30"/>
                    <a:pt x="65" y="24"/>
                  </a:cubicBezTo>
                  <a:cubicBezTo>
                    <a:pt x="64" y="20"/>
                    <a:pt x="54" y="20"/>
                    <a:pt x="51" y="23"/>
                  </a:cubicBezTo>
                  <a:cubicBezTo>
                    <a:pt x="48" y="23"/>
                    <a:pt x="50" y="26"/>
                    <a:pt x="49" y="27"/>
                  </a:cubicBezTo>
                  <a:cubicBezTo>
                    <a:pt x="49" y="28"/>
                    <a:pt x="46" y="27"/>
                    <a:pt x="46" y="27"/>
                  </a:cubicBezTo>
                  <a:cubicBezTo>
                    <a:pt x="45" y="28"/>
                    <a:pt x="46" y="31"/>
                    <a:pt x="43" y="30"/>
                  </a:cubicBezTo>
                  <a:cubicBezTo>
                    <a:pt x="43" y="31"/>
                    <a:pt x="44" y="31"/>
                    <a:pt x="45" y="32"/>
                  </a:cubicBezTo>
                  <a:cubicBezTo>
                    <a:pt x="44" y="33"/>
                    <a:pt x="42" y="33"/>
                    <a:pt x="40" y="33"/>
                  </a:cubicBezTo>
                  <a:cubicBezTo>
                    <a:pt x="39" y="38"/>
                    <a:pt x="40" y="36"/>
                    <a:pt x="40" y="42"/>
                  </a:cubicBezTo>
                  <a:cubicBezTo>
                    <a:pt x="35" y="43"/>
                    <a:pt x="22" y="44"/>
                    <a:pt x="21" y="36"/>
                  </a:cubicBezTo>
                  <a:cubicBezTo>
                    <a:pt x="23" y="36"/>
                    <a:pt x="25" y="35"/>
                    <a:pt x="25" y="33"/>
                  </a:cubicBezTo>
                  <a:cubicBezTo>
                    <a:pt x="29" y="33"/>
                    <a:pt x="28" y="35"/>
                    <a:pt x="31" y="33"/>
                  </a:cubicBezTo>
                  <a:cubicBezTo>
                    <a:pt x="30" y="32"/>
                    <a:pt x="27" y="31"/>
                    <a:pt x="30" y="30"/>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117" name="Freeform 102">
              <a:extLst>
                <a:ext uri="{FF2B5EF4-FFF2-40B4-BE49-F238E27FC236}">
                  <a16:creationId xmlns:a16="http://schemas.microsoft.com/office/drawing/2014/main" id="{95CDD563-8370-482F-912A-19B6849BF75F}"/>
                </a:ext>
              </a:extLst>
            </p:cNvPr>
            <p:cNvSpPr>
              <a:spLocks/>
            </p:cNvSpPr>
            <p:nvPr/>
          </p:nvSpPr>
          <p:spPr bwMode="auto">
            <a:xfrm>
              <a:off x="5949612" y="1358289"/>
              <a:ext cx="111975" cy="60027"/>
            </a:xfrm>
            <a:custGeom>
              <a:avLst/>
              <a:gdLst>
                <a:gd name="T0" fmla="*/ 40 w 41"/>
                <a:gd name="T1" fmla="*/ 3 h 22"/>
                <a:gd name="T2" fmla="*/ 40 w 41"/>
                <a:gd name="T3" fmla="*/ 8 h 22"/>
                <a:gd name="T4" fmla="*/ 37 w 41"/>
                <a:gd name="T5" fmla="*/ 8 h 22"/>
                <a:gd name="T6" fmla="*/ 37 w 41"/>
                <a:gd name="T7" fmla="*/ 12 h 22"/>
                <a:gd name="T8" fmla="*/ 33 w 41"/>
                <a:gd name="T9" fmla="*/ 15 h 22"/>
                <a:gd name="T10" fmla="*/ 28 w 41"/>
                <a:gd name="T11" fmla="*/ 11 h 22"/>
                <a:gd name="T12" fmla="*/ 24 w 41"/>
                <a:gd name="T13" fmla="*/ 14 h 22"/>
                <a:gd name="T14" fmla="*/ 18 w 41"/>
                <a:gd name="T15" fmla="*/ 20 h 22"/>
                <a:gd name="T16" fmla="*/ 1 w 41"/>
                <a:gd name="T17" fmla="*/ 20 h 22"/>
                <a:gd name="T18" fmla="*/ 0 w 41"/>
                <a:gd name="T19" fmla="*/ 14 h 22"/>
                <a:gd name="T20" fmla="*/ 6 w 41"/>
                <a:gd name="T21" fmla="*/ 15 h 22"/>
                <a:gd name="T22" fmla="*/ 12 w 41"/>
                <a:gd name="T23" fmla="*/ 11 h 22"/>
                <a:gd name="T24" fmla="*/ 15 w 41"/>
                <a:gd name="T25" fmla="*/ 8 h 22"/>
                <a:gd name="T26" fmla="*/ 19 w 41"/>
                <a:gd name="T27" fmla="*/ 6 h 22"/>
                <a:gd name="T28" fmla="*/ 21 w 41"/>
                <a:gd name="T29" fmla="*/ 6 h 22"/>
                <a:gd name="T30" fmla="*/ 24 w 41"/>
                <a:gd name="T31" fmla="*/ 3 h 22"/>
                <a:gd name="T32" fmla="*/ 30 w 41"/>
                <a:gd name="T33" fmla="*/ 3 h 22"/>
                <a:gd name="T34" fmla="*/ 40 w 41"/>
                <a:gd name="T35"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 h="22">
                  <a:moveTo>
                    <a:pt x="40" y="3"/>
                  </a:moveTo>
                  <a:cubicBezTo>
                    <a:pt x="39" y="4"/>
                    <a:pt x="41" y="7"/>
                    <a:pt x="40" y="8"/>
                  </a:cubicBezTo>
                  <a:cubicBezTo>
                    <a:pt x="39" y="8"/>
                    <a:pt x="37" y="7"/>
                    <a:pt x="37" y="8"/>
                  </a:cubicBezTo>
                  <a:cubicBezTo>
                    <a:pt x="37" y="8"/>
                    <a:pt x="39" y="12"/>
                    <a:pt x="37" y="12"/>
                  </a:cubicBezTo>
                  <a:cubicBezTo>
                    <a:pt x="35" y="13"/>
                    <a:pt x="33" y="10"/>
                    <a:pt x="33" y="15"/>
                  </a:cubicBezTo>
                  <a:cubicBezTo>
                    <a:pt x="30" y="15"/>
                    <a:pt x="32" y="10"/>
                    <a:pt x="28" y="11"/>
                  </a:cubicBezTo>
                  <a:cubicBezTo>
                    <a:pt x="25" y="10"/>
                    <a:pt x="26" y="14"/>
                    <a:pt x="24" y="14"/>
                  </a:cubicBezTo>
                  <a:cubicBezTo>
                    <a:pt x="22" y="16"/>
                    <a:pt x="17" y="16"/>
                    <a:pt x="18" y="20"/>
                  </a:cubicBezTo>
                  <a:cubicBezTo>
                    <a:pt x="11" y="22"/>
                    <a:pt x="8" y="20"/>
                    <a:pt x="1" y="20"/>
                  </a:cubicBezTo>
                  <a:cubicBezTo>
                    <a:pt x="2" y="17"/>
                    <a:pt x="0" y="17"/>
                    <a:pt x="0" y="14"/>
                  </a:cubicBezTo>
                  <a:cubicBezTo>
                    <a:pt x="1" y="15"/>
                    <a:pt x="3" y="15"/>
                    <a:pt x="6" y="15"/>
                  </a:cubicBezTo>
                  <a:cubicBezTo>
                    <a:pt x="9" y="15"/>
                    <a:pt x="9" y="11"/>
                    <a:pt x="12" y="11"/>
                  </a:cubicBezTo>
                  <a:cubicBezTo>
                    <a:pt x="12" y="11"/>
                    <a:pt x="14" y="7"/>
                    <a:pt x="15" y="8"/>
                  </a:cubicBezTo>
                  <a:cubicBezTo>
                    <a:pt x="18" y="11"/>
                    <a:pt x="15" y="7"/>
                    <a:pt x="19" y="6"/>
                  </a:cubicBezTo>
                  <a:cubicBezTo>
                    <a:pt x="20" y="6"/>
                    <a:pt x="20" y="7"/>
                    <a:pt x="21" y="6"/>
                  </a:cubicBezTo>
                  <a:cubicBezTo>
                    <a:pt x="21" y="6"/>
                    <a:pt x="23" y="3"/>
                    <a:pt x="24" y="3"/>
                  </a:cubicBezTo>
                  <a:cubicBezTo>
                    <a:pt x="25" y="3"/>
                    <a:pt x="28" y="4"/>
                    <a:pt x="30" y="3"/>
                  </a:cubicBezTo>
                  <a:cubicBezTo>
                    <a:pt x="31" y="3"/>
                    <a:pt x="36" y="0"/>
                    <a:pt x="40" y="3"/>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118" name="Freeform 103">
              <a:extLst>
                <a:ext uri="{FF2B5EF4-FFF2-40B4-BE49-F238E27FC236}">
                  <a16:creationId xmlns:a16="http://schemas.microsoft.com/office/drawing/2014/main" id="{EA00BB9D-D0FD-4A1C-A3CD-72E8967E2F92}"/>
                </a:ext>
              </a:extLst>
            </p:cNvPr>
            <p:cNvSpPr>
              <a:spLocks/>
            </p:cNvSpPr>
            <p:nvPr/>
          </p:nvSpPr>
          <p:spPr bwMode="auto">
            <a:xfrm>
              <a:off x="6252058" y="1383685"/>
              <a:ext cx="115437" cy="56565"/>
            </a:xfrm>
            <a:custGeom>
              <a:avLst/>
              <a:gdLst>
                <a:gd name="T0" fmla="*/ 37 w 42"/>
                <a:gd name="T1" fmla="*/ 2 h 21"/>
                <a:gd name="T2" fmla="*/ 42 w 42"/>
                <a:gd name="T3" fmla="*/ 15 h 21"/>
                <a:gd name="T4" fmla="*/ 39 w 42"/>
                <a:gd name="T5" fmla="*/ 14 h 21"/>
                <a:gd name="T6" fmla="*/ 39 w 42"/>
                <a:gd name="T7" fmla="*/ 18 h 21"/>
                <a:gd name="T8" fmla="*/ 33 w 42"/>
                <a:gd name="T9" fmla="*/ 20 h 21"/>
                <a:gd name="T10" fmla="*/ 31 w 42"/>
                <a:gd name="T11" fmla="*/ 21 h 21"/>
                <a:gd name="T12" fmla="*/ 27 w 42"/>
                <a:gd name="T13" fmla="*/ 21 h 21"/>
                <a:gd name="T14" fmla="*/ 27 w 42"/>
                <a:gd name="T15" fmla="*/ 15 h 21"/>
                <a:gd name="T16" fmla="*/ 12 w 42"/>
                <a:gd name="T17" fmla="*/ 14 h 21"/>
                <a:gd name="T18" fmla="*/ 0 w 42"/>
                <a:gd name="T19" fmla="*/ 6 h 21"/>
                <a:gd name="T20" fmla="*/ 2 w 42"/>
                <a:gd name="T21" fmla="*/ 3 h 21"/>
                <a:gd name="T22" fmla="*/ 5 w 42"/>
                <a:gd name="T23" fmla="*/ 5 h 21"/>
                <a:gd name="T24" fmla="*/ 12 w 42"/>
                <a:gd name="T25" fmla="*/ 8 h 21"/>
                <a:gd name="T26" fmla="*/ 15 w 42"/>
                <a:gd name="T27" fmla="*/ 8 h 21"/>
                <a:gd name="T28" fmla="*/ 16 w 42"/>
                <a:gd name="T29" fmla="*/ 11 h 21"/>
                <a:gd name="T30" fmla="*/ 18 w 42"/>
                <a:gd name="T31" fmla="*/ 5 h 21"/>
                <a:gd name="T32" fmla="*/ 21 w 42"/>
                <a:gd name="T33" fmla="*/ 8 h 21"/>
                <a:gd name="T34" fmla="*/ 37 w 42"/>
                <a:gd name="T35"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 h="21">
                  <a:moveTo>
                    <a:pt x="37" y="2"/>
                  </a:moveTo>
                  <a:cubicBezTo>
                    <a:pt x="35" y="10"/>
                    <a:pt x="41" y="10"/>
                    <a:pt x="42" y="15"/>
                  </a:cubicBezTo>
                  <a:cubicBezTo>
                    <a:pt x="41" y="15"/>
                    <a:pt x="39" y="13"/>
                    <a:pt x="39" y="14"/>
                  </a:cubicBezTo>
                  <a:cubicBezTo>
                    <a:pt x="38" y="14"/>
                    <a:pt x="39" y="18"/>
                    <a:pt x="39" y="18"/>
                  </a:cubicBezTo>
                  <a:cubicBezTo>
                    <a:pt x="37" y="19"/>
                    <a:pt x="35" y="19"/>
                    <a:pt x="33" y="20"/>
                  </a:cubicBezTo>
                  <a:cubicBezTo>
                    <a:pt x="32" y="20"/>
                    <a:pt x="33" y="21"/>
                    <a:pt x="31" y="21"/>
                  </a:cubicBezTo>
                  <a:cubicBezTo>
                    <a:pt x="30" y="21"/>
                    <a:pt x="28" y="21"/>
                    <a:pt x="27" y="21"/>
                  </a:cubicBezTo>
                  <a:cubicBezTo>
                    <a:pt x="25" y="19"/>
                    <a:pt x="25" y="17"/>
                    <a:pt x="27" y="15"/>
                  </a:cubicBezTo>
                  <a:cubicBezTo>
                    <a:pt x="22" y="18"/>
                    <a:pt x="18" y="14"/>
                    <a:pt x="12" y="14"/>
                  </a:cubicBezTo>
                  <a:cubicBezTo>
                    <a:pt x="11" y="9"/>
                    <a:pt x="4" y="9"/>
                    <a:pt x="0" y="6"/>
                  </a:cubicBezTo>
                  <a:cubicBezTo>
                    <a:pt x="1" y="6"/>
                    <a:pt x="1" y="3"/>
                    <a:pt x="2" y="3"/>
                  </a:cubicBezTo>
                  <a:cubicBezTo>
                    <a:pt x="4" y="3"/>
                    <a:pt x="4" y="5"/>
                    <a:pt x="5" y="5"/>
                  </a:cubicBezTo>
                  <a:cubicBezTo>
                    <a:pt x="7" y="5"/>
                    <a:pt x="11" y="6"/>
                    <a:pt x="12" y="8"/>
                  </a:cubicBezTo>
                  <a:cubicBezTo>
                    <a:pt x="12" y="8"/>
                    <a:pt x="14" y="7"/>
                    <a:pt x="15" y="8"/>
                  </a:cubicBezTo>
                  <a:cubicBezTo>
                    <a:pt x="16" y="8"/>
                    <a:pt x="14" y="11"/>
                    <a:pt x="16" y="11"/>
                  </a:cubicBezTo>
                  <a:cubicBezTo>
                    <a:pt x="21" y="9"/>
                    <a:pt x="14" y="7"/>
                    <a:pt x="18" y="5"/>
                  </a:cubicBezTo>
                  <a:cubicBezTo>
                    <a:pt x="20" y="3"/>
                    <a:pt x="21" y="8"/>
                    <a:pt x="21" y="8"/>
                  </a:cubicBezTo>
                  <a:cubicBezTo>
                    <a:pt x="26" y="8"/>
                    <a:pt x="28" y="0"/>
                    <a:pt x="37" y="2"/>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119" name="Freeform 104">
              <a:extLst>
                <a:ext uri="{FF2B5EF4-FFF2-40B4-BE49-F238E27FC236}">
                  <a16:creationId xmlns:a16="http://schemas.microsoft.com/office/drawing/2014/main" id="{6764E2F6-44A4-4BC3-92CB-8C9667AC2B87}"/>
                </a:ext>
              </a:extLst>
            </p:cNvPr>
            <p:cNvSpPr>
              <a:spLocks/>
            </p:cNvSpPr>
            <p:nvPr/>
          </p:nvSpPr>
          <p:spPr bwMode="auto">
            <a:xfrm>
              <a:off x="6039653" y="1385994"/>
              <a:ext cx="199707" cy="76189"/>
            </a:xfrm>
            <a:custGeom>
              <a:avLst/>
              <a:gdLst>
                <a:gd name="T0" fmla="*/ 32 w 73"/>
                <a:gd name="T1" fmla="*/ 10 h 28"/>
                <a:gd name="T2" fmla="*/ 47 w 73"/>
                <a:gd name="T3" fmla="*/ 16 h 28"/>
                <a:gd name="T4" fmla="*/ 47 w 73"/>
                <a:gd name="T5" fmla="*/ 8 h 28"/>
                <a:gd name="T6" fmla="*/ 43 w 73"/>
                <a:gd name="T7" fmla="*/ 2 h 28"/>
                <a:gd name="T8" fmla="*/ 53 w 73"/>
                <a:gd name="T9" fmla="*/ 1 h 28"/>
                <a:gd name="T10" fmla="*/ 56 w 73"/>
                <a:gd name="T11" fmla="*/ 4 h 28"/>
                <a:gd name="T12" fmla="*/ 56 w 73"/>
                <a:gd name="T13" fmla="*/ 7 h 28"/>
                <a:gd name="T14" fmla="*/ 62 w 73"/>
                <a:gd name="T15" fmla="*/ 11 h 28"/>
                <a:gd name="T16" fmla="*/ 66 w 73"/>
                <a:gd name="T17" fmla="*/ 8 h 28"/>
                <a:gd name="T18" fmla="*/ 71 w 73"/>
                <a:gd name="T19" fmla="*/ 11 h 28"/>
                <a:gd name="T20" fmla="*/ 72 w 73"/>
                <a:gd name="T21" fmla="*/ 14 h 28"/>
                <a:gd name="T22" fmla="*/ 71 w 73"/>
                <a:gd name="T23" fmla="*/ 20 h 28"/>
                <a:gd name="T24" fmla="*/ 62 w 73"/>
                <a:gd name="T25" fmla="*/ 22 h 28"/>
                <a:gd name="T26" fmla="*/ 56 w 73"/>
                <a:gd name="T27" fmla="*/ 20 h 28"/>
                <a:gd name="T28" fmla="*/ 43 w 73"/>
                <a:gd name="T29" fmla="*/ 23 h 28"/>
                <a:gd name="T30" fmla="*/ 40 w 73"/>
                <a:gd name="T31" fmla="*/ 23 h 28"/>
                <a:gd name="T32" fmla="*/ 35 w 73"/>
                <a:gd name="T33" fmla="*/ 25 h 28"/>
                <a:gd name="T34" fmla="*/ 20 w 73"/>
                <a:gd name="T35" fmla="*/ 28 h 28"/>
                <a:gd name="T36" fmla="*/ 34 w 73"/>
                <a:gd name="T37" fmla="*/ 23 h 28"/>
                <a:gd name="T38" fmla="*/ 26 w 73"/>
                <a:gd name="T39" fmla="*/ 20 h 28"/>
                <a:gd name="T40" fmla="*/ 20 w 73"/>
                <a:gd name="T41" fmla="*/ 17 h 28"/>
                <a:gd name="T42" fmla="*/ 14 w 73"/>
                <a:gd name="T43" fmla="*/ 20 h 28"/>
                <a:gd name="T44" fmla="*/ 10 w 73"/>
                <a:gd name="T45" fmla="*/ 19 h 28"/>
                <a:gd name="T46" fmla="*/ 0 w 73"/>
                <a:gd name="T47" fmla="*/ 17 h 28"/>
                <a:gd name="T48" fmla="*/ 2 w 73"/>
                <a:gd name="T49" fmla="*/ 14 h 28"/>
                <a:gd name="T50" fmla="*/ 4 w 73"/>
                <a:gd name="T51" fmla="*/ 10 h 28"/>
                <a:gd name="T52" fmla="*/ 10 w 73"/>
                <a:gd name="T53" fmla="*/ 8 h 28"/>
                <a:gd name="T54" fmla="*/ 8 w 73"/>
                <a:gd name="T55" fmla="*/ 5 h 28"/>
                <a:gd name="T56" fmla="*/ 11 w 73"/>
                <a:gd name="T57" fmla="*/ 5 h 28"/>
                <a:gd name="T58" fmla="*/ 16 w 73"/>
                <a:gd name="T59" fmla="*/ 4 h 28"/>
                <a:gd name="T60" fmla="*/ 23 w 73"/>
                <a:gd name="T61" fmla="*/ 5 h 28"/>
                <a:gd name="T62" fmla="*/ 25 w 73"/>
                <a:gd name="T63" fmla="*/ 8 h 28"/>
                <a:gd name="T64" fmla="*/ 28 w 73"/>
                <a:gd name="T65" fmla="*/ 8 h 28"/>
                <a:gd name="T66" fmla="*/ 28 w 73"/>
                <a:gd name="T67" fmla="*/ 13 h 28"/>
                <a:gd name="T68" fmla="*/ 32 w 73"/>
                <a:gd name="T69"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 h="28">
                  <a:moveTo>
                    <a:pt x="32" y="10"/>
                  </a:moveTo>
                  <a:cubicBezTo>
                    <a:pt x="30" y="15"/>
                    <a:pt x="44" y="12"/>
                    <a:pt x="47" y="16"/>
                  </a:cubicBezTo>
                  <a:cubicBezTo>
                    <a:pt x="50" y="9"/>
                    <a:pt x="37" y="9"/>
                    <a:pt x="47" y="8"/>
                  </a:cubicBezTo>
                  <a:cubicBezTo>
                    <a:pt x="49" y="3"/>
                    <a:pt x="40" y="8"/>
                    <a:pt x="43" y="2"/>
                  </a:cubicBezTo>
                  <a:cubicBezTo>
                    <a:pt x="47" y="3"/>
                    <a:pt x="48" y="0"/>
                    <a:pt x="53" y="1"/>
                  </a:cubicBezTo>
                  <a:cubicBezTo>
                    <a:pt x="52" y="4"/>
                    <a:pt x="55" y="3"/>
                    <a:pt x="56" y="4"/>
                  </a:cubicBezTo>
                  <a:cubicBezTo>
                    <a:pt x="56" y="4"/>
                    <a:pt x="55" y="6"/>
                    <a:pt x="56" y="7"/>
                  </a:cubicBezTo>
                  <a:cubicBezTo>
                    <a:pt x="57" y="8"/>
                    <a:pt x="60" y="9"/>
                    <a:pt x="62" y="11"/>
                  </a:cubicBezTo>
                  <a:cubicBezTo>
                    <a:pt x="63" y="10"/>
                    <a:pt x="63" y="8"/>
                    <a:pt x="66" y="8"/>
                  </a:cubicBezTo>
                  <a:cubicBezTo>
                    <a:pt x="68" y="8"/>
                    <a:pt x="70" y="10"/>
                    <a:pt x="71" y="11"/>
                  </a:cubicBezTo>
                  <a:cubicBezTo>
                    <a:pt x="71" y="11"/>
                    <a:pt x="73" y="14"/>
                    <a:pt x="72" y="14"/>
                  </a:cubicBezTo>
                  <a:cubicBezTo>
                    <a:pt x="70" y="16"/>
                    <a:pt x="72" y="15"/>
                    <a:pt x="71" y="20"/>
                  </a:cubicBezTo>
                  <a:cubicBezTo>
                    <a:pt x="68" y="17"/>
                    <a:pt x="65" y="21"/>
                    <a:pt x="62" y="22"/>
                  </a:cubicBezTo>
                  <a:cubicBezTo>
                    <a:pt x="59" y="22"/>
                    <a:pt x="59" y="20"/>
                    <a:pt x="56" y="20"/>
                  </a:cubicBezTo>
                  <a:cubicBezTo>
                    <a:pt x="52" y="20"/>
                    <a:pt x="46" y="22"/>
                    <a:pt x="43" y="23"/>
                  </a:cubicBezTo>
                  <a:cubicBezTo>
                    <a:pt x="42" y="23"/>
                    <a:pt x="40" y="23"/>
                    <a:pt x="40" y="23"/>
                  </a:cubicBezTo>
                  <a:cubicBezTo>
                    <a:pt x="38" y="25"/>
                    <a:pt x="38" y="24"/>
                    <a:pt x="35" y="25"/>
                  </a:cubicBezTo>
                  <a:cubicBezTo>
                    <a:pt x="33" y="25"/>
                    <a:pt x="26" y="27"/>
                    <a:pt x="20" y="28"/>
                  </a:cubicBezTo>
                  <a:cubicBezTo>
                    <a:pt x="21" y="22"/>
                    <a:pt x="28" y="23"/>
                    <a:pt x="34" y="23"/>
                  </a:cubicBezTo>
                  <a:cubicBezTo>
                    <a:pt x="34" y="17"/>
                    <a:pt x="29" y="21"/>
                    <a:pt x="26" y="20"/>
                  </a:cubicBezTo>
                  <a:cubicBezTo>
                    <a:pt x="23" y="19"/>
                    <a:pt x="23" y="19"/>
                    <a:pt x="20" y="17"/>
                  </a:cubicBezTo>
                  <a:cubicBezTo>
                    <a:pt x="17" y="16"/>
                    <a:pt x="17" y="20"/>
                    <a:pt x="14" y="20"/>
                  </a:cubicBezTo>
                  <a:cubicBezTo>
                    <a:pt x="12" y="20"/>
                    <a:pt x="12" y="19"/>
                    <a:pt x="10" y="19"/>
                  </a:cubicBezTo>
                  <a:cubicBezTo>
                    <a:pt x="6" y="18"/>
                    <a:pt x="2" y="20"/>
                    <a:pt x="0" y="17"/>
                  </a:cubicBezTo>
                  <a:cubicBezTo>
                    <a:pt x="0" y="15"/>
                    <a:pt x="2" y="15"/>
                    <a:pt x="2" y="14"/>
                  </a:cubicBezTo>
                  <a:cubicBezTo>
                    <a:pt x="3" y="14"/>
                    <a:pt x="3" y="10"/>
                    <a:pt x="4" y="10"/>
                  </a:cubicBezTo>
                  <a:cubicBezTo>
                    <a:pt x="6" y="8"/>
                    <a:pt x="8" y="10"/>
                    <a:pt x="10" y="8"/>
                  </a:cubicBezTo>
                  <a:cubicBezTo>
                    <a:pt x="11" y="7"/>
                    <a:pt x="5" y="6"/>
                    <a:pt x="8" y="5"/>
                  </a:cubicBezTo>
                  <a:cubicBezTo>
                    <a:pt x="9" y="5"/>
                    <a:pt x="10" y="5"/>
                    <a:pt x="11" y="5"/>
                  </a:cubicBezTo>
                  <a:cubicBezTo>
                    <a:pt x="13" y="5"/>
                    <a:pt x="14" y="4"/>
                    <a:pt x="16" y="4"/>
                  </a:cubicBezTo>
                  <a:cubicBezTo>
                    <a:pt x="17" y="4"/>
                    <a:pt x="22" y="5"/>
                    <a:pt x="23" y="5"/>
                  </a:cubicBezTo>
                  <a:cubicBezTo>
                    <a:pt x="24" y="6"/>
                    <a:pt x="23" y="7"/>
                    <a:pt x="25" y="8"/>
                  </a:cubicBezTo>
                  <a:cubicBezTo>
                    <a:pt x="25" y="9"/>
                    <a:pt x="27" y="8"/>
                    <a:pt x="28" y="8"/>
                  </a:cubicBezTo>
                  <a:cubicBezTo>
                    <a:pt x="29" y="10"/>
                    <a:pt x="25" y="13"/>
                    <a:pt x="28" y="13"/>
                  </a:cubicBezTo>
                  <a:cubicBezTo>
                    <a:pt x="29" y="13"/>
                    <a:pt x="29" y="8"/>
                    <a:pt x="32" y="10"/>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120" name="Freeform 105">
              <a:extLst>
                <a:ext uri="{FF2B5EF4-FFF2-40B4-BE49-F238E27FC236}">
                  <a16:creationId xmlns:a16="http://schemas.microsoft.com/office/drawing/2014/main" id="{FF1C2C91-4991-4867-AEE7-DD68F913B0ED}"/>
                </a:ext>
              </a:extLst>
            </p:cNvPr>
            <p:cNvSpPr>
              <a:spLocks/>
            </p:cNvSpPr>
            <p:nvPr/>
          </p:nvSpPr>
          <p:spPr bwMode="auto">
            <a:xfrm>
              <a:off x="5901129" y="1462182"/>
              <a:ext cx="158149" cy="106202"/>
            </a:xfrm>
            <a:custGeom>
              <a:avLst/>
              <a:gdLst>
                <a:gd name="T0" fmla="*/ 8 w 58"/>
                <a:gd name="T1" fmla="*/ 1 h 39"/>
                <a:gd name="T2" fmla="*/ 33 w 58"/>
                <a:gd name="T3" fmla="*/ 2 h 39"/>
                <a:gd name="T4" fmla="*/ 36 w 58"/>
                <a:gd name="T5" fmla="*/ 2 h 39"/>
                <a:gd name="T6" fmla="*/ 42 w 58"/>
                <a:gd name="T7" fmla="*/ 4 h 39"/>
                <a:gd name="T8" fmla="*/ 48 w 58"/>
                <a:gd name="T9" fmla="*/ 4 h 39"/>
                <a:gd name="T10" fmla="*/ 49 w 58"/>
                <a:gd name="T11" fmla="*/ 5 h 39"/>
                <a:gd name="T12" fmla="*/ 58 w 58"/>
                <a:gd name="T13" fmla="*/ 11 h 39"/>
                <a:gd name="T14" fmla="*/ 45 w 58"/>
                <a:gd name="T15" fmla="*/ 14 h 39"/>
                <a:gd name="T16" fmla="*/ 43 w 58"/>
                <a:gd name="T17" fmla="*/ 17 h 39"/>
                <a:gd name="T18" fmla="*/ 40 w 58"/>
                <a:gd name="T19" fmla="*/ 16 h 39"/>
                <a:gd name="T20" fmla="*/ 39 w 58"/>
                <a:gd name="T21" fmla="*/ 17 h 39"/>
                <a:gd name="T22" fmla="*/ 40 w 58"/>
                <a:gd name="T23" fmla="*/ 19 h 39"/>
                <a:gd name="T24" fmla="*/ 37 w 58"/>
                <a:gd name="T25" fmla="*/ 20 h 39"/>
                <a:gd name="T26" fmla="*/ 37 w 58"/>
                <a:gd name="T27" fmla="*/ 23 h 39"/>
                <a:gd name="T28" fmla="*/ 34 w 58"/>
                <a:gd name="T29" fmla="*/ 23 h 39"/>
                <a:gd name="T30" fmla="*/ 31 w 58"/>
                <a:gd name="T31" fmla="*/ 26 h 39"/>
                <a:gd name="T32" fmla="*/ 31 w 58"/>
                <a:gd name="T33" fmla="*/ 32 h 39"/>
                <a:gd name="T34" fmla="*/ 13 w 58"/>
                <a:gd name="T35" fmla="*/ 37 h 39"/>
                <a:gd name="T36" fmla="*/ 0 w 58"/>
                <a:gd name="T37" fmla="*/ 28 h 39"/>
                <a:gd name="T38" fmla="*/ 5 w 58"/>
                <a:gd name="T39" fmla="*/ 25 h 39"/>
                <a:gd name="T40" fmla="*/ 6 w 58"/>
                <a:gd name="T41" fmla="*/ 22 h 39"/>
                <a:gd name="T42" fmla="*/ 5 w 58"/>
                <a:gd name="T43" fmla="*/ 16 h 39"/>
                <a:gd name="T44" fmla="*/ 8 w 58"/>
                <a:gd name="T45" fmla="*/ 14 h 39"/>
                <a:gd name="T46" fmla="*/ 11 w 58"/>
                <a:gd name="T47" fmla="*/ 8 h 39"/>
                <a:gd name="T48" fmla="*/ 8 w 58"/>
                <a:gd name="T49" fmla="*/ 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8" h="39">
                  <a:moveTo>
                    <a:pt x="8" y="1"/>
                  </a:moveTo>
                  <a:cubicBezTo>
                    <a:pt x="17" y="1"/>
                    <a:pt x="26" y="0"/>
                    <a:pt x="33" y="2"/>
                  </a:cubicBezTo>
                  <a:cubicBezTo>
                    <a:pt x="33" y="3"/>
                    <a:pt x="35" y="2"/>
                    <a:pt x="36" y="2"/>
                  </a:cubicBezTo>
                  <a:cubicBezTo>
                    <a:pt x="37" y="4"/>
                    <a:pt x="40" y="2"/>
                    <a:pt x="42" y="4"/>
                  </a:cubicBezTo>
                  <a:cubicBezTo>
                    <a:pt x="44" y="7"/>
                    <a:pt x="42" y="2"/>
                    <a:pt x="48" y="4"/>
                  </a:cubicBezTo>
                  <a:cubicBezTo>
                    <a:pt x="48" y="4"/>
                    <a:pt x="48" y="5"/>
                    <a:pt x="49" y="5"/>
                  </a:cubicBezTo>
                  <a:cubicBezTo>
                    <a:pt x="50" y="6"/>
                    <a:pt x="58" y="8"/>
                    <a:pt x="58" y="11"/>
                  </a:cubicBezTo>
                  <a:cubicBezTo>
                    <a:pt x="53" y="12"/>
                    <a:pt x="48" y="13"/>
                    <a:pt x="45" y="14"/>
                  </a:cubicBezTo>
                  <a:cubicBezTo>
                    <a:pt x="43" y="15"/>
                    <a:pt x="44" y="17"/>
                    <a:pt x="43" y="17"/>
                  </a:cubicBezTo>
                  <a:cubicBezTo>
                    <a:pt x="42" y="18"/>
                    <a:pt x="41" y="15"/>
                    <a:pt x="40" y="16"/>
                  </a:cubicBezTo>
                  <a:cubicBezTo>
                    <a:pt x="41" y="15"/>
                    <a:pt x="38" y="18"/>
                    <a:pt x="39" y="17"/>
                  </a:cubicBezTo>
                  <a:cubicBezTo>
                    <a:pt x="38" y="18"/>
                    <a:pt x="40" y="19"/>
                    <a:pt x="40" y="19"/>
                  </a:cubicBezTo>
                  <a:cubicBezTo>
                    <a:pt x="39" y="20"/>
                    <a:pt x="38" y="19"/>
                    <a:pt x="37" y="20"/>
                  </a:cubicBezTo>
                  <a:cubicBezTo>
                    <a:pt x="37" y="21"/>
                    <a:pt x="38" y="23"/>
                    <a:pt x="37" y="23"/>
                  </a:cubicBezTo>
                  <a:cubicBezTo>
                    <a:pt x="37" y="24"/>
                    <a:pt x="35" y="23"/>
                    <a:pt x="34" y="23"/>
                  </a:cubicBezTo>
                  <a:cubicBezTo>
                    <a:pt x="33" y="24"/>
                    <a:pt x="33" y="26"/>
                    <a:pt x="31" y="26"/>
                  </a:cubicBezTo>
                  <a:cubicBezTo>
                    <a:pt x="31" y="28"/>
                    <a:pt x="31" y="30"/>
                    <a:pt x="31" y="32"/>
                  </a:cubicBezTo>
                  <a:cubicBezTo>
                    <a:pt x="24" y="32"/>
                    <a:pt x="25" y="39"/>
                    <a:pt x="13" y="37"/>
                  </a:cubicBezTo>
                  <a:cubicBezTo>
                    <a:pt x="15" y="28"/>
                    <a:pt x="5" y="30"/>
                    <a:pt x="0" y="28"/>
                  </a:cubicBezTo>
                  <a:cubicBezTo>
                    <a:pt x="1" y="26"/>
                    <a:pt x="4" y="26"/>
                    <a:pt x="5" y="25"/>
                  </a:cubicBezTo>
                  <a:cubicBezTo>
                    <a:pt x="5" y="24"/>
                    <a:pt x="2" y="21"/>
                    <a:pt x="6" y="22"/>
                  </a:cubicBezTo>
                  <a:cubicBezTo>
                    <a:pt x="6" y="19"/>
                    <a:pt x="4" y="19"/>
                    <a:pt x="5" y="16"/>
                  </a:cubicBezTo>
                  <a:cubicBezTo>
                    <a:pt x="7" y="18"/>
                    <a:pt x="7" y="17"/>
                    <a:pt x="8" y="14"/>
                  </a:cubicBezTo>
                  <a:cubicBezTo>
                    <a:pt x="8" y="12"/>
                    <a:pt x="11" y="13"/>
                    <a:pt x="11" y="8"/>
                  </a:cubicBezTo>
                  <a:cubicBezTo>
                    <a:pt x="12" y="4"/>
                    <a:pt x="5" y="7"/>
                    <a:pt x="8" y="1"/>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121" name="Freeform 106">
              <a:extLst>
                <a:ext uri="{FF2B5EF4-FFF2-40B4-BE49-F238E27FC236}">
                  <a16:creationId xmlns:a16="http://schemas.microsoft.com/office/drawing/2014/main" id="{41BA4AC9-083E-4513-A590-2153F3616E98}"/>
                </a:ext>
              </a:extLst>
            </p:cNvPr>
            <p:cNvSpPr>
              <a:spLocks/>
            </p:cNvSpPr>
            <p:nvPr/>
          </p:nvSpPr>
          <p:spPr bwMode="auto">
            <a:xfrm>
              <a:off x="6219735" y="1484115"/>
              <a:ext cx="32322" cy="24242"/>
            </a:xfrm>
            <a:custGeom>
              <a:avLst/>
              <a:gdLst>
                <a:gd name="T0" fmla="*/ 2 w 12"/>
                <a:gd name="T1" fmla="*/ 0 h 9"/>
                <a:gd name="T2" fmla="*/ 11 w 12"/>
                <a:gd name="T3" fmla="*/ 0 h 9"/>
                <a:gd name="T4" fmla="*/ 12 w 12"/>
                <a:gd name="T5" fmla="*/ 6 h 9"/>
                <a:gd name="T6" fmla="*/ 9 w 12"/>
                <a:gd name="T7" fmla="*/ 9 h 9"/>
                <a:gd name="T8" fmla="*/ 0 w 12"/>
                <a:gd name="T9" fmla="*/ 5 h 9"/>
                <a:gd name="T10" fmla="*/ 2 w 12"/>
                <a:gd name="T11" fmla="*/ 0 h 9"/>
              </a:gdLst>
              <a:ahLst/>
              <a:cxnLst>
                <a:cxn ang="0">
                  <a:pos x="T0" y="T1"/>
                </a:cxn>
                <a:cxn ang="0">
                  <a:pos x="T2" y="T3"/>
                </a:cxn>
                <a:cxn ang="0">
                  <a:pos x="T4" y="T5"/>
                </a:cxn>
                <a:cxn ang="0">
                  <a:pos x="T6" y="T7"/>
                </a:cxn>
                <a:cxn ang="0">
                  <a:pos x="T8" y="T9"/>
                </a:cxn>
                <a:cxn ang="0">
                  <a:pos x="T10" y="T11"/>
                </a:cxn>
              </a:cxnLst>
              <a:rect l="0" t="0" r="r" b="b"/>
              <a:pathLst>
                <a:path w="12" h="9">
                  <a:moveTo>
                    <a:pt x="2" y="0"/>
                  </a:moveTo>
                  <a:cubicBezTo>
                    <a:pt x="5" y="0"/>
                    <a:pt x="8" y="0"/>
                    <a:pt x="11" y="0"/>
                  </a:cubicBezTo>
                  <a:cubicBezTo>
                    <a:pt x="10" y="3"/>
                    <a:pt x="12" y="4"/>
                    <a:pt x="12" y="6"/>
                  </a:cubicBezTo>
                  <a:cubicBezTo>
                    <a:pt x="10" y="6"/>
                    <a:pt x="9" y="8"/>
                    <a:pt x="9" y="9"/>
                  </a:cubicBezTo>
                  <a:cubicBezTo>
                    <a:pt x="7" y="7"/>
                    <a:pt x="5" y="4"/>
                    <a:pt x="0" y="5"/>
                  </a:cubicBezTo>
                  <a:cubicBezTo>
                    <a:pt x="1" y="4"/>
                    <a:pt x="2" y="2"/>
                    <a:pt x="2" y="0"/>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122" name="Freeform 107">
              <a:extLst>
                <a:ext uri="{FF2B5EF4-FFF2-40B4-BE49-F238E27FC236}">
                  <a16:creationId xmlns:a16="http://schemas.microsoft.com/office/drawing/2014/main" id="{C8EC41A7-57BC-4DCE-828D-94050718A8FF}"/>
                </a:ext>
              </a:extLst>
            </p:cNvPr>
            <p:cNvSpPr>
              <a:spLocks/>
            </p:cNvSpPr>
            <p:nvPr/>
          </p:nvSpPr>
          <p:spPr bwMode="auto">
            <a:xfrm>
              <a:off x="6397509" y="1473726"/>
              <a:ext cx="78497" cy="56565"/>
            </a:xfrm>
            <a:custGeom>
              <a:avLst/>
              <a:gdLst>
                <a:gd name="T0" fmla="*/ 26 w 29"/>
                <a:gd name="T1" fmla="*/ 1 h 21"/>
                <a:gd name="T2" fmla="*/ 27 w 29"/>
                <a:gd name="T3" fmla="*/ 9 h 21"/>
                <a:gd name="T4" fmla="*/ 24 w 29"/>
                <a:gd name="T5" fmla="*/ 12 h 21"/>
                <a:gd name="T6" fmla="*/ 17 w 29"/>
                <a:gd name="T7" fmla="*/ 13 h 21"/>
                <a:gd name="T8" fmla="*/ 5 w 29"/>
                <a:gd name="T9" fmla="*/ 21 h 21"/>
                <a:gd name="T10" fmla="*/ 3 w 29"/>
                <a:gd name="T11" fmla="*/ 15 h 21"/>
                <a:gd name="T12" fmla="*/ 0 w 29"/>
                <a:gd name="T13" fmla="*/ 12 h 21"/>
                <a:gd name="T14" fmla="*/ 0 w 29"/>
                <a:gd name="T15" fmla="*/ 4 h 21"/>
                <a:gd name="T16" fmla="*/ 3 w 29"/>
                <a:gd name="T17" fmla="*/ 1 h 21"/>
                <a:gd name="T18" fmla="*/ 8 w 29"/>
                <a:gd name="T19" fmla="*/ 0 h 21"/>
                <a:gd name="T20" fmla="*/ 20 w 29"/>
                <a:gd name="T21" fmla="*/ 3 h 21"/>
                <a:gd name="T22" fmla="*/ 26 w 29"/>
                <a:gd name="T23" fmla="*/ 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21">
                  <a:moveTo>
                    <a:pt x="26" y="1"/>
                  </a:moveTo>
                  <a:cubicBezTo>
                    <a:pt x="29" y="1"/>
                    <a:pt x="26" y="7"/>
                    <a:pt x="27" y="9"/>
                  </a:cubicBezTo>
                  <a:cubicBezTo>
                    <a:pt x="25" y="8"/>
                    <a:pt x="24" y="10"/>
                    <a:pt x="24" y="12"/>
                  </a:cubicBezTo>
                  <a:cubicBezTo>
                    <a:pt x="19" y="9"/>
                    <a:pt x="18" y="17"/>
                    <a:pt x="17" y="13"/>
                  </a:cubicBezTo>
                  <a:cubicBezTo>
                    <a:pt x="13" y="16"/>
                    <a:pt x="11" y="20"/>
                    <a:pt x="5" y="21"/>
                  </a:cubicBezTo>
                  <a:cubicBezTo>
                    <a:pt x="4" y="19"/>
                    <a:pt x="3" y="17"/>
                    <a:pt x="3" y="15"/>
                  </a:cubicBezTo>
                  <a:cubicBezTo>
                    <a:pt x="3" y="13"/>
                    <a:pt x="1" y="14"/>
                    <a:pt x="0" y="12"/>
                  </a:cubicBezTo>
                  <a:cubicBezTo>
                    <a:pt x="0" y="10"/>
                    <a:pt x="1" y="7"/>
                    <a:pt x="0" y="4"/>
                  </a:cubicBezTo>
                  <a:cubicBezTo>
                    <a:pt x="3" y="5"/>
                    <a:pt x="3" y="3"/>
                    <a:pt x="3" y="1"/>
                  </a:cubicBezTo>
                  <a:cubicBezTo>
                    <a:pt x="5" y="2"/>
                    <a:pt x="8" y="2"/>
                    <a:pt x="8" y="0"/>
                  </a:cubicBezTo>
                  <a:cubicBezTo>
                    <a:pt x="10" y="3"/>
                    <a:pt x="18" y="0"/>
                    <a:pt x="20" y="3"/>
                  </a:cubicBezTo>
                  <a:cubicBezTo>
                    <a:pt x="22" y="3"/>
                    <a:pt x="25" y="4"/>
                    <a:pt x="26" y="1"/>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123" name="Freeform 108">
              <a:extLst>
                <a:ext uri="{FF2B5EF4-FFF2-40B4-BE49-F238E27FC236}">
                  <a16:creationId xmlns:a16="http://schemas.microsoft.com/office/drawing/2014/main" id="{D363D51D-C451-4760-BCCE-31A2C58EA565}"/>
                </a:ext>
              </a:extLst>
            </p:cNvPr>
            <p:cNvSpPr>
              <a:spLocks/>
            </p:cNvSpPr>
            <p:nvPr/>
          </p:nvSpPr>
          <p:spPr bwMode="auto">
            <a:xfrm>
              <a:off x="7572660" y="1694211"/>
              <a:ext cx="174311" cy="84270"/>
            </a:xfrm>
            <a:custGeom>
              <a:avLst/>
              <a:gdLst>
                <a:gd name="T0" fmla="*/ 47 w 64"/>
                <a:gd name="T1" fmla="*/ 0 h 31"/>
                <a:gd name="T2" fmla="*/ 53 w 64"/>
                <a:gd name="T3" fmla="*/ 3 h 31"/>
                <a:gd name="T4" fmla="*/ 57 w 64"/>
                <a:gd name="T5" fmla="*/ 5 h 31"/>
                <a:gd name="T6" fmla="*/ 56 w 64"/>
                <a:gd name="T7" fmla="*/ 8 h 31"/>
                <a:gd name="T8" fmla="*/ 63 w 64"/>
                <a:gd name="T9" fmla="*/ 12 h 31"/>
                <a:gd name="T10" fmla="*/ 59 w 64"/>
                <a:gd name="T11" fmla="*/ 21 h 31"/>
                <a:gd name="T12" fmla="*/ 54 w 64"/>
                <a:gd name="T13" fmla="*/ 23 h 31"/>
                <a:gd name="T14" fmla="*/ 48 w 64"/>
                <a:gd name="T15" fmla="*/ 26 h 31"/>
                <a:gd name="T16" fmla="*/ 44 w 64"/>
                <a:gd name="T17" fmla="*/ 27 h 31"/>
                <a:gd name="T18" fmla="*/ 41 w 64"/>
                <a:gd name="T19" fmla="*/ 29 h 31"/>
                <a:gd name="T20" fmla="*/ 23 w 64"/>
                <a:gd name="T21" fmla="*/ 30 h 31"/>
                <a:gd name="T22" fmla="*/ 21 w 64"/>
                <a:gd name="T23" fmla="*/ 29 h 31"/>
                <a:gd name="T24" fmla="*/ 16 w 64"/>
                <a:gd name="T25" fmla="*/ 26 h 31"/>
                <a:gd name="T26" fmla="*/ 13 w 64"/>
                <a:gd name="T27" fmla="*/ 24 h 31"/>
                <a:gd name="T28" fmla="*/ 16 w 64"/>
                <a:gd name="T29" fmla="*/ 23 h 31"/>
                <a:gd name="T30" fmla="*/ 11 w 64"/>
                <a:gd name="T31" fmla="*/ 20 h 31"/>
                <a:gd name="T32" fmla="*/ 11 w 64"/>
                <a:gd name="T33" fmla="*/ 11 h 31"/>
                <a:gd name="T34" fmla="*/ 2 w 64"/>
                <a:gd name="T35" fmla="*/ 12 h 31"/>
                <a:gd name="T36" fmla="*/ 5 w 64"/>
                <a:gd name="T37" fmla="*/ 6 h 31"/>
                <a:gd name="T38" fmla="*/ 17 w 64"/>
                <a:gd name="T39" fmla="*/ 6 h 31"/>
                <a:gd name="T40" fmla="*/ 18 w 64"/>
                <a:gd name="T41" fmla="*/ 12 h 31"/>
                <a:gd name="T42" fmla="*/ 23 w 64"/>
                <a:gd name="T43" fmla="*/ 6 h 31"/>
                <a:gd name="T44" fmla="*/ 32 w 64"/>
                <a:gd name="T45" fmla="*/ 9 h 31"/>
                <a:gd name="T46" fmla="*/ 35 w 64"/>
                <a:gd name="T47" fmla="*/ 6 h 31"/>
                <a:gd name="T48" fmla="*/ 44 w 64"/>
                <a:gd name="T49" fmla="*/ 5 h 31"/>
                <a:gd name="T50" fmla="*/ 47 w 64"/>
                <a:gd name="T5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4" h="31">
                  <a:moveTo>
                    <a:pt x="47" y="0"/>
                  </a:moveTo>
                  <a:cubicBezTo>
                    <a:pt x="48" y="1"/>
                    <a:pt x="50" y="2"/>
                    <a:pt x="53" y="3"/>
                  </a:cubicBezTo>
                  <a:cubicBezTo>
                    <a:pt x="53" y="4"/>
                    <a:pt x="56" y="4"/>
                    <a:pt x="57" y="5"/>
                  </a:cubicBezTo>
                  <a:cubicBezTo>
                    <a:pt x="57" y="5"/>
                    <a:pt x="56" y="7"/>
                    <a:pt x="56" y="8"/>
                  </a:cubicBezTo>
                  <a:cubicBezTo>
                    <a:pt x="56" y="10"/>
                    <a:pt x="59" y="13"/>
                    <a:pt x="63" y="12"/>
                  </a:cubicBezTo>
                  <a:cubicBezTo>
                    <a:pt x="64" y="16"/>
                    <a:pt x="62" y="18"/>
                    <a:pt x="59" y="21"/>
                  </a:cubicBezTo>
                  <a:cubicBezTo>
                    <a:pt x="57" y="22"/>
                    <a:pt x="55" y="22"/>
                    <a:pt x="54" y="23"/>
                  </a:cubicBezTo>
                  <a:cubicBezTo>
                    <a:pt x="52" y="24"/>
                    <a:pt x="52" y="25"/>
                    <a:pt x="48" y="26"/>
                  </a:cubicBezTo>
                  <a:cubicBezTo>
                    <a:pt x="48" y="26"/>
                    <a:pt x="44" y="27"/>
                    <a:pt x="44" y="27"/>
                  </a:cubicBezTo>
                  <a:cubicBezTo>
                    <a:pt x="43" y="28"/>
                    <a:pt x="43" y="28"/>
                    <a:pt x="41" y="29"/>
                  </a:cubicBezTo>
                  <a:cubicBezTo>
                    <a:pt x="39" y="29"/>
                    <a:pt x="28" y="31"/>
                    <a:pt x="23" y="30"/>
                  </a:cubicBezTo>
                  <a:cubicBezTo>
                    <a:pt x="23" y="30"/>
                    <a:pt x="23" y="29"/>
                    <a:pt x="21" y="29"/>
                  </a:cubicBezTo>
                  <a:cubicBezTo>
                    <a:pt x="19" y="29"/>
                    <a:pt x="18" y="26"/>
                    <a:pt x="16" y="26"/>
                  </a:cubicBezTo>
                  <a:cubicBezTo>
                    <a:pt x="14" y="26"/>
                    <a:pt x="14" y="24"/>
                    <a:pt x="13" y="24"/>
                  </a:cubicBezTo>
                  <a:cubicBezTo>
                    <a:pt x="13" y="23"/>
                    <a:pt x="14" y="23"/>
                    <a:pt x="16" y="23"/>
                  </a:cubicBezTo>
                  <a:cubicBezTo>
                    <a:pt x="15" y="21"/>
                    <a:pt x="12" y="21"/>
                    <a:pt x="11" y="20"/>
                  </a:cubicBezTo>
                  <a:cubicBezTo>
                    <a:pt x="10" y="17"/>
                    <a:pt x="12" y="15"/>
                    <a:pt x="11" y="11"/>
                  </a:cubicBezTo>
                  <a:cubicBezTo>
                    <a:pt x="5" y="9"/>
                    <a:pt x="6" y="16"/>
                    <a:pt x="2" y="12"/>
                  </a:cubicBezTo>
                  <a:cubicBezTo>
                    <a:pt x="0" y="8"/>
                    <a:pt x="7" y="11"/>
                    <a:pt x="5" y="6"/>
                  </a:cubicBezTo>
                  <a:cubicBezTo>
                    <a:pt x="11" y="8"/>
                    <a:pt x="10" y="7"/>
                    <a:pt x="17" y="6"/>
                  </a:cubicBezTo>
                  <a:cubicBezTo>
                    <a:pt x="18" y="9"/>
                    <a:pt x="21" y="9"/>
                    <a:pt x="18" y="12"/>
                  </a:cubicBezTo>
                  <a:cubicBezTo>
                    <a:pt x="22" y="13"/>
                    <a:pt x="23" y="10"/>
                    <a:pt x="23" y="6"/>
                  </a:cubicBezTo>
                  <a:cubicBezTo>
                    <a:pt x="24" y="9"/>
                    <a:pt x="36" y="3"/>
                    <a:pt x="32" y="9"/>
                  </a:cubicBezTo>
                  <a:cubicBezTo>
                    <a:pt x="35" y="11"/>
                    <a:pt x="34" y="7"/>
                    <a:pt x="35" y="6"/>
                  </a:cubicBezTo>
                  <a:cubicBezTo>
                    <a:pt x="37" y="5"/>
                    <a:pt x="41" y="6"/>
                    <a:pt x="44" y="5"/>
                  </a:cubicBezTo>
                  <a:cubicBezTo>
                    <a:pt x="46" y="4"/>
                    <a:pt x="47" y="3"/>
                    <a:pt x="47" y="0"/>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124" name="Freeform 109">
              <a:extLst>
                <a:ext uri="{FF2B5EF4-FFF2-40B4-BE49-F238E27FC236}">
                  <a16:creationId xmlns:a16="http://schemas.microsoft.com/office/drawing/2014/main" id="{B5B85EF1-EEF6-4533-ADF6-1B564DCE0306}"/>
                </a:ext>
              </a:extLst>
            </p:cNvPr>
            <p:cNvSpPr>
              <a:spLocks/>
            </p:cNvSpPr>
            <p:nvPr/>
          </p:nvSpPr>
          <p:spPr bwMode="auto">
            <a:xfrm>
              <a:off x="6536034" y="1716144"/>
              <a:ext cx="103894" cy="73880"/>
            </a:xfrm>
            <a:custGeom>
              <a:avLst/>
              <a:gdLst>
                <a:gd name="T0" fmla="*/ 10 w 38"/>
                <a:gd name="T1" fmla="*/ 0 h 27"/>
                <a:gd name="T2" fmla="*/ 19 w 38"/>
                <a:gd name="T3" fmla="*/ 9 h 27"/>
                <a:gd name="T4" fmla="*/ 22 w 38"/>
                <a:gd name="T5" fmla="*/ 7 h 27"/>
                <a:gd name="T6" fmla="*/ 26 w 38"/>
                <a:gd name="T7" fmla="*/ 12 h 27"/>
                <a:gd name="T8" fmla="*/ 32 w 38"/>
                <a:gd name="T9" fmla="*/ 19 h 27"/>
                <a:gd name="T10" fmla="*/ 38 w 38"/>
                <a:gd name="T11" fmla="*/ 21 h 27"/>
                <a:gd name="T12" fmla="*/ 19 w 38"/>
                <a:gd name="T13" fmla="*/ 22 h 27"/>
                <a:gd name="T14" fmla="*/ 12 w 38"/>
                <a:gd name="T15" fmla="*/ 27 h 27"/>
                <a:gd name="T16" fmla="*/ 0 w 38"/>
                <a:gd name="T17" fmla="*/ 22 h 27"/>
                <a:gd name="T18" fmla="*/ 3 w 38"/>
                <a:gd name="T19" fmla="*/ 21 h 27"/>
                <a:gd name="T20" fmla="*/ 4 w 38"/>
                <a:gd name="T21" fmla="*/ 18 h 27"/>
                <a:gd name="T22" fmla="*/ 4 w 38"/>
                <a:gd name="T23" fmla="*/ 4 h 27"/>
                <a:gd name="T24" fmla="*/ 10 w 38"/>
                <a:gd name="T25"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27">
                  <a:moveTo>
                    <a:pt x="10" y="0"/>
                  </a:moveTo>
                  <a:cubicBezTo>
                    <a:pt x="13" y="4"/>
                    <a:pt x="20" y="2"/>
                    <a:pt x="19" y="9"/>
                  </a:cubicBezTo>
                  <a:cubicBezTo>
                    <a:pt x="20" y="10"/>
                    <a:pt x="22" y="7"/>
                    <a:pt x="22" y="7"/>
                  </a:cubicBezTo>
                  <a:cubicBezTo>
                    <a:pt x="24" y="8"/>
                    <a:pt x="23" y="12"/>
                    <a:pt x="26" y="12"/>
                  </a:cubicBezTo>
                  <a:cubicBezTo>
                    <a:pt x="29" y="12"/>
                    <a:pt x="31" y="17"/>
                    <a:pt x="32" y="19"/>
                  </a:cubicBezTo>
                  <a:cubicBezTo>
                    <a:pt x="37" y="18"/>
                    <a:pt x="36" y="18"/>
                    <a:pt x="38" y="21"/>
                  </a:cubicBezTo>
                  <a:cubicBezTo>
                    <a:pt x="35" y="24"/>
                    <a:pt x="25" y="21"/>
                    <a:pt x="19" y="22"/>
                  </a:cubicBezTo>
                  <a:cubicBezTo>
                    <a:pt x="17" y="24"/>
                    <a:pt x="13" y="24"/>
                    <a:pt x="12" y="27"/>
                  </a:cubicBezTo>
                  <a:cubicBezTo>
                    <a:pt x="8" y="25"/>
                    <a:pt x="7" y="21"/>
                    <a:pt x="0" y="22"/>
                  </a:cubicBezTo>
                  <a:cubicBezTo>
                    <a:pt x="0" y="21"/>
                    <a:pt x="2" y="21"/>
                    <a:pt x="3" y="21"/>
                  </a:cubicBezTo>
                  <a:cubicBezTo>
                    <a:pt x="1" y="19"/>
                    <a:pt x="2" y="18"/>
                    <a:pt x="4" y="18"/>
                  </a:cubicBezTo>
                  <a:cubicBezTo>
                    <a:pt x="2" y="13"/>
                    <a:pt x="4" y="11"/>
                    <a:pt x="4" y="4"/>
                  </a:cubicBezTo>
                  <a:cubicBezTo>
                    <a:pt x="7" y="4"/>
                    <a:pt x="11" y="4"/>
                    <a:pt x="10" y="0"/>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125" name="Freeform 110">
              <a:extLst>
                <a:ext uri="{FF2B5EF4-FFF2-40B4-BE49-F238E27FC236}">
                  <a16:creationId xmlns:a16="http://schemas.microsoft.com/office/drawing/2014/main" id="{46327019-5768-4A9C-BC4D-0428E1BF2415}"/>
                </a:ext>
              </a:extLst>
            </p:cNvPr>
            <p:cNvSpPr>
              <a:spLocks/>
            </p:cNvSpPr>
            <p:nvPr/>
          </p:nvSpPr>
          <p:spPr bwMode="auto">
            <a:xfrm>
              <a:off x="3510189" y="2907457"/>
              <a:ext cx="174311" cy="183546"/>
            </a:xfrm>
            <a:custGeom>
              <a:avLst/>
              <a:gdLst>
                <a:gd name="T0" fmla="*/ 6 w 64"/>
                <a:gd name="T1" fmla="*/ 9 h 67"/>
                <a:gd name="T2" fmla="*/ 3 w 64"/>
                <a:gd name="T3" fmla="*/ 7 h 67"/>
                <a:gd name="T4" fmla="*/ 0 w 64"/>
                <a:gd name="T5" fmla="*/ 3 h 67"/>
                <a:gd name="T6" fmla="*/ 12 w 64"/>
                <a:gd name="T7" fmla="*/ 2 h 67"/>
                <a:gd name="T8" fmla="*/ 18 w 64"/>
                <a:gd name="T9" fmla="*/ 5 h 67"/>
                <a:gd name="T10" fmla="*/ 18 w 64"/>
                <a:gd name="T11" fmla="*/ 7 h 67"/>
                <a:gd name="T12" fmla="*/ 21 w 64"/>
                <a:gd name="T13" fmla="*/ 10 h 67"/>
                <a:gd name="T14" fmla="*/ 27 w 64"/>
                <a:gd name="T15" fmla="*/ 13 h 67"/>
                <a:gd name="T16" fmla="*/ 38 w 64"/>
                <a:gd name="T17" fmla="*/ 22 h 67"/>
                <a:gd name="T18" fmla="*/ 40 w 64"/>
                <a:gd name="T19" fmla="*/ 27 h 67"/>
                <a:gd name="T20" fmla="*/ 45 w 64"/>
                <a:gd name="T21" fmla="*/ 28 h 67"/>
                <a:gd name="T22" fmla="*/ 48 w 64"/>
                <a:gd name="T23" fmla="*/ 31 h 67"/>
                <a:gd name="T24" fmla="*/ 48 w 64"/>
                <a:gd name="T25" fmla="*/ 34 h 67"/>
                <a:gd name="T26" fmla="*/ 51 w 64"/>
                <a:gd name="T27" fmla="*/ 37 h 67"/>
                <a:gd name="T28" fmla="*/ 55 w 64"/>
                <a:gd name="T29" fmla="*/ 42 h 67"/>
                <a:gd name="T30" fmla="*/ 58 w 64"/>
                <a:gd name="T31" fmla="*/ 45 h 67"/>
                <a:gd name="T32" fmla="*/ 61 w 64"/>
                <a:gd name="T33" fmla="*/ 52 h 67"/>
                <a:gd name="T34" fmla="*/ 63 w 64"/>
                <a:gd name="T35" fmla="*/ 58 h 67"/>
                <a:gd name="T36" fmla="*/ 64 w 64"/>
                <a:gd name="T37" fmla="*/ 62 h 67"/>
                <a:gd name="T38" fmla="*/ 57 w 64"/>
                <a:gd name="T39" fmla="*/ 64 h 67"/>
                <a:gd name="T40" fmla="*/ 51 w 64"/>
                <a:gd name="T41" fmla="*/ 64 h 67"/>
                <a:gd name="T42" fmla="*/ 51 w 64"/>
                <a:gd name="T43" fmla="*/ 61 h 67"/>
                <a:gd name="T44" fmla="*/ 48 w 64"/>
                <a:gd name="T45" fmla="*/ 61 h 67"/>
                <a:gd name="T46" fmla="*/ 40 w 64"/>
                <a:gd name="T47" fmla="*/ 55 h 67"/>
                <a:gd name="T48" fmla="*/ 42 w 64"/>
                <a:gd name="T49" fmla="*/ 52 h 67"/>
                <a:gd name="T50" fmla="*/ 40 w 64"/>
                <a:gd name="T51" fmla="*/ 52 h 67"/>
                <a:gd name="T52" fmla="*/ 39 w 64"/>
                <a:gd name="T53" fmla="*/ 49 h 67"/>
                <a:gd name="T54" fmla="*/ 36 w 64"/>
                <a:gd name="T55" fmla="*/ 49 h 67"/>
                <a:gd name="T56" fmla="*/ 30 w 64"/>
                <a:gd name="T57" fmla="*/ 43 h 67"/>
                <a:gd name="T58" fmla="*/ 27 w 64"/>
                <a:gd name="T59" fmla="*/ 33 h 67"/>
                <a:gd name="T60" fmla="*/ 26 w 64"/>
                <a:gd name="T61" fmla="*/ 36 h 67"/>
                <a:gd name="T62" fmla="*/ 23 w 64"/>
                <a:gd name="T63" fmla="*/ 28 h 67"/>
                <a:gd name="T64" fmla="*/ 20 w 64"/>
                <a:gd name="T65" fmla="*/ 25 h 67"/>
                <a:gd name="T66" fmla="*/ 17 w 64"/>
                <a:gd name="T67" fmla="*/ 24 h 67"/>
                <a:gd name="T68" fmla="*/ 15 w 64"/>
                <a:gd name="T69" fmla="*/ 18 h 67"/>
                <a:gd name="T70" fmla="*/ 11 w 64"/>
                <a:gd name="T71" fmla="*/ 15 h 67"/>
                <a:gd name="T72" fmla="*/ 8 w 64"/>
                <a:gd name="T73" fmla="*/ 12 h 67"/>
                <a:gd name="T74" fmla="*/ 6 w 64"/>
                <a:gd name="T75" fmla="*/ 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4" h="67">
                  <a:moveTo>
                    <a:pt x="6" y="9"/>
                  </a:moveTo>
                  <a:cubicBezTo>
                    <a:pt x="7" y="7"/>
                    <a:pt x="4" y="8"/>
                    <a:pt x="3" y="7"/>
                  </a:cubicBezTo>
                  <a:cubicBezTo>
                    <a:pt x="2" y="6"/>
                    <a:pt x="3" y="3"/>
                    <a:pt x="0" y="3"/>
                  </a:cubicBezTo>
                  <a:cubicBezTo>
                    <a:pt x="4" y="0"/>
                    <a:pt x="7" y="4"/>
                    <a:pt x="12" y="2"/>
                  </a:cubicBezTo>
                  <a:cubicBezTo>
                    <a:pt x="12" y="6"/>
                    <a:pt x="16" y="3"/>
                    <a:pt x="18" y="5"/>
                  </a:cubicBezTo>
                  <a:cubicBezTo>
                    <a:pt x="19" y="5"/>
                    <a:pt x="18" y="7"/>
                    <a:pt x="18" y="7"/>
                  </a:cubicBezTo>
                  <a:cubicBezTo>
                    <a:pt x="19" y="9"/>
                    <a:pt x="22" y="7"/>
                    <a:pt x="21" y="10"/>
                  </a:cubicBezTo>
                  <a:cubicBezTo>
                    <a:pt x="25" y="9"/>
                    <a:pt x="24" y="13"/>
                    <a:pt x="27" y="13"/>
                  </a:cubicBezTo>
                  <a:cubicBezTo>
                    <a:pt x="30" y="14"/>
                    <a:pt x="33" y="22"/>
                    <a:pt x="38" y="22"/>
                  </a:cubicBezTo>
                  <a:cubicBezTo>
                    <a:pt x="41" y="22"/>
                    <a:pt x="39" y="25"/>
                    <a:pt x="40" y="27"/>
                  </a:cubicBezTo>
                  <a:cubicBezTo>
                    <a:pt x="42" y="28"/>
                    <a:pt x="44" y="27"/>
                    <a:pt x="45" y="28"/>
                  </a:cubicBezTo>
                  <a:cubicBezTo>
                    <a:pt x="46" y="29"/>
                    <a:pt x="47" y="31"/>
                    <a:pt x="48" y="31"/>
                  </a:cubicBezTo>
                  <a:cubicBezTo>
                    <a:pt x="48" y="32"/>
                    <a:pt x="47" y="34"/>
                    <a:pt x="48" y="34"/>
                  </a:cubicBezTo>
                  <a:cubicBezTo>
                    <a:pt x="49" y="35"/>
                    <a:pt x="50" y="36"/>
                    <a:pt x="51" y="37"/>
                  </a:cubicBezTo>
                  <a:cubicBezTo>
                    <a:pt x="52" y="38"/>
                    <a:pt x="53" y="41"/>
                    <a:pt x="55" y="42"/>
                  </a:cubicBezTo>
                  <a:cubicBezTo>
                    <a:pt x="56" y="42"/>
                    <a:pt x="58" y="44"/>
                    <a:pt x="58" y="45"/>
                  </a:cubicBezTo>
                  <a:cubicBezTo>
                    <a:pt x="60" y="46"/>
                    <a:pt x="59" y="52"/>
                    <a:pt x="61" y="52"/>
                  </a:cubicBezTo>
                  <a:cubicBezTo>
                    <a:pt x="63" y="52"/>
                    <a:pt x="63" y="56"/>
                    <a:pt x="63" y="58"/>
                  </a:cubicBezTo>
                  <a:cubicBezTo>
                    <a:pt x="62" y="60"/>
                    <a:pt x="59" y="63"/>
                    <a:pt x="64" y="62"/>
                  </a:cubicBezTo>
                  <a:cubicBezTo>
                    <a:pt x="64" y="67"/>
                    <a:pt x="59" y="64"/>
                    <a:pt x="57" y="64"/>
                  </a:cubicBezTo>
                  <a:cubicBezTo>
                    <a:pt x="55" y="64"/>
                    <a:pt x="52" y="64"/>
                    <a:pt x="51" y="64"/>
                  </a:cubicBezTo>
                  <a:cubicBezTo>
                    <a:pt x="50" y="64"/>
                    <a:pt x="51" y="61"/>
                    <a:pt x="51" y="61"/>
                  </a:cubicBezTo>
                  <a:cubicBezTo>
                    <a:pt x="50" y="60"/>
                    <a:pt x="48" y="61"/>
                    <a:pt x="48" y="61"/>
                  </a:cubicBezTo>
                  <a:cubicBezTo>
                    <a:pt x="47" y="60"/>
                    <a:pt x="44" y="55"/>
                    <a:pt x="40" y="55"/>
                  </a:cubicBezTo>
                  <a:cubicBezTo>
                    <a:pt x="41" y="54"/>
                    <a:pt x="42" y="53"/>
                    <a:pt x="42" y="52"/>
                  </a:cubicBezTo>
                  <a:cubicBezTo>
                    <a:pt x="42" y="50"/>
                    <a:pt x="40" y="51"/>
                    <a:pt x="40" y="52"/>
                  </a:cubicBezTo>
                  <a:cubicBezTo>
                    <a:pt x="39" y="52"/>
                    <a:pt x="40" y="50"/>
                    <a:pt x="39" y="49"/>
                  </a:cubicBezTo>
                  <a:cubicBezTo>
                    <a:pt x="38" y="49"/>
                    <a:pt x="37" y="50"/>
                    <a:pt x="36" y="49"/>
                  </a:cubicBezTo>
                  <a:cubicBezTo>
                    <a:pt x="34" y="47"/>
                    <a:pt x="34" y="43"/>
                    <a:pt x="30" y="43"/>
                  </a:cubicBezTo>
                  <a:cubicBezTo>
                    <a:pt x="32" y="37"/>
                    <a:pt x="27" y="37"/>
                    <a:pt x="27" y="33"/>
                  </a:cubicBezTo>
                  <a:cubicBezTo>
                    <a:pt x="26" y="33"/>
                    <a:pt x="26" y="34"/>
                    <a:pt x="26" y="36"/>
                  </a:cubicBezTo>
                  <a:cubicBezTo>
                    <a:pt x="23" y="34"/>
                    <a:pt x="24" y="31"/>
                    <a:pt x="23" y="28"/>
                  </a:cubicBezTo>
                  <a:cubicBezTo>
                    <a:pt x="22" y="27"/>
                    <a:pt x="20" y="26"/>
                    <a:pt x="20" y="25"/>
                  </a:cubicBezTo>
                  <a:cubicBezTo>
                    <a:pt x="19" y="25"/>
                    <a:pt x="18" y="23"/>
                    <a:pt x="17" y="24"/>
                  </a:cubicBezTo>
                  <a:cubicBezTo>
                    <a:pt x="17" y="21"/>
                    <a:pt x="16" y="20"/>
                    <a:pt x="15" y="18"/>
                  </a:cubicBezTo>
                  <a:cubicBezTo>
                    <a:pt x="14" y="16"/>
                    <a:pt x="12" y="16"/>
                    <a:pt x="11" y="15"/>
                  </a:cubicBezTo>
                  <a:cubicBezTo>
                    <a:pt x="11" y="15"/>
                    <a:pt x="8" y="12"/>
                    <a:pt x="8" y="12"/>
                  </a:cubicBezTo>
                  <a:cubicBezTo>
                    <a:pt x="7" y="9"/>
                    <a:pt x="12" y="6"/>
                    <a:pt x="6" y="9"/>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126" name="Freeform 111">
              <a:extLst>
                <a:ext uri="{FF2B5EF4-FFF2-40B4-BE49-F238E27FC236}">
                  <a16:creationId xmlns:a16="http://schemas.microsoft.com/office/drawing/2014/main" id="{D6D1CFB1-1235-4D72-B06E-F92449B13043}"/>
                </a:ext>
              </a:extLst>
            </p:cNvPr>
            <p:cNvSpPr>
              <a:spLocks/>
            </p:cNvSpPr>
            <p:nvPr/>
          </p:nvSpPr>
          <p:spPr bwMode="auto">
            <a:xfrm>
              <a:off x="2653644" y="3194895"/>
              <a:ext cx="123518" cy="228566"/>
            </a:xfrm>
            <a:custGeom>
              <a:avLst/>
              <a:gdLst>
                <a:gd name="T0" fmla="*/ 34 w 45"/>
                <a:gd name="T1" fmla="*/ 0 h 84"/>
                <a:gd name="T2" fmla="*/ 40 w 45"/>
                <a:gd name="T3" fmla="*/ 2 h 84"/>
                <a:gd name="T4" fmla="*/ 37 w 45"/>
                <a:gd name="T5" fmla="*/ 28 h 84"/>
                <a:gd name="T6" fmla="*/ 34 w 45"/>
                <a:gd name="T7" fmla="*/ 46 h 84"/>
                <a:gd name="T8" fmla="*/ 30 w 45"/>
                <a:gd name="T9" fmla="*/ 54 h 84"/>
                <a:gd name="T10" fmla="*/ 28 w 45"/>
                <a:gd name="T11" fmla="*/ 63 h 84"/>
                <a:gd name="T12" fmla="*/ 28 w 45"/>
                <a:gd name="T13" fmla="*/ 66 h 84"/>
                <a:gd name="T14" fmla="*/ 25 w 45"/>
                <a:gd name="T15" fmla="*/ 67 h 84"/>
                <a:gd name="T16" fmla="*/ 24 w 45"/>
                <a:gd name="T17" fmla="*/ 76 h 84"/>
                <a:gd name="T18" fmla="*/ 23 w 45"/>
                <a:gd name="T19" fmla="*/ 77 h 84"/>
                <a:gd name="T20" fmla="*/ 21 w 45"/>
                <a:gd name="T21" fmla="*/ 82 h 84"/>
                <a:gd name="T22" fmla="*/ 6 w 45"/>
                <a:gd name="T23" fmla="*/ 83 h 84"/>
                <a:gd name="T24" fmla="*/ 5 w 45"/>
                <a:gd name="T25" fmla="*/ 76 h 84"/>
                <a:gd name="T26" fmla="*/ 3 w 45"/>
                <a:gd name="T27" fmla="*/ 73 h 84"/>
                <a:gd name="T28" fmla="*/ 0 w 45"/>
                <a:gd name="T29" fmla="*/ 71 h 84"/>
                <a:gd name="T30" fmla="*/ 0 w 45"/>
                <a:gd name="T31" fmla="*/ 66 h 84"/>
                <a:gd name="T32" fmla="*/ 2 w 45"/>
                <a:gd name="T33" fmla="*/ 64 h 84"/>
                <a:gd name="T34" fmla="*/ 0 w 45"/>
                <a:gd name="T35" fmla="*/ 63 h 84"/>
                <a:gd name="T36" fmla="*/ 3 w 45"/>
                <a:gd name="T37" fmla="*/ 57 h 84"/>
                <a:gd name="T38" fmla="*/ 3 w 45"/>
                <a:gd name="T39" fmla="*/ 54 h 84"/>
                <a:gd name="T40" fmla="*/ 6 w 45"/>
                <a:gd name="T41" fmla="*/ 52 h 84"/>
                <a:gd name="T42" fmla="*/ 9 w 45"/>
                <a:gd name="T43" fmla="*/ 45 h 84"/>
                <a:gd name="T44" fmla="*/ 6 w 45"/>
                <a:gd name="T45" fmla="*/ 40 h 84"/>
                <a:gd name="T46" fmla="*/ 6 w 45"/>
                <a:gd name="T47" fmla="*/ 31 h 84"/>
                <a:gd name="T48" fmla="*/ 9 w 45"/>
                <a:gd name="T49" fmla="*/ 28 h 84"/>
                <a:gd name="T50" fmla="*/ 14 w 45"/>
                <a:gd name="T51" fmla="*/ 26 h 84"/>
                <a:gd name="T52" fmla="*/ 21 w 45"/>
                <a:gd name="T53" fmla="*/ 20 h 84"/>
                <a:gd name="T54" fmla="*/ 25 w 45"/>
                <a:gd name="T55" fmla="*/ 21 h 84"/>
                <a:gd name="T56" fmla="*/ 27 w 45"/>
                <a:gd name="T57" fmla="*/ 12 h 84"/>
                <a:gd name="T58" fmla="*/ 31 w 45"/>
                <a:gd name="T59" fmla="*/ 11 h 84"/>
                <a:gd name="T60" fmla="*/ 34 w 45"/>
                <a:gd name="T61"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 h="84">
                  <a:moveTo>
                    <a:pt x="34" y="0"/>
                  </a:moveTo>
                  <a:cubicBezTo>
                    <a:pt x="36" y="1"/>
                    <a:pt x="38" y="2"/>
                    <a:pt x="40" y="2"/>
                  </a:cubicBezTo>
                  <a:cubicBezTo>
                    <a:pt x="38" y="9"/>
                    <a:pt x="45" y="23"/>
                    <a:pt x="37" y="28"/>
                  </a:cubicBezTo>
                  <a:cubicBezTo>
                    <a:pt x="37" y="35"/>
                    <a:pt x="36" y="40"/>
                    <a:pt x="34" y="46"/>
                  </a:cubicBezTo>
                  <a:cubicBezTo>
                    <a:pt x="33" y="49"/>
                    <a:pt x="33" y="53"/>
                    <a:pt x="30" y="54"/>
                  </a:cubicBezTo>
                  <a:cubicBezTo>
                    <a:pt x="31" y="57"/>
                    <a:pt x="29" y="60"/>
                    <a:pt x="28" y="63"/>
                  </a:cubicBezTo>
                  <a:cubicBezTo>
                    <a:pt x="28" y="63"/>
                    <a:pt x="29" y="65"/>
                    <a:pt x="28" y="66"/>
                  </a:cubicBezTo>
                  <a:cubicBezTo>
                    <a:pt x="28" y="66"/>
                    <a:pt x="26" y="67"/>
                    <a:pt x="25" y="67"/>
                  </a:cubicBezTo>
                  <a:cubicBezTo>
                    <a:pt x="24" y="70"/>
                    <a:pt x="25" y="73"/>
                    <a:pt x="24" y="76"/>
                  </a:cubicBezTo>
                  <a:cubicBezTo>
                    <a:pt x="24" y="77"/>
                    <a:pt x="23" y="76"/>
                    <a:pt x="23" y="77"/>
                  </a:cubicBezTo>
                  <a:cubicBezTo>
                    <a:pt x="22" y="79"/>
                    <a:pt x="20" y="80"/>
                    <a:pt x="21" y="82"/>
                  </a:cubicBezTo>
                  <a:cubicBezTo>
                    <a:pt x="17" y="83"/>
                    <a:pt x="12" y="84"/>
                    <a:pt x="6" y="83"/>
                  </a:cubicBezTo>
                  <a:cubicBezTo>
                    <a:pt x="7" y="80"/>
                    <a:pt x="4" y="80"/>
                    <a:pt x="5" y="76"/>
                  </a:cubicBezTo>
                  <a:cubicBezTo>
                    <a:pt x="3" y="76"/>
                    <a:pt x="4" y="74"/>
                    <a:pt x="3" y="73"/>
                  </a:cubicBezTo>
                  <a:cubicBezTo>
                    <a:pt x="2" y="73"/>
                    <a:pt x="1" y="73"/>
                    <a:pt x="0" y="71"/>
                  </a:cubicBezTo>
                  <a:cubicBezTo>
                    <a:pt x="0" y="69"/>
                    <a:pt x="0" y="67"/>
                    <a:pt x="0" y="66"/>
                  </a:cubicBezTo>
                  <a:cubicBezTo>
                    <a:pt x="0" y="64"/>
                    <a:pt x="2" y="64"/>
                    <a:pt x="2" y="64"/>
                  </a:cubicBezTo>
                  <a:cubicBezTo>
                    <a:pt x="2" y="63"/>
                    <a:pt x="0" y="62"/>
                    <a:pt x="0" y="63"/>
                  </a:cubicBezTo>
                  <a:cubicBezTo>
                    <a:pt x="1" y="60"/>
                    <a:pt x="2" y="58"/>
                    <a:pt x="3" y="57"/>
                  </a:cubicBezTo>
                  <a:cubicBezTo>
                    <a:pt x="4" y="56"/>
                    <a:pt x="3" y="54"/>
                    <a:pt x="3" y="54"/>
                  </a:cubicBezTo>
                  <a:cubicBezTo>
                    <a:pt x="3" y="53"/>
                    <a:pt x="6" y="52"/>
                    <a:pt x="6" y="52"/>
                  </a:cubicBezTo>
                  <a:cubicBezTo>
                    <a:pt x="7" y="50"/>
                    <a:pt x="4" y="40"/>
                    <a:pt x="9" y="45"/>
                  </a:cubicBezTo>
                  <a:cubicBezTo>
                    <a:pt x="10" y="41"/>
                    <a:pt x="6" y="43"/>
                    <a:pt x="6" y="40"/>
                  </a:cubicBezTo>
                  <a:cubicBezTo>
                    <a:pt x="6" y="37"/>
                    <a:pt x="6" y="34"/>
                    <a:pt x="6" y="31"/>
                  </a:cubicBezTo>
                  <a:cubicBezTo>
                    <a:pt x="9" y="32"/>
                    <a:pt x="9" y="30"/>
                    <a:pt x="9" y="28"/>
                  </a:cubicBezTo>
                  <a:cubicBezTo>
                    <a:pt x="12" y="29"/>
                    <a:pt x="12" y="26"/>
                    <a:pt x="14" y="26"/>
                  </a:cubicBezTo>
                  <a:cubicBezTo>
                    <a:pt x="15" y="24"/>
                    <a:pt x="22" y="25"/>
                    <a:pt x="21" y="20"/>
                  </a:cubicBezTo>
                  <a:cubicBezTo>
                    <a:pt x="23" y="19"/>
                    <a:pt x="24" y="21"/>
                    <a:pt x="25" y="21"/>
                  </a:cubicBezTo>
                  <a:cubicBezTo>
                    <a:pt x="24" y="17"/>
                    <a:pt x="27" y="16"/>
                    <a:pt x="27" y="12"/>
                  </a:cubicBezTo>
                  <a:cubicBezTo>
                    <a:pt x="31" y="14"/>
                    <a:pt x="30" y="3"/>
                    <a:pt x="31" y="11"/>
                  </a:cubicBezTo>
                  <a:cubicBezTo>
                    <a:pt x="36" y="9"/>
                    <a:pt x="32" y="3"/>
                    <a:pt x="34" y="0"/>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sp>
          <p:nvSpPr>
            <p:cNvPr id="127" name="Freeform 112">
              <a:extLst>
                <a:ext uri="{FF2B5EF4-FFF2-40B4-BE49-F238E27FC236}">
                  <a16:creationId xmlns:a16="http://schemas.microsoft.com/office/drawing/2014/main" id="{C616F597-8271-45C6-8073-1D7D04807538}"/>
                </a:ext>
              </a:extLst>
            </p:cNvPr>
            <p:cNvSpPr>
              <a:spLocks/>
            </p:cNvSpPr>
            <p:nvPr/>
          </p:nvSpPr>
          <p:spPr bwMode="auto">
            <a:xfrm>
              <a:off x="3804553" y="3183351"/>
              <a:ext cx="664919" cy="488300"/>
            </a:xfrm>
            <a:custGeom>
              <a:avLst/>
              <a:gdLst>
                <a:gd name="T0" fmla="*/ 141 w 244"/>
                <a:gd name="T1" fmla="*/ 15 h 179"/>
                <a:gd name="T2" fmla="*/ 136 w 244"/>
                <a:gd name="T3" fmla="*/ 18 h 179"/>
                <a:gd name="T4" fmla="*/ 143 w 244"/>
                <a:gd name="T5" fmla="*/ 27 h 179"/>
                <a:gd name="T6" fmla="*/ 164 w 244"/>
                <a:gd name="T7" fmla="*/ 38 h 179"/>
                <a:gd name="T8" fmla="*/ 170 w 244"/>
                <a:gd name="T9" fmla="*/ 30 h 179"/>
                <a:gd name="T10" fmla="*/ 171 w 244"/>
                <a:gd name="T11" fmla="*/ 24 h 179"/>
                <a:gd name="T12" fmla="*/ 173 w 244"/>
                <a:gd name="T13" fmla="*/ 10 h 179"/>
                <a:gd name="T14" fmla="*/ 177 w 244"/>
                <a:gd name="T15" fmla="*/ 3 h 179"/>
                <a:gd name="T16" fmla="*/ 181 w 244"/>
                <a:gd name="T17" fmla="*/ 9 h 179"/>
                <a:gd name="T18" fmla="*/ 189 w 244"/>
                <a:gd name="T19" fmla="*/ 24 h 179"/>
                <a:gd name="T20" fmla="*/ 196 w 244"/>
                <a:gd name="T21" fmla="*/ 34 h 179"/>
                <a:gd name="T22" fmla="*/ 204 w 244"/>
                <a:gd name="T23" fmla="*/ 44 h 179"/>
                <a:gd name="T24" fmla="*/ 208 w 244"/>
                <a:gd name="T25" fmla="*/ 56 h 179"/>
                <a:gd name="T26" fmla="*/ 213 w 244"/>
                <a:gd name="T27" fmla="*/ 59 h 179"/>
                <a:gd name="T28" fmla="*/ 221 w 244"/>
                <a:gd name="T29" fmla="*/ 65 h 179"/>
                <a:gd name="T30" fmla="*/ 229 w 244"/>
                <a:gd name="T31" fmla="*/ 80 h 179"/>
                <a:gd name="T32" fmla="*/ 232 w 244"/>
                <a:gd name="T33" fmla="*/ 83 h 179"/>
                <a:gd name="T34" fmla="*/ 241 w 244"/>
                <a:gd name="T35" fmla="*/ 89 h 179"/>
                <a:gd name="T36" fmla="*/ 244 w 244"/>
                <a:gd name="T37" fmla="*/ 114 h 179"/>
                <a:gd name="T38" fmla="*/ 239 w 244"/>
                <a:gd name="T39" fmla="*/ 126 h 179"/>
                <a:gd name="T40" fmla="*/ 239 w 244"/>
                <a:gd name="T41" fmla="*/ 130 h 179"/>
                <a:gd name="T42" fmla="*/ 236 w 244"/>
                <a:gd name="T43" fmla="*/ 139 h 179"/>
                <a:gd name="T44" fmla="*/ 227 w 244"/>
                <a:gd name="T45" fmla="*/ 147 h 179"/>
                <a:gd name="T46" fmla="*/ 220 w 244"/>
                <a:gd name="T47" fmla="*/ 169 h 179"/>
                <a:gd name="T48" fmla="*/ 207 w 244"/>
                <a:gd name="T49" fmla="*/ 175 h 179"/>
                <a:gd name="T50" fmla="*/ 201 w 244"/>
                <a:gd name="T51" fmla="*/ 179 h 179"/>
                <a:gd name="T52" fmla="*/ 189 w 244"/>
                <a:gd name="T53" fmla="*/ 176 h 179"/>
                <a:gd name="T54" fmla="*/ 162 w 244"/>
                <a:gd name="T55" fmla="*/ 172 h 179"/>
                <a:gd name="T56" fmla="*/ 161 w 244"/>
                <a:gd name="T57" fmla="*/ 163 h 179"/>
                <a:gd name="T58" fmla="*/ 159 w 244"/>
                <a:gd name="T59" fmla="*/ 158 h 179"/>
                <a:gd name="T60" fmla="*/ 147 w 244"/>
                <a:gd name="T61" fmla="*/ 150 h 179"/>
                <a:gd name="T62" fmla="*/ 141 w 244"/>
                <a:gd name="T63" fmla="*/ 142 h 179"/>
                <a:gd name="T64" fmla="*/ 130 w 244"/>
                <a:gd name="T65" fmla="*/ 138 h 179"/>
                <a:gd name="T66" fmla="*/ 124 w 244"/>
                <a:gd name="T67" fmla="*/ 135 h 179"/>
                <a:gd name="T68" fmla="*/ 96 w 244"/>
                <a:gd name="T69" fmla="*/ 129 h 179"/>
                <a:gd name="T70" fmla="*/ 81 w 244"/>
                <a:gd name="T71" fmla="*/ 133 h 179"/>
                <a:gd name="T72" fmla="*/ 75 w 244"/>
                <a:gd name="T73" fmla="*/ 136 h 179"/>
                <a:gd name="T74" fmla="*/ 70 w 244"/>
                <a:gd name="T75" fmla="*/ 141 h 179"/>
                <a:gd name="T76" fmla="*/ 67 w 244"/>
                <a:gd name="T77" fmla="*/ 141 h 179"/>
                <a:gd name="T78" fmla="*/ 41 w 244"/>
                <a:gd name="T79" fmla="*/ 145 h 179"/>
                <a:gd name="T80" fmla="*/ 36 w 244"/>
                <a:gd name="T81" fmla="*/ 148 h 179"/>
                <a:gd name="T82" fmla="*/ 11 w 244"/>
                <a:gd name="T83" fmla="*/ 153 h 179"/>
                <a:gd name="T84" fmla="*/ 14 w 244"/>
                <a:gd name="T85" fmla="*/ 136 h 179"/>
                <a:gd name="T86" fmla="*/ 11 w 244"/>
                <a:gd name="T87" fmla="*/ 127 h 179"/>
                <a:gd name="T88" fmla="*/ 11 w 244"/>
                <a:gd name="T89" fmla="*/ 121 h 179"/>
                <a:gd name="T90" fmla="*/ 7 w 244"/>
                <a:gd name="T91" fmla="*/ 112 h 179"/>
                <a:gd name="T92" fmla="*/ 5 w 244"/>
                <a:gd name="T93" fmla="*/ 105 h 179"/>
                <a:gd name="T94" fmla="*/ 2 w 244"/>
                <a:gd name="T95" fmla="*/ 96 h 179"/>
                <a:gd name="T96" fmla="*/ 4 w 244"/>
                <a:gd name="T97" fmla="*/ 89 h 179"/>
                <a:gd name="T98" fmla="*/ 4 w 244"/>
                <a:gd name="T99" fmla="*/ 70 h 179"/>
                <a:gd name="T100" fmla="*/ 20 w 244"/>
                <a:gd name="T101" fmla="*/ 59 h 179"/>
                <a:gd name="T102" fmla="*/ 39 w 244"/>
                <a:gd name="T103" fmla="*/ 55 h 179"/>
                <a:gd name="T104" fmla="*/ 50 w 244"/>
                <a:gd name="T105" fmla="*/ 50 h 179"/>
                <a:gd name="T106" fmla="*/ 54 w 244"/>
                <a:gd name="T107" fmla="*/ 34 h 179"/>
                <a:gd name="T108" fmla="*/ 67 w 244"/>
                <a:gd name="T109" fmla="*/ 34 h 179"/>
                <a:gd name="T110" fmla="*/ 70 w 244"/>
                <a:gd name="T111" fmla="*/ 24 h 179"/>
                <a:gd name="T112" fmla="*/ 82 w 244"/>
                <a:gd name="T113" fmla="*/ 16 h 179"/>
                <a:gd name="T114" fmla="*/ 91 w 244"/>
                <a:gd name="T115" fmla="*/ 21 h 179"/>
                <a:gd name="T116" fmla="*/ 94 w 244"/>
                <a:gd name="T117" fmla="*/ 22 h 179"/>
                <a:gd name="T118" fmla="*/ 97 w 244"/>
                <a:gd name="T119" fmla="*/ 19 h 179"/>
                <a:gd name="T120" fmla="*/ 107 w 244"/>
                <a:gd name="T121" fmla="*/ 10 h 179"/>
                <a:gd name="T122" fmla="*/ 115 w 244"/>
                <a:gd name="T123" fmla="*/ 7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4" h="179">
                  <a:moveTo>
                    <a:pt x="141" y="7"/>
                  </a:moveTo>
                  <a:cubicBezTo>
                    <a:pt x="141" y="10"/>
                    <a:pt x="141" y="12"/>
                    <a:pt x="141" y="15"/>
                  </a:cubicBezTo>
                  <a:cubicBezTo>
                    <a:pt x="140" y="15"/>
                    <a:pt x="138" y="15"/>
                    <a:pt x="137" y="15"/>
                  </a:cubicBezTo>
                  <a:cubicBezTo>
                    <a:pt x="139" y="17"/>
                    <a:pt x="138" y="18"/>
                    <a:pt x="136" y="18"/>
                  </a:cubicBezTo>
                  <a:cubicBezTo>
                    <a:pt x="138" y="21"/>
                    <a:pt x="135" y="20"/>
                    <a:pt x="136" y="24"/>
                  </a:cubicBezTo>
                  <a:cubicBezTo>
                    <a:pt x="137" y="26"/>
                    <a:pt x="139" y="27"/>
                    <a:pt x="143" y="27"/>
                  </a:cubicBezTo>
                  <a:cubicBezTo>
                    <a:pt x="144" y="33"/>
                    <a:pt x="153" y="30"/>
                    <a:pt x="153" y="37"/>
                  </a:cubicBezTo>
                  <a:cubicBezTo>
                    <a:pt x="157" y="37"/>
                    <a:pt x="162" y="36"/>
                    <a:pt x="164" y="38"/>
                  </a:cubicBezTo>
                  <a:cubicBezTo>
                    <a:pt x="167" y="38"/>
                    <a:pt x="164" y="32"/>
                    <a:pt x="170" y="34"/>
                  </a:cubicBezTo>
                  <a:cubicBezTo>
                    <a:pt x="169" y="33"/>
                    <a:pt x="167" y="30"/>
                    <a:pt x="170" y="30"/>
                  </a:cubicBezTo>
                  <a:cubicBezTo>
                    <a:pt x="172" y="30"/>
                    <a:pt x="169" y="27"/>
                    <a:pt x="170" y="25"/>
                  </a:cubicBezTo>
                  <a:cubicBezTo>
                    <a:pt x="170" y="25"/>
                    <a:pt x="171" y="25"/>
                    <a:pt x="171" y="24"/>
                  </a:cubicBezTo>
                  <a:cubicBezTo>
                    <a:pt x="171" y="22"/>
                    <a:pt x="173" y="20"/>
                    <a:pt x="173" y="18"/>
                  </a:cubicBezTo>
                  <a:cubicBezTo>
                    <a:pt x="172" y="16"/>
                    <a:pt x="171" y="15"/>
                    <a:pt x="173" y="10"/>
                  </a:cubicBezTo>
                  <a:cubicBezTo>
                    <a:pt x="173" y="10"/>
                    <a:pt x="175" y="11"/>
                    <a:pt x="176" y="10"/>
                  </a:cubicBezTo>
                  <a:cubicBezTo>
                    <a:pt x="177" y="9"/>
                    <a:pt x="176" y="4"/>
                    <a:pt x="177" y="3"/>
                  </a:cubicBezTo>
                  <a:cubicBezTo>
                    <a:pt x="180" y="2"/>
                    <a:pt x="178" y="7"/>
                    <a:pt x="180" y="9"/>
                  </a:cubicBezTo>
                  <a:cubicBezTo>
                    <a:pt x="180" y="9"/>
                    <a:pt x="181" y="9"/>
                    <a:pt x="181" y="9"/>
                  </a:cubicBezTo>
                  <a:cubicBezTo>
                    <a:pt x="183" y="11"/>
                    <a:pt x="183" y="14"/>
                    <a:pt x="184" y="16"/>
                  </a:cubicBezTo>
                  <a:cubicBezTo>
                    <a:pt x="186" y="19"/>
                    <a:pt x="189" y="20"/>
                    <a:pt x="189" y="24"/>
                  </a:cubicBezTo>
                  <a:cubicBezTo>
                    <a:pt x="193" y="20"/>
                    <a:pt x="190" y="26"/>
                    <a:pt x="195" y="25"/>
                  </a:cubicBezTo>
                  <a:cubicBezTo>
                    <a:pt x="195" y="28"/>
                    <a:pt x="194" y="32"/>
                    <a:pt x="196" y="34"/>
                  </a:cubicBezTo>
                  <a:cubicBezTo>
                    <a:pt x="199" y="36"/>
                    <a:pt x="196" y="39"/>
                    <a:pt x="198" y="44"/>
                  </a:cubicBezTo>
                  <a:cubicBezTo>
                    <a:pt x="201" y="40"/>
                    <a:pt x="199" y="44"/>
                    <a:pt x="204" y="44"/>
                  </a:cubicBezTo>
                  <a:cubicBezTo>
                    <a:pt x="204" y="47"/>
                    <a:pt x="202" y="47"/>
                    <a:pt x="202" y="49"/>
                  </a:cubicBezTo>
                  <a:cubicBezTo>
                    <a:pt x="204" y="51"/>
                    <a:pt x="209" y="51"/>
                    <a:pt x="208" y="56"/>
                  </a:cubicBezTo>
                  <a:cubicBezTo>
                    <a:pt x="209" y="57"/>
                    <a:pt x="212" y="55"/>
                    <a:pt x="213" y="56"/>
                  </a:cubicBezTo>
                  <a:cubicBezTo>
                    <a:pt x="213" y="57"/>
                    <a:pt x="212" y="59"/>
                    <a:pt x="213" y="59"/>
                  </a:cubicBezTo>
                  <a:cubicBezTo>
                    <a:pt x="213" y="60"/>
                    <a:pt x="215" y="59"/>
                    <a:pt x="216" y="59"/>
                  </a:cubicBezTo>
                  <a:cubicBezTo>
                    <a:pt x="218" y="61"/>
                    <a:pt x="217" y="66"/>
                    <a:pt x="221" y="65"/>
                  </a:cubicBezTo>
                  <a:cubicBezTo>
                    <a:pt x="221" y="69"/>
                    <a:pt x="224" y="73"/>
                    <a:pt x="226" y="75"/>
                  </a:cubicBezTo>
                  <a:cubicBezTo>
                    <a:pt x="227" y="77"/>
                    <a:pt x="228" y="79"/>
                    <a:pt x="229" y="80"/>
                  </a:cubicBezTo>
                  <a:cubicBezTo>
                    <a:pt x="229" y="80"/>
                    <a:pt x="231" y="79"/>
                    <a:pt x="232" y="80"/>
                  </a:cubicBezTo>
                  <a:cubicBezTo>
                    <a:pt x="232" y="80"/>
                    <a:pt x="231" y="82"/>
                    <a:pt x="232" y="83"/>
                  </a:cubicBezTo>
                  <a:cubicBezTo>
                    <a:pt x="233" y="84"/>
                    <a:pt x="236" y="84"/>
                    <a:pt x="235" y="83"/>
                  </a:cubicBezTo>
                  <a:cubicBezTo>
                    <a:pt x="238" y="86"/>
                    <a:pt x="236" y="90"/>
                    <a:pt x="241" y="89"/>
                  </a:cubicBezTo>
                  <a:cubicBezTo>
                    <a:pt x="238" y="93"/>
                    <a:pt x="241" y="99"/>
                    <a:pt x="242" y="105"/>
                  </a:cubicBezTo>
                  <a:cubicBezTo>
                    <a:pt x="243" y="108"/>
                    <a:pt x="241" y="112"/>
                    <a:pt x="244" y="114"/>
                  </a:cubicBezTo>
                  <a:cubicBezTo>
                    <a:pt x="241" y="116"/>
                    <a:pt x="242" y="118"/>
                    <a:pt x="241" y="124"/>
                  </a:cubicBezTo>
                  <a:cubicBezTo>
                    <a:pt x="241" y="124"/>
                    <a:pt x="238" y="125"/>
                    <a:pt x="239" y="126"/>
                  </a:cubicBezTo>
                  <a:cubicBezTo>
                    <a:pt x="239" y="126"/>
                    <a:pt x="241" y="126"/>
                    <a:pt x="241" y="126"/>
                  </a:cubicBezTo>
                  <a:cubicBezTo>
                    <a:pt x="241" y="126"/>
                    <a:pt x="240" y="130"/>
                    <a:pt x="239" y="130"/>
                  </a:cubicBezTo>
                  <a:cubicBezTo>
                    <a:pt x="239" y="131"/>
                    <a:pt x="236" y="132"/>
                    <a:pt x="236" y="132"/>
                  </a:cubicBezTo>
                  <a:cubicBezTo>
                    <a:pt x="236" y="134"/>
                    <a:pt x="239" y="136"/>
                    <a:pt x="236" y="139"/>
                  </a:cubicBezTo>
                  <a:cubicBezTo>
                    <a:pt x="233" y="139"/>
                    <a:pt x="234" y="143"/>
                    <a:pt x="230" y="142"/>
                  </a:cubicBezTo>
                  <a:cubicBezTo>
                    <a:pt x="231" y="145"/>
                    <a:pt x="230" y="147"/>
                    <a:pt x="227" y="147"/>
                  </a:cubicBezTo>
                  <a:cubicBezTo>
                    <a:pt x="229" y="153"/>
                    <a:pt x="225" y="154"/>
                    <a:pt x="226" y="160"/>
                  </a:cubicBezTo>
                  <a:cubicBezTo>
                    <a:pt x="220" y="159"/>
                    <a:pt x="221" y="165"/>
                    <a:pt x="220" y="169"/>
                  </a:cubicBezTo>
                  <a:cubicBezTo>
                    <a:pt x="218" y="169"/>
                    <a:pt x="216" y="169"/>
                    <a:pt x="216" y="170"/>
                  </a:cubicBezTo>
                  <a:cubicBezTo>
                    <a:pt x="215" y="173"/>
                    <a:pt x="210" y="173"/>
                    <a:pt x="207" y="175"/>
                  </a:cubicBezTo>
                  <a:cubicBezTo>
                    <a:pt x="206" y="175"/>
                    <a:pt x="205" y="177"/>
                    <a:pt x="204" y="178"/>
                  </a:cubicBezTo>
                  <a:cubicBezTo>
                    <a:pt x="202" y="178"/>
                    <a:pt x="201" y="177"/>
                    <a:pt x="201" y="179"/>
                  </a:cubicBezTo>
                  <a:cubicBezTo>
                    <a:pt x="197" y="178"/>
                    <a:pt x="196" y="174"/>
                    <a:pt x="192" y="173"/>
                  </a:cubicBezTo>
                  <a:cubicBezTo>
                    <a:pt x="189" y="172"/>
                    <a:pt x="190" y="176"/>
                    <a:pt x="189" y="176"/>
                  </a:cubicBezTo>
                  <a:cubicBezTo>
                    <a:pt x="186" y="178"/>
                    <a:pt x="181" y="176"/>
                    <a:pt x="179" y="179"/>
                  </a:cubicBezTo>
                  <a:cubicBezTo>
                    <a:pt x="173" y="177"/>
                    <a:pt x="169" y="173"/>
                    <a:pt x="162" y="172"/>
                  </a:cubicBezTo>
                  <a:cubicBezTo>
                    <a:pt x="164" y="170"/>
                    <a:pt x="164" y="168"/>
                    <a:pt x="162" y="164"/>
                  </a:cubicBezTo>
                  <a:cubicBezTo>
                    <a:pt x="162" y="164"/>
                    <a:pt x="161" y="164"/>
                    <a:pt x="161" y="163"/>
                  </a:cubicBezTo>
                  <a:cubicBezTo>
                    <a:pt x="161" y="163"/>
                    <a:pt x="161" y="162"/>
                    <a:pt x="161" y="161"/>
                  </a:cubicBezTo>
                  <a:cubicBezTo>
                    <a:pt x="160" y="160"/>
                    <a:pt x="157" y="159"/>
                    <a:pt x="159" y="158"/>
                  </a:cubicBezTo>
                  <a:cubicBezTo>
                    <a:pt x="158" y="157"/>
                    <a:pt x="152" y="154"/>
                    <a:pt x="152" y="157"/>
                  </a:cubicBezTo>
                  <a:cubicBezTo>
                    <a:pt x="150" y="155"/>
                    <a:pt x="150" y="151"/>
                    <a:pt x="147" y="150"/>
                  </a:cubicBezTo>
                  <a:cubicBezTo>
                    <a:pt x="147" y="146"/>
                    <a:pt x="148" y="146"/>
                    <a:pt x="149" y="144"/>
                  </a:cubicBezTo>
                  <a:cubicBezTo>
                    <a:pt x="148" y="142"/>
                    <a:pt x="146" y="143"/>
                    <a:pt x="141" y="142"/>
                  </a:cubicBezTo>
                  <a:cubicBezTo>
                    <a:pt x="138" y="144"/>
                    <a:pt x="139" y="149"/>
                    <a:pt x="133" y="148"/>
                  </a:cubicBezTo>
                  <a:cubicBezTo>
                    <a:pt x="134" y="142"/>
                    <a:pt x="128" y="144"/>
                    <a:pt x="130" y="138"/>
                  </a:cubicBezTo>
                  <a:cubicBezTo>
                    <a:pt x="126" y="138"/>
                    <a:pt x="125" y="135"/>
                    <a:pt x="121" y="136"/>
                  </a:cubicBezTo>
                  <a:cubicBezTo>
                    <a:pt x="121" y="135"/>
                    <a:pt x="123" y="135"/>
                    <a:pt x="124" y="135"/>
                  </a:cubicBezTo>
                  <a:cubicBezTo>
                    <a:pt x="120" y="130"/>
                    <a:pt x="116" y="134"/>
                    <a:pt x="109" y="133"/>
                  </a:cubicBezTo>
                  <a:cubicBezTo>
                    <a:pt x="104" y="132"/>
                    <a:pt x="100" y="131"/>
                    <a:pt x="96" y="129"/>
                  </a:cubicBezTo>
                  <a:cubicBezTo>
                    <a:pt x="92" y="130"/>
                    <a:pt x="87" y="130"/>
                    <a:pt x="87" y="133"/>
                  </a:cubicBezTo>
                  <a:cubicBezTo>
                    <a:pt x="85" y="133"/>
                    <a:pt x="83" y="133"/>
                    <a:pt x="81" y="133"/>
                  </a:cubicBezTo>
                  <a:cubicBezTo>
                    <a:pt x="79" y="133"/>
                    <a:pt x="80" y="135"/>
                    <a:pt x="79" y="135"/>
                  </a:cubicBezTo>
                  <a:cubicBezTo>
                    <a:pt x="76" y="135"/>
                    <a:pt x="78" y="132"/>
                    <a:pt x="75" y="136"/>
                  </a:cubicBezTo>
                  <a:cubicBezTo>
                    <a:pt x="74" y="137"/>
                    <a:pt x="73" y="137"/>
                    <a:pt x="73" y="139"/>
                  </a:cubicBezTo>
                  <a:cubicBezTo>
                    <a:pt x="71" y="137"/>
                    <a:pt x="70" y="134"/>
                    <a:pt x="70" y="141"/>
                  </a:cubicBezTo>
                  <a:cubicBezTo>
                    <a:pt x="69" y="140"/>
                    <a:pt x="69" y="139"/>
                    <a:pt x="67" y="139"/>
                  </a:cubicBezTo>
                  <a:cubicBezTo>
                    <a:pt x="65" y="139"/>
                    <a:pt x="67" y="141"/>
                    <a:pt x="67" y="141"/>
                  </a:cubicBezTo>
                  <a:cubicBezTo>
                    <a:pt x="65" y="144"/>
                    <a:pt x="61" y="142"/>
                    <a:pt x="60" y="147"/>
                  </a:cubicBezTo>
                  <a:cubicBezTo>
                    <a:pt x="56" y="144"/>
                    <a:pt x="47" y="146"/>
                    <a:pt x="41" y="145"/>
                  </a:cubicBezTo>
                  <a:cubicBezTo>
                    <a:pt x="39" y="145"/>
                    <a:pt x="40" y="148"/>
                    <a:pt x="39" y="148"/>
                  </a:cubicBezTo>
                  <a:cubicBezTo>
                    <a:pt x="38" y="148"/>
                    <a:pt x="37" y="148"/>
                    <a:pt x="36" y="148"/>
                  </a:cubicBezTo>
                  <a:cubicBezTo>
                    <a:pt x="35" y="148"/>
                    <a:pt x="34" y="149"/>
                    <a:pt x="32" y="150"/>
                  </a:cubicBezTo>
                  <a:cubicBezTo>
                    <a:pt x="27" y="151"/>
                    <a:pt x="20" y="154"/>
                    <a:pt x="11" y="153"/>
                  </a:cubicBezTo>
                  <a:cubicBezTo>
                    <a:pt x="12" y="149"/>
                    <a:pt x="11" y="144"/>
                    <a:pt x="15" y="144"/>
                  </a:cubicBezTo>
                  <a:cubicBezTo>
                    <a:pt x="15" y="142"/>
                    <a:pt x="17" y="136"/>
                    <a:pt x="14" y="136"/>
                  </a:cubicBezTo>
                  <a:cubicBezTo>
                    <a:pt x="10" y="136"/>
                    <a:pt x="16" y="135"/>
                    <a:pt x="14" y="130"/>
                  </a:cubicBezTo>
                  <a:cubicBezTo>
                    <a:pt x="12" y="127"/>
                    <a:pt x="13" y="133"/>
                    <a:pt x="11" y="127"/>
                  </a:cubicBezTo>
                  <a:cubicBezTo>
                    <a:pt x="11" y="127"/>
                    <a:pt x="11" y="125"/>
                    <a:pt x="11" y="124"/>
                  </a:cubicBezTo>
                  <a:cubicBezTo>
                    <a:pt x="9" y="123"/>
                    <a:pt x="11" y="124"/>
                    <a:pt x="11" y="121"/>
                  </a:cubicBezTo>
                  <a:cubicBezTo>
                    <a:pt x="11" y="118"/>
                    <a:pt x="7" y="116"/>
                    <a:pt x="10" y="114"/>
                  </a:cubicBezTo>
                  <a:cubicBezTo>
                    <a:pt x="10" y="112"/>
                    <a:pt x="7" y="113"/>
                    <a:pt x="7" y="112"/>
                  </a:cubicBezTo>
                  <a:cubicBezTo>
                    <a:pt x="6" y="112"/>
                    <a:pt x="7" y="110"/>
                    <a:pt x="7" y="110"/>
                  </a:cubicBezTo>
                  <a:cubicBezTo>
                    <a:pt x="7" y="110"/>
                    <a:pt x="5" y="105"/>
                    <a:pt x="5" y="105"/>
                  </a:cubicBezTo>
                  <a:cubicBezTo>
                    <a:pt x="3" y="103"/>
                    <a:pt x="6" y="104"/>
                    <a:pt x="5" y="102"/>
                  </a:cubicBezTo>
                  <a:cubicBezTo>
                    <a:pt x="5" y="100"/>
                    <a:pt x="1" y="99"/>
                    <a:pt x="2" y="96"/>
                  </a:cubicBezTo>
                  <a:cubicBezTo>
                    <a:pt x="6" y="97"/>
                    <a:pt x="4" y="91"/>
                    <a:pt x="7" y="90"/>
                  </a:cubicBezTo>
                  <a:cubicBezTo>
                    <a:pt x="7" y="88"/>
                    <a:pt x="4" y="90"/>
                    <a:pt x="4" y="89"/>
                  </a:cubicBezTo>
                  <a:cubicBezTo>
                    <a:pt x="2" y="87"/>
                    <a:pt x="5" y="83"/>
                    <a:pt x="1" y="84"/>
                  </a:cubicBezTo>
                  <a:cubicBezTo>
                    <a:pt x="0" y="77"/>
                    <a:pt x="3" y="75"/>
                    <a:pt x="4" y="70"/>
                  </a:cubicBezTo>
                  <a:cubicBezTo>
                    <a:pt x="5" y="72"/>
                    <a:pt x="11" y="71"/>
                    <a:pt x="11" y="67"/>
                  </a:cubicBezTo>
                  <a:cubicBezTo>
                    <a:pt x="11" y="64"/>
                    <a:pt x="21" y="66"/>
                    <a:pt x="20" y="59"/>
                  </a:cubicBezTo>
                  <a:cubicBezTo>
                    <a:pt x="28" y="60"/>
                    <a:pt x="32" y="56"/>
                    <a:pt x="39" y="56"/>
                  </a:cubicBezTo>
                  <a:cubicBezTo>
                    <a:pt x="41" y="56"/>
                    <a:pt x="40" y="54"/>
                    <a:pt x="39" y="55"/>
                  </a:cubicBezTo>
                  <a:cubicBezTo>
                    <a:pt x="42" y="52"/>
                    <a:pt x="47" y="54"/>
                    <a:pt x="47" y="49"/>
                  </a:cubicBezTo>
                  <a:cubicBezTo>
                    <a:pt x="48" y="49"/>
                    <a:pt x="48" y="50"/>
                    <a:pt x="50" y="50"/>
                  </a:cubicBezTo>
                  <a:cubicBezTo>
                    <a:pt x="53" y="51"/>
                    <a:pt x="49" y="43"/>
                    <a:pt x="54" y="46"/>
                  </a:cubicBezTo>
                  <a:cubicBezTo>
                    <a:pt x="53" y="40"/>
                    <a:pt x="54" y="41"/>
                    <a:pt x="54" y="34"/>
                  </a:cubicBezTo>
                  <a:cubicBezTo>
                    <a:pt x="57" y="34"/>
                    <a:pt x="60" y="36"/>
                    <a:pt x="63" y="37"/>
                  </a:cubicBezTo>
                  <a:cubicBezTo>
                    <a:pt x="64" y="36"/>
                    <a:pt x="64" y="34"/>
                    <a:pt x="67" y="34"/>
                  </a:cubicBezTo>
                  <a:cubicBezTo>
                    <a:pt x="65" y="31"/>
                    <a:pt x="71" y="28"/>
                    <a:pt x="67" y="28"/>
                  </a:cubicBezTo>
                  <a:cubicBezTo>
                    <a:pt x="68" y="27"/>
                    <a:pt x="71" y="26"/>
                    <a:pt x="70" y="24"/>
                  </a:cubicBezTo>
                  <a:cubicBezTo>
                    <a:pt x="75" y="25"/>
                    <a:pt x="72" y="18"/>
                    <a:pt x="78" y="21"/>
                  </a:cubicBezTo>
                  <a:cubicBezTo>
                    <a:pt x="79" y="19"/>
                    <a:pt x="81" y="18"/>
                    <a:pt x="82" y="16"/>
                  </a:cubicBezTo>
                  <a:cubicBezTo>
                    <a:pt x="84" y="17"/>
                    <a:pt x="86" y="18"/>
                    <a:pt x="90" y="18"/>
                  </a:cubicBezTo>
                  <a:cubicBezTo>
                    <a:pt x="87" y="21"/>
                    <a:pt x="90" y="19"/>
                    <a:pt x="91" y="21"/>
                  </a:cubicBezTo>
                  <a:cubicBezTo>
                    <a:pt x="91" y="21"/>
                    <a:pt x="91" y="22"/>
                    <a:pt x="91" y="22"/>
                  </a:cubicBezTo>
                  <a:cubicBezTo>
                    <a:pt x="92" y="22"/>
                    <a:pt x="94" y="22"/>
                    <a:pt x="94" y="22"/>
                  </a:cubicBezTo>
                  <a:cubicBezTo>
                    <a:pt x="94" y="23"/>
                    <a:pt x="96" y="26"/>
                    <a:pt x="100" y="25"/>
                  </a:cubicBezTo>
                  <a:cubicBezTo>
                    <a:pt x="102" y="26"/>
                    <a:pt x="101" y="18"/>
                    <a:pt x="97" y="19"/>
                  </a:cubicBezTo>
                  <a:cubicBezTo>
                    <a:pt x="98" y="18"/>
                    <a:pt x="100" y="17"/>
                    <a:pt x="101" y="16"/>
                  </a:cubicBezTo>
                  <a:cubicBezTo>
                    <a:pt x="102" y="12"/>
                    <a:pt x="104" y="10"/>
                    <a:pt x="107" y="10"/>
                  </a:cubicBezTo>
                  <a:cubicBezTo>
                    <a:pt x="107" y="7"/>
                    <a:pt x="109" y="6"/>
                    <a:pt x="112" y="6"/>
                  </a:cubicBezTo>
                  <a:cubicBezTo>
                    <a:pt x="110" y="10"/>
                    <a:pt x="111" y="7"/>
                    <a:pt x="115" y="7"/>
                  </a:cubicBezTo>
                  <a:cubicBezTo>
                    <a:pt x="121" y="0"/>
                    <a:pt x="133" y="7"/>
                    <a:pt x="141" y="7"/>
                  </a:cubicBezTo>
                  <a:close/>
                </a:path>
              </a:pathLst>
            </a:custGeom>
            <a:grpFill/>
            <a:ln>
              <a:noFill/>
            </a:ln>
          </p:spPr>
          <p:txBody>
            <a:bodyPr/>
            <a:lstStyle/>
            <a:p>
              <a:pPr eaLnBrk="1" fontAlgn="auto" hangingPunct="1">
                <a:spcBef>
                  <a:spcPts val="0"/>
                </a:spcBef>
                <a:spcAft>
                  <a:spcPts val="0"/>
                </a:spcAft>
                <a:defRPr/>
              </a:pPr>
              <a:endParaRPr lang="zh-CN" altLang="en-US">
                <a:latin typeface="+mn-lt"/>
                <a:ea typeface="+mn-ea"/>
              </a:endParaRPr>
            </a:p>
          </p:txBody>
        </p:sp>
      </p:grpSp>
      <p:sp>
        <p:nvSpPr>
          <p:cNvPr id="128" name="文本框 56">
            <a:extLst>
              <a:ext uri="{FF2B5EF4-FFF2-40B4-BE49-F238E27FC236}">
                <a16:creationId xmlns:a16="http://schemas.microsoft.com/office/drawing/2014/main" id="{9FEC9507-1222-4B66-9B16-0C4FD2FD0727}"/>
              </a:ext>
            </a:extLst>
          </p:cNvPr>
          <p:cNvSpPr txBox="1"/>
          <p:nvPr/>
        </p:nvSpPr>
        <p:spPr>
          <a:xfrm>
            <a:off x="9028113" y="2011363"/>
            <a:ext cx="2643187" cy="522287"/>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l" eaLnBrk="1" fontAlgn="auto" hangingPunct="1">
              <a:lnSpc>
                <a:spcPct val="100000"/>
              </a:lnSpc>
              <a:spcBef>
                <a:spcPts val="0"/>
              </a:spcBef>
              <a:spcAft>
                <a:spcPts val="0"/>
              </a:spcAft>
              <a:defRPr/>
            </a:pPr>
            <a:r>
              <a:rPr lang="en-US" altLang="zh-CN" sz="1600" dirty="0">
                <a:solidFill>
                  <a:schemeClr val="tx1">
                    <a:lumMod val="75000"/>
                    <a:lumOff val="25000"/>
                  </a:schemeClr>
                </a:solidFill>
                <a:latin typeface="Impact" pitchFamily="34" charset="0"/>
                <a:ea typeface="+mn-ea"/>
              </a:rPr>
              <a:t>Click To Add Your Title</a:t>
            </a:r>
          </a:p>
          <a:p>
            <a:pPr algn="l" eaLnBrk="1" fontAlgn="auto" hangingPunct="1">
              <a:lnSpc>
                <a:spcPct val="100000"/>
              </a:lnSpc>
              <a:spcBef>
                <a:spcPts val="0"/>
              </a:spcBef>
              <a:spcAft>
                <a:spcPts val="0"/>
              </a:spcAft>
              <a:defRPr/>
            </a:pPr>
            <a:r>
              <a:rPr lang="en-US" altLang="zh-CN" sz="1200" dirty="0">
                <a:solidFill>
                  <a:schemeClr val="tx1">
                    <a:lumMod val="75000"/>
                    <a:lumOff val="25000"/>
                  </a:schemeClr>
                </a:solidFill>
                <a:latin typeface="+mn-lt"/>
                <a:ea typeface="+mn-ea"/>
              </a:rPr>
              <a:t>click to add subtitle click to add subtitle</a:t>
            </a:r>
            <a:endParaRPr lang="zh-CN" altLang="en-US" sz="1200" dirty="0">
              <a:solidFill>
                <a:schemeClr val="tx1">
                  <a:lumMod val="75000"/>
                  <a:lumOff val="25000"/>
                </a:schemeClr>
              </a:solidFill>
              <a:latin typeface="+mn-lt"/>
              <a:ea typeface="+mn-ea"/>
            </a:endParaRPr>
          </a:p>
        </p:txBody>
      </p:sp>
      <p:sp>
        <p:nvSpPr>
          <p:cNvPr id="129" name="文本框 56">
            <a:extLst>
              <a:ext uri="{FF2B5EF4-FFF2-40B4-BE49-F238E27FC236}">
                <a16:creationId xmlns:a16="http://schemas.microsoft.com/office/drawing/2014/main" id="{3641ED9B-7337-4228-8DE6-DBD39D3D9B67}"/>
              </a:ext>
            </a:extLst>
          </p:cNvPr>
          <p:cNvSpPr txBox="1"/>
          <p:nvPr/>
        </p:nvSpPr>
        <p:spPr>
          <a:xfrm>
            <a:off x="9028113" y="2971800"/>
            <a:ext cx="2643187" cy="523875"/>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l" eaLnBrk="1" fontAlgn="auto" hangingPunct="1">
              <a:lnSpc>
                <a:spcPct val="100000"/>
              </a:lnSpc>
              <a:spcBef>
                <a:spcPts val="0"/>
              </a:spcBef>
              <a:spcAft>
                <a:spcPts val="0"/>
              </a:spcAft>
              <a:defRPr/>
            </a:pPr>
            <a:r>
              <a:rPr lang="en-US" altLang="zh-CN" sz="1600" dirty="0">
                <a:solidFill>
                  <a:schemeClr val="tx1">
                    <a:lumMod val="75000"/>
                    <a:lumOff val="25000"/>
                  </a:schemeClr>
                </a:solidFill>
                <a:latin typeface="Impact" pitchFamily="34" charset="0"/>
                <a:ea typeface="+mn-ea"/>
              </a:rPr>
              <a:t>Click To Add Your Title</a:t>
            </a:r>
          </a:p>
          <a:p>
            <a:pPr algn="l" eaLnBrk="1" fontAlgn="auto" hangingPunct="1">
              <a:lnSpc>
                <a:spcPct val="100000"/>
              </a:lnSpc>
              <a:spcBef>
                <a:spcPts val="0"/>
              </a:spcBef>
              <a:spcAft>
                <a:spcPts val="0"/>
              </a:spcAft>
              <a:defRPr/>
            </a:pPr>
            <a:r>
              <a:rPr lang="en-US" altLang="zh-CN" sz="1200" dirty="0">
                <a:solidFill>
                  <a:schemeClr val="tx1">
                    <a:lumMod val="75000"/>
                    <a:lumOff val="25000"/>
                  </a:schemeClr>
                </a:solidFill>
                <a:latin typeface="+mn-lt"/>
                <a:ea typeface="+mn-ea"/>
              </a:rPr>
              <a:t>click to add subtitle click to add subtitle</a:t>
            </a:r>
            <a:endParaRPr lang="zh-CN" altLang="en-US" sz="1200" dirty="0">
              <a:solidFill>
                <a:schemeClr val="tx1">
                  <a:lumMod val="75000"/>
                  <a:lumOff val="25000"/>
                </a:schemeClr>
              </a:solidFill>
              <a:latin typeface="+mn-lt"/>
              <a:ea typeface="+mn-ea"/>
            </a:endParaRPr>
          </a:p>
        </p:txBody>
      </p:sp>
      <p:sp>
        <p:nvSpPr>
          <p:cNvPr id="130" name="文本框 56">
            <a:extLst>
              <a:ext uri="{FF2B5EF4-FFF2-40B4-BE49-F238E27FC236}">
                <a16:creationId xmlns:a16="http://schemas.microsoft.com/office/drawing/2014/main" id="{4BC0C440-1C8B-4432-870B-D8115FF2EAAD}"/>
              </a:ext>
            </a:extLst>
          </p:cNvPr>
          <p:cNvSpPr txBox="1"/>
          <p:nvPr/>
        </p:nvSpPr>
        <p:spPr>
          <a:xfrm>
            <a:off x="9028113" y="3933825"/>
            <a:ext cx="2643187" cy="522288"/>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l" eaLnBrk="1" fontAlgn="auto" hangingPunct="1">
              <a:lnSpc>
                <a:spcPct val="100000"/>
              </a:lnSpc>
              <a:spcBef>
                <a:spcPts val="0"/>
              </a:spcBef>
              <a:spcAft>
                <a:spcPts val="0"/>
              </a:spcAft>
              <a:defRPr/>
            </a:pPr>
            <a:r>
              <a:rPr lang="en-US" altLang="zh-CN" sz="1600" dirty="0">
                <a:solidFill>
                  <a:schemeClr val="tx1">
                    <a:lumMod val="75000"/>
                    <a:lumOff val="25000"/>
                  </a:schemeClr>
                </a:solidFill>
                <a:latin typeface="Impact" pitchFamily="34" charset="0"/>
                <a:ea typeface="+mn-ea"/>
              </a:rPr>
              <a:t>Click To Add Your Title</a:t>
            </a:r>
          </a:p>
          <a:p>
            <a:pPr algn="l" eaLnBrk="1" fontAlgn="auto" hangingPunct="1">
              <a:lnSpc>
                <a:spcPct val="100000"/>
              </a:lnSpc>
              <a:spcBef>
                <a:spcPts val="0"/>
              </a:spcBef>
              <a:spcAft>
                <a:spcPts val="0"/>
              </a:spcAft>
              <a:defRPr/>
            </a:pPr>
            <a:r>
              <a:rPr lang="en-US" altLang="zh-CN" sz="1200" dirty="0">
                <a:solidFill>
                  <a:schemeClr val="tx1">
                    <a:lumMod val="75000"/>
                    <a:lumOff val="25000"/>
                  </a:schemeClr>
                </a:solidFill>
                <a:latin typeface="+mn-lt"/>
                <a:ea typeface="+mn-ea"/>
              </a:rPr>
              <a:t>click to add subtitle click to add subtitle</a:t>
            </a:r>
            <a:endParaRPr lang="zh-CN" altLang="en-US" sz="1200" dirty="0">
              <a:solidFill>
                <a:schemeClr val="tx1">
                  <a:lumMod val="75000"/>
                  <a:lumOff val="25000"/>
                </a:schemeClr>
              </a:solidFill>
              <a:latin typeface="+mn-lt"/>
              <a:ea typeface="+mn-ea"/>
            </a:endParaRPr>
          </a:p>
        </p:txBody>
      </p:sp>
      <p:sp>
        <p:nvSpPr>
          <p:cNvPr id="131" name="文本框 56">
            <a:extLst>
              <a:ext uri="{FF2B5EF4-FFF2-40B4-BE49-F238E27FC236}">
                <a16:creationId xmlns:a16="http://schemas.microsoft.com/office/drawing/2014/main" id="{F2E51AED-11A9-4ADF-A887-EC2EDCB41DE2}"/>
              </a:ext>
            </a:extLst>
          </p:cNvPr>
          <p:cNvSpPr txBox="1"/>
          <p:nvPr/>
        </p:nvSpPr>
        <p:spPr>
          <a:xfrm>
            <a:off x="9028113" y="4895850"/>
            <a:ext cx="2643187" cy="522288"/>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l" eaLnBrk="1" fontAlgn="auto" hangingPunct="1">
              <a:lnSpc>
                <a:spcPct val="100000"/>
              </a:lnSpc>
              <a:spcBef>
                <a:spcPts val="0"/>
              </a:spcBef>
              <a:spcAft>
                <a:spcPts val="0"/>
              </a:spcAft>
              <a:defRPr/>
            </a:pPr>
            <a:r>
              <a:rPr lang="en-US" altLang="zh-CN" sz="1600" dirty="0">
                <a:solidFill>
                  <a:schemeClr val="tx1">
                    <a:lumMod val="75000"/>
                    <a:lumOff val="25000"/>
                  </a:schemeClr>
                </a:solidFill>
                <a:latin typeface="Impact" pitchFamily="34" charset="0"/>
                <a:ea typeface="+mn-ea"/>
              </a:rPr>
              <a:t>Click To Add Your Title</a:t>
            </a:r>
          </a:p>
          <a:p>
            <a:pPr algn="l" eaLnBrk="1" fontAlgn="auto" hangingPunct="1">
              <a:lnSpc>
                <a:spcPct val="100000"/>
              </a:lnSpc>
              <a:spcBef>
                <a:spcPts val="0"/>
              </a:spcBef>
              <a:spcAft>
                <a:spcPts val="0"/>
              </a:spcAft>
              <a:defRPr/>
            </a:pPr>
            <a:r>
              <a:rPr lang="en-US" altLang="zh-CN" sz="1200" dirty="0">
                <a:solidFill>
                  <a:schemeClr val="tx1">
                    <a:lumMod val="75000"/>
                    <a:lumOff val="25000"/>
                  </a:schemeClr>
                </a:solidFill>
                <a:latin typeface="+mn-lt"/>
                <a:ea typeface="+mn-ea"/>
              </a:rPr>
              <a:t>click to add subtitle click to add subtitle</a:t>
            </a:r>
            <a:endParaRPr lang="zh-CN" altLang="en-US" sz="1200" dirty="0">
              <a:solidFill>
                <a:schemeClr val="tx1">
                  <a:lumMod val="75000"/>
                  <a:lumOff val="25000"/>
                </a:schemeClr>
              </a:solidFill>
              <a:latin typeface="+mn-lt"/>
              <a:ea typeface="+mn-ea"/>
            </a:endParaRPr>
          </a:p>
        </p:txBody>
      </p:sp>
      <p:sp>
        <p:nvSpPr>
          <p:cNvPr id="132" name="Freeform 136">
            <a:extLst>
              <a:ext uri="{FF2B5EF4-FFF2-40B4-BE49-F238E27FC236}">
                <a16:creationId xmlns:a16="http://schemas.microsoft.com/office/drawing/2014/main" id="{7B8606C4-7057-46D7-B3E4-6110F4E8D87D}"/>
              </a:ext>
            </a:extLst>
          </p:cNvPr>
          <p:cNvSpPr>
            <a:spLocks/>
          </p:cNvSpPr>
          <p:nvPr/>
        </p:nvSpPr>
        <p:spPr bwMode="auto">
          <a:xfrm>
            <a:off x="5908675" y="2760663"/>
            <a:ext cx="314325" cy="566737"/>
          </a:xfrm>
          <a:custGeom>
            <a:avLst/>
            <a:gdLst>
              <a:gd name="T0" fmla="*/ 157161 w 144463"/>
              <a:gd name="T1" fmla="*/ 69114 h 260350"/>
              <a:gd name="T2" fmla="*/ 86352 w 144463"/>
              <a:gd name="T3" fmla="*/ 141685 h 260350"/>
              <a:gd name="T4" fmla="*/ 157161 w 144463"/>
              <a:gd name="T5" fmla="*/ 214256 h 260350"/>
              <a:gd name="T6" fmla="*/ 227971 w 144463"/>
              <a:gd name="T7" fmla="*/ 141685 h 260350"/>
              <a:gd name="T8" fmla="*/ 157161 w 144463"/>
              <a:gd name="T9" fmla="*/ 69114 h 260350"/>
              <a:gd name="T10" fmla="*/ 155199 w 144463"/>
              <a:gd name="T11" fmla="*/ 0 h 260350"/>
              <a:gd name="T12" fmla="*/ 161093 w 144463"/>
              <a:gd name="T13" fmla="*/ 0 h 260350"/>
              <a:gd name="T14" fmla="*/ 314325 w 144463"/>
              <a:gd name="T15" fmla="*/ 155460 h 260350"/>
              <a:gd name="T16" fmla="*/ 157164 w 144463"/>
              <a:gd name="T17" fmla="*/ 566737 h 260350"/>
              <a:gd name="T18" fmla="*/ 0 w 144463"/>
              <a:gd name="T19" fmla="*/ 155460 h 260350"/>
              <a:gd name="T20" fmla="*/ 155199 w 144463"/>
              <a:gd name="T21" fmla="*/ 0 h 26035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4463" h="260350">
                <a:moveTo>
                  <a:pt x="72231" y="31750"/>
                </a:moveTo>
                <a:cubicBezTo>
                  <a:pt x="54257" y="31750"/>
                  <a:pt x="39687" y="46676"/>
                  <a:pt x="39687" y="65088"/>
                </a:cubicBezTo>
                <a:cubicBezTo>
                  <a:pt x="39687" y="83500"/>
                  <a:pt x="54257" y="98426"/>
                  <a:pt x="72231" y="98426"/>
                </a:cubicBezTo>
                <a:cubicBezTo>
                  <a:pt x="90205" y="98426"/>
                  <a:pt x="104775" y="83500"/>
                  <a:pt x="104775" y="65088"/>
                </a:cubicBezTo>
                <a:cubicBezTo>
                  <a:pt x="104775" y="46676"/>
                  <a:pt x="90205" y="31750"/>
                  <a:pt x="72231" y="31750"/>
                </a:cubicBezTo>
                <a:close/>
                <a:moveTo>
                  <a:pt x="71329" y="0"/>
                </a:moveTo>
                <a:cubicBezTo>
                  <a:pt x="73135" y="0"/>
                  <a:pt x="73135" y="0"/>
                  <a:pt x="74038" y="0"/>
                </a:cubicBezTo>
                <a:cubicBezTo>
                  <a:pt x="112862" y="0"/>
                  <a:pt x="144463" y="32544"/>
                  <a:pt x="144463" y="71416"/>
                </a:cubicBezTo>
                <a:cubicBezTo>
                  <a:pt x="144463" y="109378"/>
                  <a:pt x="72253" y="260305"/>
                  <a:pt x="72232" y="260350"/>
                </a:cubicBezTo>
                <a:cubicBezTo>
                  <a:pt x="72232" y="260350"/>
                  <a:pt x="0" y="110287"/>
                  <a:pt x="0" y="71416"/>
                </a:cubicBezTo>
                <a:cubicBezTo>
                  <a:pt x="0" y="32544"/>
                  <a:pt x="31602" y="0"/>
                  <a:pt x="71329" y="0"/>
                </a:cubicBezTo>
                <a:close/>
              </a:path>
            </a:pathLst>
          </a:custGeom>
          <a:solidFill>
            <a:srgbClr val="C20F2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27660" name="文本框 56">
            <a:extLst>
              <a:ext uri="{FF2B5EF4-FFF2-40B4-BE49-F238E27FC236}">
                <a16:creationId xmlns:a16="http://schemas.microsoft.com/office/drawing/2014/main" id="{69714821-1F26-40CA-B357-EEC7D2AA6F45}"/>
              </a:ext>
            </a:extLst>
          </p:cNvPr>
          <p:cNvSpPr txBox="1">
            <a:spLocks noChangeArrowheads="1"/>
          </p:cNvSpPr>
          <p:nvPr/>
        </p:nvSpPr>
        <p:spPr bwMode="auto">
          <a:xfrm>
            <a:off x="1154113" y="566738"/>
            <a:ext cx="509587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00000"/>
              </a:lnSpc>
              <a:spcBef>
                <a:spcPct val="0"/>
              </a:spcBef>
              <a:buFontTx/>
              <a:buNone/>
            </a:pPr>
            <a:r>
              <a:rPr lang="en-US" altLang="zh-CN" sz="3200" b="1">
                <a:solidFill>
                  <a:srgbClr val="C20F2A"/>
                </a:solidFill>
                <a:latin typeface="Agency FB" panose="020B0503020202020204" pitchFamily="34" charset="0"/>
              </a:rPr>
              <a:t>CLICK TO ADD YOUR TITLE IN HERE</a:t>
            </a: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3" presetClass="entr" presetSubtype="16"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p:cTn id="7" dur="500" fill="hold"/>
                                        <p:tgtEl>
                                          <p:spTgt spid="20"/>
                                        </p:tgtEl>
                                        <p:attrNameLst>
                                          <p:attrName>ppt_w</p:attrName>
                                        </p:attrNameLst>
                                      </p:cBhvr>
                                      <p:tavLst>
                                        <p:tav tm="0">
                                          <p:val>
                                            <p:fltVal val="0"/>
                                          </p:val>
                                        </p:tav>
                                        <p:tav tm="100000">
                                          <p:val>
                                            <p:strVal val="#ppt_w"/>
                                          </p:val>
                                        </p:tav>
                                      </p:tavLst>
                                    </p:anim>
                                    <p:anim calcmode="lin" valueType="num">
                                      <p:cBhvr>
                                        <p:cTn id="8" dur="500" fill="hold"/>
                                        <p:tgtEl>
                                          <p:spTgt spid="20"/>
                                        </p:tgtEl>
                                        <p:attrNameLst>
                                          <p:attrName>ppt_h</p:attrName>
                                        </p:attrNameLst>
                                      </p:cBhvr>
                                      <p:tavLst>
                                        <p:tav tm="0">
                                          <p:val>
                                            <p:fltVal val="0"/>
                                          </p:val>
                                        </p:tav>
                                        <p:tav tm="100000">
                                          <p:val>
                                            <p:strVal val="#ppt_h"/>
                                          </p:val>
                                        </p:tav>
                                      </p:tavLst>
                                    </p:anim>
                                    <p:animEffect transition="in" filter="fade">
                                      <p:cBhvr>
                                        <p:cTn id="9" dur="500"/>
                                        <p:tgtEl>
                                          <p:spTgt spid="20"/>
                                        </p:tgtEl>
                                      </p:cBhvr>
                                    </p:animEffect>
                                  </p:childTnLst>
                                </p:cTn>
                              </p:par>
                            </p:childTnLst>
                          </p:cTn>
                        </p:par>
                        <p:par>
                          <p:cTn id="10" fill="hold" nodeType="afterGroup">
                            <p:stCondLst>
                              <p:cond delay="500"/>
                            </p:stCondLst>
                            <p:childTnLst>
                              <p:par>
                                <p:cTn id="11" presetID="47" presetClass="entr" presetSubtype="0" fill="hold" nodeType="afterEffect">
                                  <p:stCondLst>
                                    <p:cond delay="0"/>
                                  </p:stCondLst>
                                  <p:childTnLst>
                                    <p:set>
                                      <p:cBhvr>
                                        <p:cTn id="12" dur="1" fill="hold">
                                          <p:stCondLst>
                                            <p:cond delay="0"/>
                                          </p:stCondLst>
                                        </p:cTn>
                                        <p:tgtEl>
                                          <p:spTgt spid="132"/>
                                        </p:tgtEl>
                                        <p:attrNameLst>
                                          <p:attrName>style.visibility</p:attrName>
                                        </p:attrNameLst>
                                      </p:cBhvr>
                                      <p:to>
                                        <p:strVal val="visible"/>
                                      </p:to>
                                    </p:set>
                                    <p:animEffect transition="in" filter="fade">
                                      <p:cBhvr>
                                        <p:cTn id="13" dur="500"/>
                                        <p:tgtEl>
                                          <p:spTgt spid="132"/>
                                        </p:tgtEl>
                                      </p:cBhvr>
                                    </p:animEffect>
                                    <p:anim calcmode="lin" valueType="num">
                                      <p:cBhvr>
                                        <p:cTn id="14" dur="500" fill="hold"/>
                                        <p:tgtEl>
                                          <p:spTgt spid="132"/>
                                        </p:tgtEl>
                                        <p:attrNameLst>
                                          <p:attrName>ppt_x</p:attrName>
                                        </p:attrNameLst>
                                      </p:cBhvr>
                                      <p:tavLst>
                                        <p:tav tm="0">
                                          <p:val>
                                            <p:strVal val="#ppt_x"/>
                                          </p:val>
                                        </p:tav>
                                        <p:tav tm="100000">
                                          <p:val>
                                            <p:strVal val="#ppt_x"/>
                                          </p:val>
                                        </p:tav>
                                      </p:tavLst>
                                    </p:anim>
                                    <p:anim calcmode="lin" valueType="num">
                                      <p:cBhvr>
                                        <p:cTn id="15" dur="500" fill="hold"/>
                                        <p:tgtEl>
                                          <p:spTgt spid="132"/>
                                        </p:tgtEl>
                                        <p:attrNameLst>
                                          <p:attrName>ppt_y</p:attrName>
                                        </p:attrNameLst>
                                      </p:cBhvr>
                                      <p:tavLst>
                                        <p:tav tm="0">
                                          <p:val>
                                            <p:strVal val="#ppt_y-.1"/>
                                          </p:val>
                                        </p:tav>
                                        <p:tav tm="100000">
                                          <p:val>
                                            <p:strVal val="#ppt_y"/>
                                          </p:val>
                                        </p:tav>
                                      </p:tavLst>
                                    </p:anim>
                                  </p:childTnLst>
                                </p:cTn>
                              </p:par>
                            </p:childTnLst>
                          </p:cTn>
                        </p:par>
                        <p:par>
                          <p:cTn id="16" fill="hold" nodeType="afterGroup">
                            <p:stCondLst>
                              <p:cond delay="1000"/>
                            </p:stCondLst>
                            <p:childTnLst>
                              <p:par>
                                <p:cTn id="17" presetID="10" presetClass="entr" presetSubtype="0"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250"/>
                                        <p:tgtEl>
                                          <p:spTgt spid="16"/>
                                        </p:tgtEl>
                                      </p:cBhvr>
                                    </p:animEffect>
                                  </p:childTnLst>
                                </p:cTn>
                              </p:par>
                            </p:childTnLst>
                          </p:cTn>
                        </p:par>
                        <p:par>
                          <p:cTn id="20" fill="hold" nodeType="afterGroup">
                            <p:stCondLst>
                              <p:cond delay="1250"/>
                            </p:stCondLst>
                            <p:childTnLst>
                              <p:par>
                                <p:cTn id="21" presetID="22" presetClass="entr" presetSubtype="8" fill="hold" grpId="0" nodeType="afterEffect">
                                  <p:stCondLst>
                                    <p:cond delay="0"/>
                                  </p:stCondLst>
                                  <p:childTnLst>
                                    <p:set>
                                      <p:cBhvr>
                                        <p:cTn id="22" dur="1" fill="hold">
                                          <p:stCondLst>
                                            <p:cond delay="0"/>
                                          </p:stCondLst>
                                        </p:cTn>
                                        <p:tgtEl>
                                          <p:spTgt spid="128"/>
                                        </p:tgtEl>
                                        <p:attrNameLst>
                                          <p:attrName>style.visibility</p:attrName>
                                        </p:attrNameLst>
                                      </p:cBhvr>
                                      <p:to>
                                        <p:strVal val="visible"/>
                                      </p:to>
                                    </p:set>
                                    <p:animEffect transition="in" filter="wipe(left)">
                                      <p:cBhvr>
                                        <p:cTn id="23" dur="500"/>
                                        <p:tgtEl>
                                          <p:spTgt spid="128"/>
                                        </p:tgtEl>
                                      </p:cBhvr>
                                    </p:animEffect>
                                  </p:childTnLst>
                                </p:cTn>
                              </p:par>
                            </p:childTnLst>
                          </p:cTn>
                        </p:par>
                        <p:par>
                          <p:cTn id="24" fill="hold" nodeType="afterGroup">
                            <p:stCondLst>
                              <p:cond delay="1750"/>
                            </p:stCondLst>
                            <p:childTnLst>
                              <p:par>
                                <p:cTn id="25" presetID="10" presetClass="entr" presetSubtype="0" fill="hold" nodeType="after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250"/>
                                        <p:tgtEl>
                                          <p:spTgt spid="17"/>
                                        </p:tgtEl>
                                      </p:cBhvr>
                                    </p:animEffect>
                                  </p:childTnLst>
                                </p:cTn>
                              </p:par>
                            </p:childTnLst>
                          </p:cTn>
                        </p:par>
                        <p:par>
                          <p:cTn id="28" fill="hold" nodeType="afterGroup">
                            <p:stCondLst>
                              <p:cond delay="2000"/>
                            </p:stCondLst>
                            <p:childTnLst>
                              <p:par>
                                <p:cTn id="29" presetID="22" presetClass="entr" presetSubtype="8" fill="hold" grpId="0" nodeType="afterEffect">
                                  <p:stCondLst>
                                    <p:cond delay="0"/>
                                  </p:stCondLst>
                                  <p:childTnLst>
                                    <p:set>
                                      <p:cBhvr>
                                        <p:cTn id="30" dur="1" fill="hold">
                                          <p:stCondLst>
                                            <p:cond delay="0"/>
                                          </p:stCondLst>
                                        </p:cTn>
                                        <p:tgtEl>
                                          <p:spTgt spid="129"/>
                                        </p:tgtEl>
                                        <p:attrNameLst>
                                          <p:attrName>style.visibility</p:attrName>
                                        </p:attrNameLst>
                                      </p:cBhvr>
                                      <p:to>
                                        <p:strVal val="visible"/>
                                      </p:to>
                                    </p:set>
                                    <p:animEffect transition="in" filter="wipe(left)">
                                      <p:cBhvr>
                                        <p:cTn id="31" dur="500"/>
                                        <p:tgtEl>
                                          <p:spTgt spid="129"/>
                                        </p:tgtEl>
                                      </p:cBhvr>
                                    </p:animEffect>
                                  </p:childTnLst>
                                </p:cTn>
                              </p:par>
                            </p:childTnLst>
                          </p:cTn>
                        </p:par>
                        <p:par>
                          <p:cTn id="32" fill="hold" nodeType="afterGroup">
                            <p:stCondLst>
                              <p:cond delay="2500"/>
                            </p:stCondLst>
                            <p:childTnLst>
                              <p:par>
                                <p:cTn id="33" presetID="10" presetClass="entr" presetSubtype="0" fill="hold" nodeType="afterEffect">
                                  <p:stCondLst>
                                    <p:cond delay="0"/>
                                  </p:stCondLst>
                                  <p:childTnLst>
                                    <p:set>
                                      <p:cBhvr>
                                        <p:cTn id="34" dur="1" fill="hold">
                                          <p:stCondLst>
                                            <p:cond delay="0"/>
                                          </p:stCondLst>
                                        </p:cTn>
                                        <p:tgtEl>
                                          <p:spTgt spid="18"/>
                                        </p:tgtEl>
                                        <p:attrNameLst>
                                          <p:attrName>style.visibility</p:attrName>
                                        </p:attrNameLst>
                                      </p:cBhvr>
                                      <p:to>
                                        <p:strVal val="visible"/>
                                      </p:to>
                                    </p:set>
                                    <p:animEffect transition="in" filter="fade">
                                      <p:cBhvr>
                                        <p:cTn id="35" dur="250"/>
                                        <p:tgtEl>
                                          <p:spTgt spid="18"/>
                                        </p:tgtEl>
                                      </p:cBhvr>
                                    </p:animEffect>
                                  </p:childTnLst>
                                </p:cTn>
                              </p:par>
                            </p:childTnLst>
                          </p:cTn>
                        </p:par>
                        <p:par>
                          <p:cTn id="36" fill="hold" nodeType="afterGroup">
                            <p:stCondLst>
                              <p:cond delay="2750"/>
                            </p:stCondLst>
                            <p:childTnLst>
                              <p:par>
                                <p:cTn id="37" presetID="22" presetClass="entr" presetSubtype="8" fill="hold" grpId="0" nodeType="afterEffect">
                                  <p:stCondLst>
                                    <p:cond delay="0"/>
                                  </p:stCondLst>
                                  <p:childTnLst>
                                    <p:set>
                                      <p:cBhvr>
                                        <p:cTn id="38" dur="1" fill="hold">
                                          <p:stCondLst>
                                            <p:cond delay="0"/>
                                          </p:stCondLst>
                                        </p:cTn>
                                        <p:tgtEl>
                                          <p:spTgt spid="130"/>
                                        </p:tgtEl>
                                        <p:attrNameLst>
                                          <p:attrName>style.visibility</p:attrName>
                                        </p:attrNameLst>
                                      </p:cBhvr>
                                      <p:to>
                                        <p:strVal val="visible"/>
                                      </p:to>
                                    </p:set>
                                    <p:animEffect transition="in" filter="wipe(left)">
                                      <p:cBhvr>
                                        <p:cTn id="39" dur="500"/>
                                        <p:tgtEl>
                                          <p:spTgt spid="130"/>
                                        </p:tgtEl>
                                      </p:cBhvr>
                                    </p:animEffect>
                                  </p:childTnLst>
                                </p:cTn>
                              </p:par>
                            </p:childTnLst>
                          </p:cTn>
                        </p:par>
                        <p:par>
                          <p:cTn id="40" fill="hold" nodeType="afterGroup">
                            <p:stCondLst>
                              <p:cond delay="3250"/>
                            </p:stCondLst>
                            <p:childTnLst>
                              <p:par>
                                <p:cTn id="41" presetID="10" presetClass="entr" presetSubtype="0" fill="hold" nodeType="afterEffect">
                                  <p:stCondLst>
                                    <p:cond delay="0"/>
                                  </p:stCondLst>
                                  <p:childTnLst>
                                    <p:set>
                                      <p:cBhvr>
                                        <p:cTn id="42" dur="1" fill="hold">
                                          <p:stCondLst>
                                            <p:cond delay="0"/>
                                          </p:stCondLst>
                                        </p:cTn>
                                        <p:tgtEl>
                                          <p:spTgt spid="19"/>
                                        </p:tgtEl>
                                        <p:attrNameLst>
                                          <p:attrName>style.visibility</p:attrName>
                                        </p:attrNameLst>
                                      </p:cBhvr>
                                      <p:to>
                                        <p:strVal val="visible"/>
                                      </p:to>
                                    </p:set>
                                    <p:animEffect transition="in" filter="fade">
                                      <p:cBhvr>
                                        <p:cTn id="43" dur="250"/>
                                        <p:tgtEl>
                                          <p:spTgt spid="19"/>
                                        </p:tgtEl>
                                      </p:cBhvr>
                                    </p:animEffect>
                                  </p:childTnLst>
                                </p:cTn>
                              </p:par>
                            </p:childTnLst>
                          </p:cTn>
                        </p:par>
                        <p:par>
                          <p:cTn id="44" fill="hold" nodeType="afterGroup">
                            <p:stCondLst>
                              <p:cond delay="3500"/>
                            </p:stCondLst>
                            <p:childTnLst>
                              <p:par>
                                <p:cTn id="45" presetID="22" presetClass="entr" presetSubtype="8" fill="hold" grpId="0" nodeType="afterEffect">
                                  <p:stCondLst>
                                    <p:cond delay="0"/>
                                  </p:stCondLst>
                                  <p:childTnLst>
                                    <p:set>
                                      <p:cBhvr>
                                        <p:cTn id="46" dur="1" fill="hold">
                                          <p:stCondLst>
                                            <p:cond delay="0"/>
                                          </p:stCondLst>
                                        </p:cTn>
                                        <p:tgtEl>
                                          <p:spTgt spid="131"/>
                                        </p:tgtEl>
                                        <p:attrNameLst>
                                          <p:attrName>style.visibility</p:attrName>
                                        </p:attrNameLst>
                                      </p:cBhvr>
                                      <p:to>
                                        <p:strVal val="visible"/>
                                      </p:to>
                                    </p:set>
                                    <p:animEffect transition="in" filter="wipe(left)">
                                      <p:cBhvr>
                                        <p:cTn id="47" dur="500"/>
                                        <p:tgtEl>
                                          <p:spTgt spid="1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8" grpId="0"/>
      <p:bldP spid="129" grpId="0"/>
      <p:bldP spid="130" grpId="0"/>
      <p:bldP spid="131"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9" name="Picture 5" descr="D:\Users\zyf\Desktop\红色三条直折箭头 拷贝.png">
            <a:extLst>
              <a:ext uri="{FF2B5EF4-FFF2-40B4-BE49-F238E27FC236}">
                <a16:creationId xmlns:a16="http://schemas.microsoft.com/office/drawing/2014/main" id="{A5470E9A-677E-4159-9F39-68961C865F9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35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8" name="Picture 4" descr="D:\Users\zyf\Desktop\背景箭头.png">
            <a:extLst>
              <a:ext uri="{FF2B5EF4-FFF2-40B4-BE49-F238E27FC236}">
                <a16:creationId xmlns:a16="http://schemas.microsoft.com/office/drawing/2014/main" id="{2C52F2F6-A7E5-4D0A-A5FD-370FA50B223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1831" r="20399" b="9270"/>
          <a:stretch>
            <a:fillRect/>
          </a:stretch>
        </p:blipFill>
        <p:spPr bwMode="auto">
          <a:xfrm>
            <a:off x="2573338" y="0"/>
            <a:ext cx="7045325" cy="715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3" descr="D:\Users\zyf\Desktop\箭头.png">
            <a:extLst>
              <a:ext uri="{FF2B5EF4-FFF2-40B4-BE49-F238E27FC236}">
                <a16:creationId xmlns:a16="http://schemas.microsoft.com/office/drawing/2014/main" id="{66ED551B-A1AB-4930-A132-23193AA8FF7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67050" y="431800"/>
            <a:ext cx="6057900" cy="642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6" descr="D:\Users\zyf\Desktop\红色三条直折箭头 拷贝.png">
            <a:extLst>
              <a:ext uri="{FF2B5EF4-FFF2-40B4-BE49-F238E27FC236}">
                <a16:creationId xmlns:a16="http://schemas.microsoft.com/office/drawing/2014/main" id="{ABC6C633-5F22-49AF-A23B-FCCF0CB6D80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646113"/>
            <a:ext cx="12193588" cy="534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a:extLst>
              <a:ext uri="{FF2B5EF4-FFF2-40B4-BE49-F238E27FC236}">
                <a16:creationId xmlns:a16="http://schemas.microsoft.com/office/drawing/2014/main" id="{19139087-9712-4B6F-87C2-791104800B3F}"/>
              </a:ext>
            </a:extLst>
          </p:cNvPr>
          <p:cNvSpPr txBox="1"/>
          <p:nvPr/>
        </p:nvSpPr>
        <p:spPr>
          <a:xfrm>
            <a:off x="580708" y="2228671"/>
            <a:ext cx="11030584" cy="1200329"/>
          </a:xfrm>
          <a:prstGeom prst="rect">
            <a:avLst/>
          </a:prstGeom>
          <a:noFill/>
          <a:scene3d>
            <a:camera prst="perspectiveFront" fov="300000"/>
            <a:lightRig rig="threePt" dir="t"/>
          </a:scene3d>
          <a:sp3d extrusionH="247650"/>
        </p:spPr>
        <p:txBody>
          <a:bodyPr wrap="none">
            <a:spAutoFit/>
            <a:sp3d extrusionH="508000">
              <a:bevelT w="50800" h="50800"/>
            </a:sp3d>
          </a:bodyPr>
          <a:lstStyle/>
          <a:p>
            <a:pPr eaLnBrk="1" fontAlgn="auto" hangingPunct="1">
              <a:spcBef>
                <a:spcPts val="0"/>
              </a:spcBef>
              <a:spcAft>
                <a:spcPts val="0"/>
              </a:spcAft>
              <a:defRPr/>
            </a:pPr>
            <a:r>
              <a:rPr lang="en-US" altLang="zh-CN" sz="7200" b="1" dirty="0">
                <a:solidFill>
                  <a:srgbClr val="DDB34E"/>
                </a:solidFill>
                <a:latin typeface="Aharoni" pitchFamily="2" charset="-79"/>
                <a:ea typeface="+mn-ea"/>
                <a:cs typeface="Aharoni" pitchFamily="2" charset="-79"/>
              </a:rPr>
              <a:t>THANKS FOR YOUR TIME</a:t>
            </a:r>
            <a:endParaRPr lang="zh-CN" altLang="en-US" sz="7200" b="1" dirty="0">
              <a:solidFill>
                <a:srgbClr val="DDB34E"/>
              </a:solidFill>
              <a:latin typeface="Aharoni" pitchFamily="2" charset="-79"/>
              <a:ea typeface="+mn-ea"/>
              <a:cs typeface="Aharoni" pitchFamily="2" charset="-79"/>
            </a:endParaRPr>
          </a:p>
        </p:txBody>
      </p:sp>
      <p:sp>
        <p:nvSpPr>
          <p:cNvPr id="6" name="TextBox 5">
            <a:extLst>
              <a:ext uri="{FF2B5EF4-FFF2-40B4-BE49-F238E27FC236}">
                <a16:creationId xmlns:a16="http://schemas.microsoft.com/office/drawing/2014/main" id="{613EA4F2-327E-4907-A552-F368B2DE88DC}"/>
              </a:ext>
            </a:extLst>
          </p:cNvPr>
          <p:cNvSpPr txBox="1"/>
          <p:nvPr/>
        </p:nvSpPr>
        <p:spPr>
          <a:xfrm>
            <a:off x="3067050" y="3221154"/>
            <a:ext cx="6269665" cy="707886"/>
          </a:xfrm>
          <a:prstGeom prst="rect">
            <a:avLst/>
          </a:prstGeom>
          <a:noFill/>
          <a:scene3d>
            <a:camera prst="perspectiveFront" fov="300000"/>
            <a:lightRig rig="threePt" dir="t"/>
          </a:scene3d>
          <a:sp3d extrusionH="247650"/>
        </p:spPr>
        <p:txBody>
          <a:bodyPr wrap="none">
            <a:spAutoFit/>
            <a:sp3d extrusionH="508000">
              <a:bevelT w="50800" h="50800"/>
            </a:sp3d>
          </a:bodyPr>
          <a:lstStyle/>
          <a:p>
            <a:pPr eaLnBrk="1" fontAlgn="auto" hangingPunct="1">
              <a:spcBef>
                <a:spcPts val="0"/>
              </a:spcBef>
              <a:spcAft>
                <a:spcPts val="0"/>
              </a:spcAft>
              <a:defRPr/>
            </a:pPr>
            <a:r>
              <a:rPr lang="en-US" altLang="zh-CN" sz="4000" b="1" dirty="0">
                <a:solidFill>
                  <a:srgbClr val="DDB34E"/>
                </a:solidFill>
                <a:latin typeface="Aharoni" pitchFamily="2" charset="-79"/>
                <a:ea typeface="+mn-ea"/>
                <a:cs typeface="Aharoni" pitchFamily="2" charset="-79"/>
              </a:rPr>
              <a:t>PRESENTATION  SUBTITLE</a:t>
            </a:r>
            <a:endParaRPr lang="zh-CN" altLang="en-US" sz="4000" b="1" dirty="0">
              <a:solidFill>
                <a:srgbClr val="DDB34E"/>
              </a:solidFill>
              <a:latin typeface="Aharoni" pitchFamily="2" charset="-79"/>
              <a:ea typeface="+mn-ea"/>
              <a:cs typeface="Aharoni" pitchFamily="2" charset="-79"/>
            </a:endParaRPr>
          </a:p>
        </p:txBody>
      </p:sp>
    </p:spTree>
  </p:cSld>
  <p:clrMapOvr>
    <a:masterClrMapping/>
  </p:clrMapOvr>
  <p:transition spd="slow">
    <p:blinds dir="vert"/>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4" fill="hold" nodeType="withEffect">
                                  <p:stCondLst>
                                    <p:cond delay="0"/>
                                  </p:stCondLst>
                                  <p:childTnLst>
                                    <p:set>
                                      <p:cBhvr>
                                        <p:cTn id="6" dur="1" fill="hold">
                                          <p:stCondLst>
                                            <p:cond delay="0"/>
                                          </p:stCondLst>
                                        </p:cTn>
                                        <p:tgtEl>
                                          <p:spTgt spid="1027"/>
                                        </p:tgtEl>
                                        <p:attrNameLst>
                                          <p:attrName>style.visibility</p:attrName>
                                        </p:attrNameLst>
                                      </p:cBhvr>
                                      <p:to>
                                        <p:strVal val="visible"/>
                                      </p:to>
                                    </p:set>
                                    <p:animEffect transition="in" filter="wipe(down)">
                                      <p:cBhvr>
                                        <p:cTn id="7" dur="500"/>
                                        <p:tgtEl>
                                          <p:spTgt spid="1027"/>
                                        </p:tgtEl>
                                      </p:cBhvr>
                                    </p:animEffect>
                                  </p:childTnLst>
                                </p:cTn>
                              </p:par>
                              <p:par>
                                <p:cTn id="8" presetID="22" presetClass="entr" presetSubtype="4" fill="hold" nodeType="withEffect">
                                  <p:stCondLst>
                                    <p:cond delay="0"/>
                                  </p:stCondLst>
                                  <p:childTnLst>
                                    <p:set>
                                      <p:cBhvr>
                                        <p:cTn id="9" dur="1" fill="hold">
                                          <p:stCondLst>
                                            <p:cond delay="0"/>
                                          </p:stCondLst>
                                        </p:cTn>
                                        <p:tgtEl>
                                          <p:spTgt spid="1029"/>
                                        </p:tgtEl>
                                        <p:attrNameLst>
                                          <p:attrName>style.visibility</p:attrName>
                                        </p:attrNameLst>
                                      </p:cBhvr>
                                      <p:to>
                                        <p:strVal val="visible"/>
                                      </p:to>
                                    </p:set>
                                    <p:animEffect transition="in" filter="wipe(down)">
                                      <p:cBhvr>
                                        <p:cTn id="10" dur="500"/>
                                        <p:tgtEl>
                                          <p:spTgt spid="1029"/>
                                        </p:tgtEl>
                                      </p:cBhvr>
                                    </p:animEffect>
                                  </p:childTnLst>
                                </p:cTn>
                              </p:par>
                            </p:childTnLst>
                          </p:cTn>
                        </p:par>
                        <p:par>
                          <p:cTn id="11" fill="hold" nodeType="afterGroup">
                            <p:stCondLst>
                              <p:cond delay="500"/>
                            </p:stCondLst>
                            <p:childTnLst>
                              <p:par>
                                <p:cTn id="12" presetID="22" presetClass="entr" presetSubtype="4" fill="hold" nodeType="afterEffect">
                                  <p:stCondLst>
                                    <p:cond delay="0"/>
                                  </p:stCondLst>
                                  <p:childTnLst>
                                    <p:set>
                                      <p:cBhvr>
                                        <p:cTn id="13" dur="1" fill="hold">
                                          <p:stCondLst>
                                            <p:cond delay="0"/>
                                          </p:stCondLst>
                                        </p:cTn>
                                        <p:tgtEl>
                                          <p:spTgt spid="1028"/>
                                        </p:tgtEl>
                                        <p:attrNameLst>
                                          <p:attrName>style.visibility</p:attrName>
                                        </p:attrNameLst>
                                      </p:cBhvr>
                                      <p:to>
                                        <p:strVal val="visible"/>
                                      </p:to>
                                    </p:set>
                                    <p:animEffect transition="in" filter="wipe(down)">
                                      <p:cBhvr>
                                        <p:cTn id="14" dur="500"/>
                                        <p:tgtEl>
                                          <p:spTgt spid="1028"/>
                                        </p:tgtEl>
                                      </p:cBhvr>
                                    </p:animEffect>
                                  </p:childTnLst>
                                </p:cTn>
                              </p:par>
                            </p:childTnLst>
                          </p:cTn>
                        </p:par>
                        <p:par>
                          <p:cTn id="15" fill="hold" nodeType="afterGroup">
                            <p:stCondLst>
                              <p:cond delay="1000"/>
                            </p:stCondLst>
                            <p:childTnLst>
                              <p:par>
                                <p:cTn id="16" presetID="22" presetClass="entr" presetSubtype="8" fill="hold" nodeType="afterEffect">
                                  <p:stCondLst>
                                    <p:cond delay="0"/>
                                  </p:stCondLst>
                                  <p:childTnLst>
                                    <p:set>
                                      <p:cBhvr>
                                        <p:cTn id="17" dur="1" fill="hold">
                                          <p:stCondLst>
                                            <p:cond delay="0"/>
                                          </p:stCondLst>
                                        </p:cTn>
                                        <p:tgtEl>
                                          <p:spTgt spid="1030"/>
                                        </p:tgtEl>
                                        <p:attrNameLst>
                                          <p:attrName>style.visibility</p:attrName>
                                        </p:attrNameLst>
                                      </p:cBhvr>
                                      <p:to>
                                        <p:strVal val="visible"/>
                                      </p:to>
                                    </p:set>
                                    <p:animEffect transition="in" filter="wipe(left)">
                                      <p:cBhvr>
                                        <p:cTn id="18" dur="500"/>
                                        <p:tgtEl>
                                          <p:spTgt spid="1030"/>
                                        </p:tgtEl>
                                      </p:cBhvr>
                                    </p:animEffect>
                                  </p:childTnLst>
                                </p:cTn>
                              </p:par>
                            </p:childTnLst>
                          </p:cTn>
                        </p:par>
                        <p:par>
                          <p:cTn id="19" fill="hold" nodeType="afterGroup">
                            <p:stCondLst>
                              <p:cond delay="1500"/>
                            </p:stCondLst>
                            <p:childTnLst>
                              <p:par>
                                <p:cTn id="20" presetID="10" presetClass="entr" presetSubtype="0" fill="hold" nodeType="after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par>
                          <p:cTn id="23" fill="hold" nodeType="afterGroup">
                            <p:stCondLst>
                              <p:cond delay="2000"/>
                            </p:stCondLst>
                            <p:childTnLst>
                              <p:par>
                                <p:cTn id="24" presetID="10" presetClass="entr" presetSubtype="0" fill="hold" nodeType="afterEffect">
                                  <p:stCondLst>
                                    <p:cond delay="0"/>
                                  </p:stCondLst>
                                  <p:childTnLst>
                                    <p:set>
                                      <p:cBhvr>
                                        <p:cTn id="25" dur="1" fill="hold">
                                          <p:stCondLst>
                                            <p:cond delay="0"/>
                                          </p:stCondLst>
                                        </p:cTn>
                                        <p:tgtEl>
                                          <p:spTgt spid="6"/>
                                        </p:tgtEl>
                                        <p:attrNameLst>
                                          <p:attrName>style.visibility</p:attrName>
                                        </p:attrNameLst>
                                      </p:cBhvr>
                                      <p:to>
                                        <p:strVal val="visible"/>
                                      </p:to>
                                    </p:set>
                                    <p:animEffect transition="in" filter="fade">
                                      <p:cBhvr>
                                        <p:cTn id="2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C20F2A"/>
        </a:solidFill>
        <a:effectLst/>
      </p:bgPr>
    </p:bg>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50057E45-75F4-49F3-B5CC-D96B9EF3F731}"/>
              </a:ext>
            </a:extLst>
          </p:cNvPr>
          <p:cNvSpPr txBox="1">
            <a:spLocks noChangeArrowheads="1"/>
          </p:cNvSpPr>
          <p:nvPr/>
        </p:nvSpPr>
        <p:spPr bwMode="auto">
          <a:xfrm>
            <a:off x="1314450" y="2419350"/>
            <a:ext cx="1677988" cy="264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r" eaLnBrk="1" hangingPunct="1">
              <a:lnSpc>
                <a:spcPct val="100000"/>
              </a:lnSpc>
              <a:spcBef>
                <a:spcPct val="0"/>
              </a:spcBef>
              <a:buFontTx/>
              <a:buNone/>
            </a:pPr>
            <a:r>
              <a:rPr lang="en-US" altLang="zh-CN" sz="16600" b="1">
                <a:solidFill>
                  <a:srgbClr val="292929"/>
                </a:solidFill>
                <a:latin typeface="Agency FB" panose="020B0503020202020204" pitchFamily="34" charset="0"/>
              </a:rPr>
              <a:t>01</a:t>
            </a:r>
            <a:endParaRPr lang="zh-CN" altLang="en-US" sz="16600" b="1">
              <a:solidFill>
                <a:srgbClr val="292929"/>
              </a:solidFill>
              <a:latin typeface="Agency FB" panose="020B0503020202020204" pitchFamily="34" charset="0"/>
            </a:endParaRPr>
          </a:p>
        </p:txBody>
      </p:sp>
      <p:cxnSp>
        <p:nvCxnSpPr>
          <p:cNvPr id="4" name="直接连接符 3">
            <a:extLst>
              <a:ext uri="{FF2B5EF4-FFF2-40B4-BE49-F238E27FC236}">
                <a16:creationId xmlns:a16="http://schemas.microsoft.com/office/drawing/2014/main" id="{61ECC3A7-2448-4977-86A3-554588699DB8}"/>
              </a:ext>
            </a:extLst>
          </p:cNvPr>
          <p:cNvCxnSpPr/>
          <p:nvPr/>
        </p:nvCxnSpPr>
        <p:spPr>
          <a:xfrm>
            <a:off x="3009900" y="2638425"/>
            <a:ext cx="0" cy="2208213"/>
          </a:xfrm>
          <a:prstGeom prst="line">
            <a:avLst/>
          </a:prstGeom>
          <a:ln w="38100">
            <a:solidFill>
              <a:schemeClr val="bg1">
                <a:alpha val="36000"/>
              </a:schemeClr>
            </a:solidFill>
          </a:ln>
        </p:spPr>
        <p:style>
          <a:lnRef idx="1">
            <a:schemeClr val="accent1"/>
          </a:lnRef>
          <a:fillRef idx="0">
            <a:schemeClr val="accent1"/>
          </a:fillRef>
          <a:effectRef idx="0">
            <a:schemeClr val="accent1"/>
          </a:effectRef>
          <a:fontRef idx="minor">
            <a:schemeClr val="tx1"/>
          </a:fontRef>
        </p:style>
      </p:cxnSp>
      <p:sp>
        <p:nvSpPr>
          <p:cNvPr id="5" name="文本框 56">
            <a:extLst>
              <a:ext uri="{FF2B5EF4-FFF2-40B4-BE49-F238E27FC236}">
                <a16:creationId xmlns:a16="http://schemas.microsoft.com/office/drawing/2014/main" id="{1BFFAA51-CFBC-4E87-BCCA-BEA25F8F09EA}"/>
              </a:ext>
            </a:extLst>
          </p:cNvPr>
          <p:cNvSpPr txBox="1">
            <a:spLocks noChangeArrowheads="1"/>
          </p:cNvSpPr>
          <p:nvPr/>
        </p:nvSpPr>
        <p:spPr bwMode="auto">
          <a:xfrm>
            <a:off x="3181350" y="2819400"/>
            <a:ext cx="6362700"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sz="5400" b="1">
                <a:solidFill>
                  <a:srgbClr val="292929"/>
                </a:solidFill>
                <a:latin typeface="Agency FB" panose="020B0503020202020204" pitchFamily="34" charset="0"/>
              </a:rPr>
              <a:t>CLICK TO ADD YOUR TITLE</a:t>
            </a:r>
          </a:p>
        </p:txBody>
      </p:sp>
      <p:sp>
        <p:nvSpPr>
          <p:cNvPr id="6" name="文本框 56">
            <a:extLst>
              <a:ext uri="{FF2B5EF4-FFF2-40B4-BE49-F238E27FC236}">
                <a16:creationId xmlns:a16="http://schemas.microsoft.com/office/drawing/2014/main" id="{4B394810-F3A8-4D34-A069-7035EB79FC2F}"/>
              </a:ext>
            </a:extLst>
          </p:cNvPr>
          <p:cNvSpPr txBox="1">
            <a:spLocks noChangeArrowheads="1"/>
          </p:cNvSpPr>
          <p:nvPr/>
        </p:nvSpPr>
        <p:spPr bwMode="auto">
          <a:xfrm>
            <a:off x="3181350" y="3756025"/>
            <a:ext cx="6265863"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sz="1600">
                <a:solidFill>
                  <a:srgbClr val="292929"/>
                </a:solidFill>
              </a:rPr>
              <a:t>click to add subtitle click to add subtitle click to add subtitle click to add subtitle  click to add subtitle click to add subtitle click to add subtitle click to add subtitle  click to add subtitle click to add subtitle</a:t>
            </a:r>
            <a:endParaRPr lang="zh-CN" altLang="en-US" sz="1600">
              <a:solidFill>
                <a:srgbClr val="292929"/>
              </a:solidFill>
            </a:endParaRPr>
          </a:p>
        </p:txBody>
      </p:sp>
    </p:spTree>
  </p:cSld>
  <p:clrMapOvr>
    <a:masterClrMapping/>
  </p:clrMapOvr>
  <p:transition spd="slow">
    <p:blinds dir="vert"/>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nodeType="afterGroup">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nodeType="afterGroup">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nodeType="afterGroup">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bldP spid="6"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D:\Users\zyf\Desktop\常用\背景 花纹 图片\锐普提供 商务图片3.26\商务326 (50).jpg">
            <a:extLst>
              <a:ext uri="{FF2B5EF4-FFF2-40B4-BE49-F238E27FC236}">
                <a16:creationId xmlns:a16="http://schemas.microsoft.com/office/drawing/2014/main" id="{29A258EC-1903-48EF-B351-63A21EE6934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3867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矩形 1">
            <a:extLst>
              <a:ext uri="{FF2B5EF4-FFF2-40B4-BE49-F238E27FC236}">
                <a16:creationId xmlns:a16="http://schemas.microsoft.com/office/drawing/2014/main" id="{1C6AF5E1-B298-45CA-9DEC-EDD879C3C6AA}"/>
              </a:ext>
            </a:extLst>
          </p:cNvPr>
          <p:cNvSpPr/>
          <p:nvPr/>
        </p:nvSpPr>
        <p:spPr>
          <a:xfrm>
            <a:off x="0" y="0"/>
            <a:ext cx="12192000" cy="3867150"/>
          </a:xfrm>
          <a:prstGeom prst="rect">
            <a:avLst/>
          </a:prstGeom>
          <a:solidFill>
            <a:srgbClr val="292929">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pic>
        <p:nvPicPr>
          <p:cNvPr id="2051" name="Picture 3" descr="D:\Users\zyf\Desktop\常用\背景 花纹 图片\锐普提供 商务图片3.26\商务326 (17).png">
            <a:extLst>
              <a:ext uri="{FF2B5EF4-FFF2-40B4-BE49-F238E27FC236}">
                <a16:creationId xmlns:a16="http://schemas.microsoft.com/office/drawing/2014/main" id="{8E9E005D-39E0-4B82-B5CD-A8624CD7314D}"/>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69" b="669"/>
          <a:stretch/>
        </p:blipFill>
        <p:spPr bwMode="auto">
          <a:xfrm>
            <a:off x="5128985" y="777983"/>
            <a:ext cx="1934031" cy="1934031"/>
          </a:xfrm>
          <a:prstGeom prst="ellipse">
            <a:avLst/>
          </a:prstGeom>
          <a:noFill/>
          <a:extLst>
            <a:ext uri="{909E8E84-426E-40DD-AFC4-6F175D3DCCD1}">
              <a14:hiddenFill xmlns:a14="http://schemas.microsoft.com/office/drawing/2010/main">
                <a:solidFill>
                  <a:srgbClr val="FFFFFF"/>
                </a:solidFill>
              </a14:hiddenFill>
            </a:ext>
          </a:extLst>
        </p:spPr>
      </p:pic>
      <p:pic>
        <p:nvPicPr>
          <p:cNvPr id="2052" name="Picture 4" descr="D:\Users\zyf\Desktop\常用\背景 花纹 图片\锐普提供 商务图片3.26\商务326 (14).jpg">
            <a:extLst>
              <a:ext uri="{FF2B5EF4-FFF2-40B4-BE49-F238E27FC236}">
                <a16:creationId xmlns:a16="http://schemas.microsoft.com/office/drawing/2014/main" id="{77EF1B59-92F3-4751-8705-CE1F2B171499}"/>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1623842" y="777983"/>
            <a:ext cx="1934031" cy="1934031"/>
          </a:xfrm>
          <a:prstGeom prst="ellipse">
            <a:avLst/>
          </a:prstGeom>
          <a:noFill/>
          <a:extLst>
            <a:ext uri="{909E8E84-426E-40DD-AFC4-6F175D3DCCD1}">
              <a14:hiddenFill xmlns:a14="http://schemas.microsoft.com/office/drawing/2010/main">
                <a:solidFill>
                  <a:srgbClr val="FFFFFF"/>
                </a:solidFill>
              </a14:hiddenFill>
            </a:ext>
          </a:extLst>
        </p:spPr>
      </p:pic>
      <p:pic>
        <p:nvPicPr>
          <p:cNvPr id="2053" name="Picture 5" descr="D:\Users\zyf\Desktop\常用\背景 花纹 图片\锐普提供 商务图片3.26\商务326 (16).jpg">
            <a:extLst>
              <a:ext uri="{FF2B5EF4-FFF2-40B4-BE49-F238E27FC236}">
                <a16:creationId xmlns:a16="http://schemas.microsoft.com/office/drawing/2014/main" id="{6FB012D4-C186-4463-9B54-603A419DD985}"/>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8634127" y="777983"/>
            <a:ext cx="1934031" cy="1934031"/>
          </a:xfrm>
          <a:prstGeom prst="ellipse">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6E01FE07-A509-4D80-B2C7-917E09A3D60A}"/>
              </a:ext>
            </a:extLst>
          </p:cNvPr>
          <p:cNvSpPr txBox="1">
            <a:spLocks noChangeArrowheads="1"/>
          </p:cNvSpPr>
          <p:nvPr/>
        </p:nvSpPr>
        <p:spPr bwMode="auto">
          <a:xfrm>
            <a:off x="1905000" y="2967038"/>
            <a:ext cx="1371600"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sz="3600">
                <a:solidFill>
                  <a:schemeClr val="bg1"/>
                </a:solidFill>
              </a:rPr>
              <a:t>NAME</a:t>
            </a:r>
            <a:endParaRPr lang="zh-CN" altLang="en-US" sz="3600">
              <a:solidFill>
                <a:schemeClr val="bg1"/>
              </a:solidFill>
            </a:endParaRPr>
          </a:p>
        </p:txBody>
      </p:sp>
      <p:sp>
        <p:nvSpPr>
          <p:cNvPr id="9" name="TextBox 8">
            <a:extLst>
              <a:ext uri="{FF2B5EF4-FFF2-40B4-BE49-F238E27FC236}">
                <a16:creationId xmlns:a16="http://schemas.microsoft.com/office/drawing/2014/main" id="{23D42CA2-DC0E-47CB-BC94-443451728299}"/>
              </a:ext>
            </a:extLst>
          </p:cNvPr>
          <p:cNvSpPr txBox="1">
            <a:spLocks noChangeArrowheads="1"/>
          </p:cNvSpPr>
          <p:nvPr/>
        </p:nvSpPr>
        <p:spPr bwMode="auto">
          <a:xfrm>
            <a:off x="5410200" y="2967038"/>
            <a:ext cx="1371600"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sz="3600">
                <a:solidFill>
                  <a:schemeClr val="bg1"/>
                </a:solidFill>
              </a:rPr>
              <a:t>NAME</a:t>
            </a:r>
            <a:endParaRPr lang="zh-CN" altLang="en-US" sz="3600">
              <a:solidFill>
                <a:schemeClr val="bg1"/>
              </a:solidFill>
            </a:endParaRPr>
          </a:p>
        </p:txBody>
      </p:sp>
      <p:sp>
        <p:nvSpPr>
          <p:cNvPr id="10" name="TextBox 9">
            <a:extLst>
              <a:ext uri="{FF2B5EF4-FFF2-40B4-BE49-F238E27FC236}">
                <a16:creationId xmlns:a16="http://schemas.microsoft.com/office/drawing/2014/main" id="{903968AB-E8AB-477C-99CA-79DADFE20DD6}"/>
              </a:ext>
            </a:extLst>
          </p:cNvPr>
          <p:cNvSpPr txBox="1">
            <a:spLocks noChangeArrowheads="1"/>
          </p:cNvSpPr>
          <p:nvPr/>
        </p:nvSpPr>
        <p:spPr bwMode="auto">
          <a:xfrm>
            <a:off x="8915400" y="2967038"/>
            <a:ext cx="1371600"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sz="3600">
                <a:solidFill>
                  <a:schemeClr val="bg1"/>
                </a:solidFill>
              </a:rPr>
              <a:t>NAME</a:t>
            </a:r>
            <a:endParaRPr lang="zh-CN" altLang="en-US" sz="3600">
              <a:solidFill>
                <a:schemeClr val="bg1"/>
              </a:solidFill>
            </a:endParaRPr>
          </a:p>
        </p:txBody>
      </p:sp>
      <p:sp>
        <p:nvSpPr>
          <p:cNvPr id="11" name="文本框 56">
            <a:extLst>
              <a:ext uri="{FF2B5EF4-FFF2-40B4-BE49-F238E27FC236}">
                <a16:creationId xmlns:a16="http://schemas.microsoft.com/office/drawing/2014/main" id="{071A49B9-EB3A-4AC8-9134-F92D85169D85}"/>
              </a:ext>
            </a:extLst>
          </p:cNvPr>
          <p:cNvSpPr txBox="1"/>
          <p:nvPr/>
        </p:nvSpPr>
        <p:spPr>
          <a:xfrm>
            <a:off x="1565275" y="4254500"/>
            <a:ext cx="2051050" cy="1846263"/>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ctr" eaLnBrk="1" fontAlgn="auto" hangingPunct="1">
              <a:lnSpc>
                <a:spcPct val="100000"/>
              </a:lnSpc>
              <a:spcBef>
                <a:spcPts val="0"/>
              </a:spcBef>
              <a:spcAft>
                <a:spcPts val="0"/>
              </a:spcAft>
              <a:defRPr/>
            </a:pPr>
            <a:r>
              <a:rPr lang="en-US" altLang="zh-CN" sz="2400" dirty="0">
                <a:solidFill>
                  <a:schemeClr val="tx1">
                    <a:lumMod val="75000"/>
                    <a:lumOff val="25000"/>
                  </a:schemeClr>
                </a:solidFill>
                <a:latin typeface="Impact" pitchFamily="34" charset="0"/>
                <a:ea typeface="+mn-ea"/>
              </a:rPr>
              <a:t>Your Title</a:t>
            </a:r>
          </a:p>
          <a:p>
            <a:pPr algn="ctr" eaLnBrk="1" fontAlgn="auto" hangingPunct="1">
              <a:lnSpc>
                <a:spcPct val="100000"/>
              </a:lnSpc>
              <a:spcBef>
                <a:spcPts val="0"/>
              </a:spcBef>
              <a:spcAft>
                <a:spcPts val="0"/>
              </a:spcAft>
              <a:defRPr/>
            </a:pPr>
            <a:r>
              <a:rPr lang="en-US" altLang="zh-CN" sz="1800" dirty="0">
                <a:solidFill>
                  <a:schemeClr val="tx1">
                    <a:lumMod val="75000"/>
                    <a:lumOff val="25000"/>
                  </a:schemeClr>
                </a:solidFill>
                <a:latin typeface="+mn-lt"/>
                <a:ea typeface="+mn-ea"/>
              </a:rPr>
              <a:t>click to add subtitle click to add subtitle click to add subtitle click to add subtitle</a:t>
            </a:r>
            <a:r>
              <a:rPr lang="zh-CN" altLang="en-US" sz="1800" dirty="0">
                <a:solidFill>
                  <a:schemeClr val="tx1">
                    <a:lumMod val="75000"/>
                    <a:lumOff val="25000"/>
                  </a:schemeClr>
                </a:solidFill>
                <a:latin typeface="+mn-lt"/>
                <a:ea typeface="+mn-ea"/>
              </a:rPr>
              <a:t> </a:t>
            </a:r>
            <a:r>
              <a:rPr lang="en-US" altLang="zh-CN" sz="1800" dirty="0">
                <a:solidFill>
                  <a:schemeClr val="tx1">
                    <a:lumMod val="75000"/>
                    <a:lumOff val="25000"/>
                  </a:schemeClr>
                </a:solidFill>
                <a:latin typeface="+mn-lt"/>
                <a:ea typeface="+mn-ea"/>
              </a:rPr>
              <a:t>click to add subtitle</a:t>
            </a:r>
            <a:endParaRPr lang="zh-CN" altLang="en-US" sz="1800" dirty="0">
              <a:solidFill>
                <a:schemeClr val="tx1">
                  <a:lumMod val="75000"/>
                  <a:lumOff val="25000"/>
                </a:schemeClr>
              </a:solidFill>
              <a:latin typeface="+mn-lt"/>
              <a:ea typeface="+mn-ea"/>
            </a:endParaRPr>
          </a:p>
        </p:txBody>
      </p:sp>
      <p:sp>
        <p:nvSpPr>
          <p:cNvPr id="12" name="文本框 56">
            <a:extLst>
              <a:ext uri="{FF2B5EF4-FFF2-40B4-BE49-F238E27FC236}">
                <a16:creationId xmlns:a16="http://schemas.microsoft.com/office/drawing/2014/main" id="{75EC28DB-6B7D-4728-8030-43A47510D6A4}"/>
              </a:ext>
            </a:extLst>
          </p:cNvPr>
          <p:cNvSpPr txBox="1"/>
          <p:nvPr/>
        </p:nvSpPr>
        <p:spPr>
          <a:xfrm>
            <a:off x="5070475" y="4254500"/>
            <a:ext cx="2051050" cy="1846263"/>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ctr" eaLnBrk="1" fontAlgn="auto" hangingPunct="1">
              <a:lnSpc>
                <a:spcPct val="100000"/>
              </a:lnSpc>
              <a:spcBef>
                <a:spcPts val="0"/>
              </a:spcBef>
              <a:spcAft>
                <a:spcPts val="0"/>
              </a:spcAft>
              <a:defRPr/>
            </a:pPr>
            <a:r>
              <a:rPr lang="en-US" altLang="zh-CN" sz="2400" dirty="0">
                <a:solidFill>
                  <a:schemeClr val="tx1">
                    <a:lumMod val="75000"/>
                    <a:lumOff val="25000"/>
                  </a:schemeClr>
                </a:solidFill>
                <a:latin typeface="Impact" pitchFamily="34" charset="0"/>
                <a:ea typeface="+mn-ea"/>
              </a:rPr>
              <a:t>Your Title</a:t>
            </a:r>
          </a:p>
          <a:p>
            <a:pPr algn="ctr" eaLnBrk="1" fontAlgn="auto" hangingPunct="1">
              <a:lnSpc>
                <a:spcPct val="100000"/>
              </a:lnSpc>
              <a:spcBef>
                <a:spcPts val="0"/>
              </a:spcBef>
              <a:spcAft>
                <a:spcPts val="0"/>
              </a:spcAft>
              <a:defRPr/>
            </a:pPr>
            <a:r>
              <a:rPr lang="en-US" altLang="zh-CN" sz="1800" dirty="0">
                <a:solidFill>
                  <a:schemeClr val="tx1">
                    <a:lumMod val="75000"/>
                    <a:lumOff val="25000"/>
                  </a:schemeClr>
                </a:solidFill>
                <a:latin typeface="+mn-lt"/>
                <a:ea typeface="+mn-ea"/>
              </a:rPr>
              <a:t>click to add subtitle click to add subtitle click to add subtitle click to add subtitle</a:t>
            </a:r>
            <a:r>
              <a:rPr lang="zh-CN" altLang="en-US" sz="1800" dirty="0">
                <a:solidFill>
                  <a:schemeClr val="tx1">
                    <a:lumMod val="75000"/>
                    <a:lumOff val="25000"/>
                  </a:schemeClr>
                </a:solidFill>
                <a:latin typeface="+mn-lt"/>
                <a:ea typeface="+mn-ea"/>
              </a:rPr>
              <a:t> </a:t>
            </a:r>
            <a:r>
              <a:rPr lang="en-US" altLang="zh-CN" sz="1800" dirty="0">
                <a:solidFill>
                  <a:schemeClr val="tx1">
                    <a:lumMod val="75000"/>
                    <a:lumOff val="25000"/>
                  </a:schemeClr>
                </a:solidFill>
                <a:latin typeface="+mn-lt"/>
                <a:ea typeface="+mn-ea"/>
              </a:rPr>
              <a:t>click to add subtitle</a:t>
            </a:r>
            <a:endParaRPr lang="zh-CN" altLang="en-US" sz="1800" dirty="0">
              <a:solidFill>
                <a:schemeClr val="tx1">
                  <a:lumMod val="75000"/>
                  <a:lumOff val="25000"/>
                </a:schemeClr>
              </a:solidFill>
              <a:latin typeface="+mn-lt"/>
              <a:ea typeface="+mn-ea"/>
            </a:endParaRPr>
          </a:p>
        </p:txBody>
      </p:sp>
      <p:sp>
        <p:nvSpPr>
          <p:cNvPr id="13" name="文本框 56">
            <a:extLst>
              <a:ext uri="{FF2B5EF4-FFF2-40B4-BE49-F238E27FC236}">
                <a16:creationId xmlns:a16="http://schemas.microsoft.com/office/drawing/2014/main" id="{B2DB556F-2C41-4A49-BDFE-674F35B47D4B}"/>
              </a:ext>
            </a:extLst>
          </p:cNvPr>
          <p:cNvSpPr txBox="1"/>
          <p:nvPr/>
        </p:nvSpPr>
        <p:spPr>
          <a:xfrm>
            <a:off x="8575675" y="4254500"/>
            <a:ext cx="2051050" cy="1846263"/>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ctr" eaLnBrk="1" fontAlgn="auto" hangingPunct="1">
              <a:lnSpc>
                <a:spcPct val="100000"/>
              </a:lnSpc>
              <a:spcBef>
                <a:spcPts val="0"/>
              </a:spcBef>
              <a:spcAft>
                <a:spcPts val="0"/>
              </a:spcAft>
              <a:defRPr/>
            </a:pPr>
            <a:r>
              <a:rPr lang="en-US" altLang="zh-CN" sz="2400" dirty="0">
                <a:solidFill>
                  <a:schemeClr val="tx1">
                    <a:lumMod val="75000"/>
                    <a:lumOff val="25000"/>
                  </a:schemeClr>
                </a:solidFill>
                <a:latin typeface="Impact" pitchFamily="34" charset="0"/>
                <a:ea typeface="+mn-ea"/>
              </a:rPr>
              <a:t>Your Title</a:t>
            </a:r>
          </a:p>
          <a:p>
            <a:pPr algn="ctr" eaLnBrk="1" fontAlgn="auto" hangingPunct="1">
              <a:lnSpc>
                <a:spcPct val="100000"/>
              </a:lnSpc>
              <a:spcBef>
                <a:spcPts val="0"/>
              </a:spcBef>
              <a:spcAft>
                <a:spcPts val="0"/>
              </a:spcAft>
              <a:defRPr/>
            </a:pPr>
            <a:r>
              <a:rPr lang="en-US" altLang="zh-CN" sz="1800" dirty="0">
                <a:solidFill>
                  <a:schemeClr val="tx1">
                    <a:lumMod val="75000"/>
                    <a:lumOff val="25000"/>
                  </a:schemeClr>
                </a:solidFill>
                <a:latin typeface="+mn-lt"/>
                <a:ea typeface="+mn-ea"/>
              </a:rPr>
              <a:t>click to add subtitle click to add subtitle click to add subtitle click to add subtitle</a:t>
            </a:r>
            <a:r>
              <a:rPr lang="zh-CN" altLang="en-US" sz="1800" dirty="0">
                <a:solidFill>
                  <a:schemeClr val="tx1">
                    <a:lumMod val="75000"/>
                    <a:lumOff val="25000"/>
                  </a:schemeClr>
                </a:solidFill>
                <a:latin typeface="+mn-lt"/>
                <a:ea typeface="+mn-ea"/>
              </a:rPr>
              <a:t> </a:t>
            </a:r>
            <a:r>
              <a:rPr lang="en-US" altLang="zh-CN" sz="1800" dirty="0">
                <a:solidFill>
                  <a:schemeClr val="tx1">
                    <a:lumMod val="75000"/>
                    <a:lumOff val="25000"/>
                  </a:schemeClr>
                </a:solidFill>
                <a:latin typeface="+mn-lt"/>
                <a:ea typeface="+mn-ea"/>
              </a:rPr>
              <a:t>click to add subtitle</a:t>
            </a:r>
            <a:endParaRPr lang="zh-CN" altLang="en-US" sz="1800" dirty="0">
              <a:solidFill>
                <a:schemeClr val="tx1">
                  <a:lumMod val="75000"/>
                  <a:lumOff val="25000"/>
                </a:schemeClr>
              </a:solidFill>
              <a:latin typeface="+mn-lt"/>
              <a:ea typeface="+mn-ea"/>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withEffect">
                                  <p:stCondLst>
                                    <p:cond delay="0"/>
                                  </p:stCondLst>
                                  <p:childTnLst>
                                    <p:set>
                                      <p:cBhvr>
                                        <p:cTn id="6" dur="1" fill="hold">
                                          <p:stCondLst>
                                            <p:cond delay="0"/>
                                          </p:stCondLst>
                                        </p:cTn>
                                        <p:tgtEl>
                                          <p:spTgt spid="2050"/>
                                        </p:tgtEl>
                                        <p:attrNameLst>
                                          <p:attrName>style.visibility</p:attrName>
                                        </p:attrNameLst>
                                      </p:cBhvr>
                                      <p:to>
                                        <p:strVal val="visible"/>
                                      </p:to>
                                    </p:set>
                                    <p:animEffect transition="in" filter="fade">
                                      <p:cBhvr>
                                        <p:cTn id="7" dur="500"/>
                                        <p:tgtEl>
                                          <p:spTgt spid="2050"/>
                                        </p:tgtEl>
                                      </p:cBhvr>
                                    </p:animEffect>
                                  </p:childTnLst>
                                </p:cTn>
                              </p:par>
                            </p:childTnLst>
                          </p:cTn>
                        </p:par>
                        <p:par>
                          <p:cTn id="8" fill="hold" nodeType="afterGroup">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750"/>
                                        <p:tgtEl>
                                          <p:spTgt spid="2"/>
                                        </p:tgtEl>
                                      </p:cBhvr>
                                    </p:animEffect>
                                  </p:childTnLst>
                                </p:cTn>
                              </p:par>
                            </p:childTnLst>
                          </p:cTn>
                        </p:par>
                        <p:par>
                          <p:cTn id="12" fill="hold" nodeType="afterGroup">
                            <p:stCondLst>
                              <p:cond delay="1250"/>
                            </p:stCondLst>
                            <p:childTnLst>
                              <p:par>
                                <p:cTn id="13" presetID="42" presetClass="entr" presetSubtype="0" fill="hold" nodeType="afterEffect">
                                  <p:stCondLst>
                                    <p:cond delay="0"/>
                                  </p:stCondLst>
                                  <p:childTnLst>
                                    <p:set>
                                      <p:cBhvr>
                                        <p:cTn id="14" dur="1" fill="hold">
                                          <p:stCondLst>
                                            <p:cond delay="0"/>
                                          </p:stCondLst>
                                        </p:cTn>
                                        <p:tgtEl>
                                          <p:spTgt spid="2052"/>
                                        </p:tgtEl>
                                        <p:attrNameLst>
                                          <p:attrName>style.visibility</p:attrName>
                                        </p:attrNameLst>
                                      </p:cBhvr>
                                      <p:to>
                                        <p:strVal val="visible"/>
                                      </p:to>
                                    </p:set>
                                    <p:animEffect transition="in" filter="fade">
                                      <p:cBhvr>
                                        <p:cTn id="15" dur="500"/>
                                        <p:tgtEl>
                                          <p:spTgt spid="2052"/>
                                        </p:tgtEl>
                                      </p:cBhvr>
                                    </p:animEffect>
                                    <p:anim calcmode="lin" valueType="num">
                                      <p:cBhvr>
                                        <p:cTn id="16" dur="500" fill="hold"/>
                                        <p:tgtEl>
                                          <p:spTgt spid="2052"/>
                                        </p:tgtEl>
                                        <p:attrNameLst>
                                          <p:attrName>ppt_x</p:attrName>
                                        </p:attrNameLst>
                                      </p:cBhvr>
                                      <p:tavLst>
                                        <p:tav tm="0">
                                          <p:val>
                                            <p:strVal val="#ppt_x"/>
                                          </p:val>
                                        </p:tav>
                                        <p:tav tm="100000">
                                          <p:val>
                                            <p:strVal val="#ppt_x"/>
                                          </p:val>
                                        </p:tav>
                                      </p:tavLst>
                                    </p:anim>
                                    <p:anim calcmode="lin" valueType="num">
                                      <p:cBhvr>
                                        <p:cTn id="17" dur="500" fill="hold"/>
                                        <p:tgtEl>
                                          <p:spTgt spid="2052"/>
                                        </p:tgtEl>
                                        <p:attrNameLst>
                                          <p:attrName>ppt_y</p:attrName>
                                        </p:attrNameLst>
                                      </p:cBhvr>
                                      <p:tavLst>
                                        <p:tav tm="0">
                                          <p:val>
                                            <p:strVal val="#ppt_y+.1"/>
                                          </p:val>
                                        </p:tav>
                                        <p:tav tm="100000">
                                          <p:val>
                                            <p:strVal val="#ppt_y"/>
                                          </p:val>
                                        </p:tav>
                                      </p:tavLst>
                                    </p:anim>
                                  </p:childTnLst>
                                </p:cTn>
                              </p:par>
                            </p:childTnLst>
                          </p:cTn>
                        </p:par>
                        <p:par>
                          <p:cTn id="18" fill="hold" nodeType="afterGroup">
                            <p:stCondLst>
                              <p:cond delay="1750"/>
                            </p:stCondLst>
                            <p:childTnLst>
                              <p:par>
                                <p:cTn id="19" presetID="42" presetClass="entr" presetSubtype="0" fill="hold" nodeType="afterEffect">
                                  <p:stCondLst>
                                    <p:cond delay="0"/>
                                  </p:stCondLst>
                                  <p:childTnLst>
                                    <p:set>
                                      <p:cBhvr>
                                        <p:cTn id="20" dur="1" fill="hold">
                                          <p:stCondLst>
                                            <p:cond delay="0"/>
                                          </p:stCondLst>
                                        </p:cTn>
                                        <p:tgtEl>
                                          <p:spTgt spid="2051"/>
                                        </p:tgtEl>
                                        <p:attrNameLst>
                                          <p:attrName>style.visibility</p:attrName>
                                        </p:attrNameLst>
                                      </p:cBhvr>
                                      <p:to>
                                        <p:strVal val="visible"/>
                                      </p:to>
                                    </p:set>
                                    <p:animEffect transition="in" filter="fade">
                                      <p:cBhvr>
                                        <p:cTn id="21" dur="500"/>
                                        <p:tgtEl>
                                          <p:spTgt spid="2051"/>
                                        </p:tgtEl>
                                      </p:cBhvr>
                                    </p:animEffect>
                                    <p:anim calcmode="lin" valueType="num">
                                      <p:cBhvr>
                                        <p:cTn id="22" dur="500" fill="hold"/>
                                        <p:tgtEl>
                                          <p:spTgt spid="2051"/>
                                        </p:tgtEl>
                                        <p:attrNameLst>
                                          <p:attrName>ppt_x</p:attrName>
                                        </p:attrNameLst>
                                      </p:cBhvr>
                                      <p:tavLst>
                                        <p:tav tm="0">
                                          <p:val>
                                            <p:strVal val="#ppt_x"/>
                                          </p:val>
                                        </p:tav>
                                        <p:tav tm="100000">
                                          <p:val>
                                            <p:strVal val="#ppt_x"/>
                                          </p:val>
                                        </p:tav>
                                      </p:tavLst>
                                    </p:anim>
                                    <p:anim calcmode="lin" valueType="num">
                                      <p:cBhvr>
                                        <p:cTn id="23" dur="500" fill="hold"/>
                                        <p:tgtEl>
                                          <p:spTgt spid="2051"/>
                                        </p:tgtEl>
                                        <p:attrNameLst>
                                          <p:attrName>ppt_y</p:attrName>
                                        </p:attrNameLst>
                                      </p:cBhvr>
                                      <p:tavLst>
                                        <p:tav tm="0">
                                          <p:val>
                                            <p:strVal val="#ppt_y+.1"/>
                                          </p:val>
                                        </p:tav>
                                        <p:tav tm="100000">
                                          <p:val>
                                            <p:strVal val="#ppt_y"/>
                                          </p:val>
                                        </p:tav>
                                      </p:tavLst>
                                    </p:anim>
                                  </p:childTnLst>
                                </p:cTn>
                              </p:par>
                            </p:childTnLst>
                          </p:cTn>
                        </p:par>
                        <p:par>
                          <p:cTn id="24" fill="hold" nodeType="afterGroup">
                            <p:stCondLst>
                              <p:cond delay="2250"/>
                            </p:stCondLst>
                            <p:childTnLst>
                              <p:par>
                                <p:cTn id="25" presetID="42" presetClass="entr" presetSubtype="0" fill="hold" nodeType="afterEffect">
                                  <p:stCondLst>
                                    <p:cond delay="0"/>
                                  </p:stCondLst>
                                  <p:childTnLst>
                                    <p:set>
                                      <p:cBhvr>
                                        <p:cTn id="26" dur="1" fill="hold">
                                          <p:stCondLst>
                                            <p:cond delay="0"/>
                                          </p:stCondLst>
                                        </p:cTn>
                                        <p:tgtEl>
                                          <p:spTgt spid="2053"/>
                                        </p:tgtEl>
                                        <p:attrNameLst>
                                          <p:attrName>style.visibility</p:attrName>
                                        </p:attrNameLst>
                                      </p:cBhvr>
                                      <p:to>
                                        <p:strVal val="visible"/>
                                      </p:to>
                                    </p:set>
                                    <p:animEffect transition="in" filter="fade">
                                      <p:cBhvr>
                                        <p:cTn id="27" dur="500"/>
                                        <p:tgtEl>
                                          <p:spTgt spid="2053"/>
                                        </p:tgtEl>
                                      </p:cBhvr>
                                    </p:animEffect>
                                    <p:anim calcmode="lin" valueType="num">
                                      <p:cBhvr>
                                        <p:cTn id="28" dur="500" fill="hold"/>
                                        <p:tgtEl>
                                          <p:spTgt spid="2053"/>
                                        </p:tgtEl>
                                        <p:attrNameLst>
                                          <p:attrName>ppt_x</p:attrName>
                                        </p:attrNameLst>
                                      </p:cBhvr>
                                      <p:tavLst>
                                        <p:tav tm="0">
                                          <p:val>
                                            <p:strVal val="#ppt_x"/>
                                          </p:val>
                                        </p:tav>
                                        <p:tav tm="100000">
                                          <p:val>
                                            <p:strVal val="#ppt_x"/>
                                          </p:val>
                                        </p:tav>
                                      </p:tavLst>
                                    </p:anim>
                                    <p:anim calcmode="lin" valueType="num">
                                      <p:cBhvr>
                                        <p:cTn id="29" dur="500" fill="hold"/>
                                        <p:tgtEl>
                                          <p:spTgt spid="2053"/>
                                        </p:tgtEl>
                                        <p:attrNameLst>
                                          <p:attrName>ppt_y</p:attrName>
                                        </p:attrNameLst>
                                      </p:cBhvr>
                                      <p:tavLst>
                                        <p:tav tm="0">
                                          <p:val>
                                            <p:strVal val="#ppt_y+.1"/>
                                          </p:val>
                                        </p:tav>
                                        <p:tav tm="100000">
                                          <p:val>
                                            <p:strVal val="#ppt_y"/>
                                          </p:val>
                                        </p:tav>
                                      </p:tavLst>
                                    </p:anim>
                                  </p:childTnLst>
                                </p:cTn>
                              </p:par>
                            </p:childTnLst>
                          </p:cTn>
                        </p:par>
                        <p:par>
                          <p:cTn id="30" fill="hold" nodeType="afterGroup">
                            <p:stCondLst>
                              <p:cond delay="2750"/>
                            </p:stCondLst>
                            <p:childTnLst>
                              <p:par>
                                <p:cTn id="31" presetID="10" presetClass="entr" presetSubtype="0" fill="hold" grpId="0" nodeType="afterEffect">
                                  <p:stCondLst>
                                    <p:cond delay="0"/>
                                  </p:stCondLst>
                                  <p:childTnLst>
                                    <p:set>
                                      <p:cBhvr>
                                        <p:cTn id="32" dur="1" fill="hold">
                                          <p:stCondLst>
                                            <p:cond delay="0"/>
                                          </p:stCondLst>
                                        </p:cTn>
                                        <p:tgtEl>
                                          <p:spTgt spid="4"/>
                                        </p:tgtEl>
                                        <p:attrNameLst>
                                          <p:attrName>style.visibility</p:attrName>
                                        </p:attrNameLst>
                                      </p:cBhvr>
                                      <p:to>
                                        <p:strVal val="visible"/>
                                      </p:to>
                                    </p:set>
                                    <p:animEffect transition="in" filter="fade">
                                      <p:cBhvr>
                                        <p:cTn id="33" dur="500"/>
                                        <p:tgtEl>
                                          <p:spTgt spid="4"/>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9"/>
                                        </p:tgtEl>
                                        <p:attrNameLst>
                                          <p:attrName>style.visibility</p:attrName>
                                        </p:attrNameLst>
                                      </p:cBhvr>
                                      <p:to>
                                        <p:strVal val="visible"/>
                                      </p:to>
                                    </p:set>
                                    <p:animEffect transition="in" filter="fade">
                                      <p:cBhvr>
                                        <p:cTn id="36" dur="500"/>
                                        <p:tgtEl>
                                          <p:spTgt spid="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0"/>
                                        </p:tgtEl>
                                        <p:attrNameLst>
                                          <p:attrName>style.visibility</p:attrName>
                                        </p:attrNameLst>
                                      </p:cBhvr>
                                      <p:to>
                                        <p:strVal val="visible"/>
                                      </p:to>
                                    </p:set>
                                    <p:animEffect transition="in" filter="fade">
                                      <p:cBhvr>
                                        <p:cTn id="39" dur="500"/>
                                        <p:tgtEl>
                                          <p:spTgt spid="10"/>
                                        </p:tgtEl>
                                      </p:cBhvr>
                                    </p:animEffect>
                                  </p:childTnLst>
                                </p:cTn>
                              </p:par>
                            </p:childTnLst>
                          </p:cTn>
                        </p:par>
                        <p:par>
                          <p:cTn id="40" fill="hold" nodeType="afterGroup">
                            <p:stCondLst>
                              <p:cond delay="3250"/>
                            </p:stCondLst>
                            <p:childTnLst>
                              <p:par>
                                <p:cTn id="41" presetID="42" presetClass="entr" presetSubtype="0" fill="hold" grpId="0" nodeType="afterEffect">
                                  <p:stCondLst>
                                    <p:cond delay="0"/>
                                  </p:stCondLst>
                                  <p:childTnLst>
                                    <p:set>
                                      <p:cBhvr>
                                        <p:cTn id="42" dur="1" fill="hold">
                                          <p:stCondLst>
                                            <p:cond delay="0"/>
                                          </p:stCondLst>
                                        </p:cTn>
                                        <p:tgtEl>
                                          <p:spTgt spid="11"/>
                                        </p:tgtEl>
                                        <p:attrNameLst>
                                          <p:attrName>style.visibility</p:attrName>
                                        </p:attrNameLst>
                                      </p:cBhvr>
                                      <p:to>
                                        <p:strVal val="visible"/>
                                      </p:to>
                                    </p:set>
                                    <p:animEffect transition="in" filter="fade">
                                      <p:cBhvr>
                                        <p:cTn id="43" dur="500"/>
                                        <p:tgtEl>
                                          <p:spTgt spid="11"/>
                                        </p:tgtEl>
                                      </p:cBhvr>
                                    </p:animEffect>
                                    <p:anim calcmode="lin" valueType="num">
                                      <p:cBhvr>
                                        <p:cTn id="44" dur="500" fill="hold"/>
                                        <p:tgtEl>
                                          <p:spTgt spid="11"/>
                                        </p:tgtEl>
                                        <p:attrNameLst>
                                          <p:attrName>ppt_x</p:attrName>
                                        </p:attrNameLst>
                                      </p:cBhvr>
                                      <p:tavLst>
                                        <p:tav tm="0">
                                          <p:val>
                                            <p:strVal val="#ppt_x"/>
                                          </p:val>
                                        </p:tav>
                                        <p:tav tm="100000">
                                          <p:val>
                                            <p:strVal val="#ppt_x"/>
                                          </p:val>
                                        </p:tav>
                                      </p:tavLst>
                                    </p:anim>
                                    <p:anim calcmode="lin" valueType="num">
                                      <p:cBhvr>
                                        <p:cTn id="45" dur="500" fill="hold"/>
                                        <p:tgtEl>
                                          <p:spTgt spid="11"/>
                                        </p:tgtEl>
                                        <p:attrNameLst>
                                          <p:attrName>ppt_y</p:attrName>
                                        </p:attrNameLst>
                                      </p:cBhvr>
                                      <p:tavLst>
                                        <p:tav tm="0">
                                          <p:val>
                                            <p:strVal val="#ppt_y+.1"/>
                                          </p:val>
                                        </p:tav>
                                        <p:tav tm="100000">
                                          <p:val>
                                            <p:strVal val="#ppt_y"/>
                                          </p:val>
                                        </p:tav>
                                      </p:tavLst>
                                    </p:anim>
                                  </p:childTnLst>
                                </p:cTn>
                              </p:par>
                            </p:childTnLst>
                          </p:cTn>
                        </p:par>
                        <p:par>
                          <p:cTn id="46" fill="hold" nodeType="afterGroup">
                            <p:stCondLst>
                              <p:cond delay="3750"/>
                            </p:stCondLst>
                            <p:childTnLst>
                              <p:par>
                                <p:cTn id="47" presetID="42" presetClass="entr" presetSubtype="0" fill="hold" grpId="0" nodeType="afterEffect">
                                  <p:stCondLst>
                                    <p:cond delay="0"/>
                                  </p:stCondLst>
                                  <p:childTnLst>
                                    <p:set>
                                      <p:cBhvr>
                                        <p:cTn id="48" dur="1" fill="hold">
                                          <p:stCondLst>
                                            <p:cond delay="0"/>
                                          </p:stCondLst>
                                        </p:cTn>
                                        <p:tgtEl>
                                          <p:spTgt spid="12"/>
                                        </p:tgtEl>
                                        <p:attrNameLst>
                                          <p:attrName>style.visibility</p:attrName>
                                        </p:attrNameLst>
                                      </p:cBhvr>
                                      <p:to>
                                        <p:strVal val="visible"/>
                                      </p:to>
                                    </p:set>
                                    <p:animEffect transition="in" filter="fade">
                                      <p:cBhvr>
                                        <p:cTn id="49" dur="500"/>
                                        <p:tgtEl>
                                          <p:spTgt spid="12"/>
                                        </p:tgtEl>
                                      </p:cBhvr>
                                    </p:animEffect>
                                    <p:anim calcmode="lin" valueType="num">
                                      <p:cBhvr>
                                        <p:cTn id="50" dur="500" fill="hold"/>
                                        <p:tgtEl>
                                          <p:spTgt spid="12"/>
                                        </p:tgtEl>
                                        <p:attrNameLst>
                                          <p:attrName>ppt_x</p:attrName>
                                        </p:attrNameLst>
                                      </p:cBhvr>
                                      <p:tavLst>
                                        <p:tav tm="0">
                                          <p:val>
                                            <p:strVal val="#ppt_x"/>
                                          </p:val>
                                        </p:tav>
                                        <p:tav tm="100000">
                                          <p:val>
                                            <p:strVal val="#ppt_x"/>
                                          </p:val>
                                        </p:tav>
                                      </p:tavLst>
                                    </p:anim>
                                    <p:anim calcmode="lin" valueType="num">
                                      <p:cBhvr>
                                        <p:cTn id="51" dur="500" fill="hold"/>
                                        <p:tgtEl>
                                          <p:spTgt spid="12"/>
                                        </p:tgtEl>
                                        <p:attrNameLst>
                                          <p:attrName>ppt_y</p:attrName>
                                        </p:attrNameLst>
                                      </p:cBhvr>
                                      <p:tavLst>
                                        <p:tav tm="0">
                                          <p:val>
                                            <p:strVal val="#ppt_y+.1"/>
                                          </p:val>
                                        </p:tav>
                                        <p:tav tm="100000">
                                          <p:val>
                                            <p:strVal val="#ppt_y"/>
                                          </p:val>
                                        </p:tav>
                                      </p:tavLst>
                                    </p:anim>
                                  </p:childTnLst>
                                </p:cTn>
                              </p:par>
                            </p:childTnLst>
                          </p:cTn>
                        </p:par>
                        <p:par>
                          <p:cTn id="52" fill="hold" nodeType="afterGroup">
                            <p:stCondLst>
                              <p:cond delay="4250"/>
                            </p:stCondLst>
                            <p:childTnLst>
                              <p:par>
                                <p:cTn id="53" presetID="42" presetClass="entr" presetSubtype="0" fill="hold" grpId="0" nodeType="afterEffect">
                                  <p:stCondLst>
                                    <p:cond delay="0"/>
                                  </p:stCondLst>
                                  <p:childTnLst>
                                    <p:set>
                                      <p:cBhvr>
                                        <p:cTn id="54" dur="1" fill="hold">
                                          <p:stCondLst>
                                            <p:cond delay="0"/>
                                          </p:stCondLst>
                                        </p:cTn>
                                        <p:tgtEl>
                                          <p:spTgt spid="13"/>
                                        </p:tgtEl>
                                        <p:attrNameLst>
                                          <p:attrName>style.visibility</p:attrName>
                                        </p:attrNameLst>
                                      </p:cBhvr>
                                      <p:to>
                                        <p:strVal val="visible"/>
                                      </p:to>
                                    </p:set>
                                    <p:animEffect transition="in" filter="fade">
                                      <p:cBhvr>
                                        <p:cTn id="55" dur="500"/>
                                        <p:tgtEl>
                                          <p:spTgt spid="13"/>
                                        </p:tgtEl>
                                      </p:cBhvr>
                                    </p:animEffect>
                                    <p:anim calcmode="lin" valueType="num">
                                      <p:cBhvr>
                                        <p:cTn id="56" dur="500" fill="hold"/>
                                        <p:tgtEl>
                                          <p:spTgt spid="13"/>
                                        </p:tgtEl>
                                        <p:attrNameLst>
                                          <p:attrName>ppt_x</p:attrName>
                                        </p:attrNameLst>
                                      </p:cBhvr>
                                      <p:tavLst>
                                        <p:tav tm="0">
                                          <p:val>
                                            <p:strVal val="#ppt_x"/>
                                          </p:val>
                                        </p:tav>
                                        <p:tav tm="100000">
                                          <p:val>
                                            <p:strVal val="#ppt_x"/>
                                          </p:val>
                                        </p:tav>
                                      </p:tavLst>
                                    </p:anim>
                                    <p:anim calcmode="lin" valueType="num">
                                      <p:cBhvr>
                                        <p:cTn id="57" dur="5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p:bldP spid="9" grpId="0"/>
      <p:bldP spid="10" grpId="0"/>
      <p:bldP spid="11" grpId="0"/>
      <p:bldP spid="12" grpId="0"/>
      <p:bldP spid="13"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5">
            <a:extLst>
              <a:ext uri="{FF2B5EF4-FFF2-40B4-BE49-F238E27FC236}">
                <a16:creationId xmlns:a16="http://schemas.microsoft.com/office/drawing/2014/main" id="{3C2988C8-96E6-463C-8C32-EFC120E1C1EF}"/>
              </a:ext>
            </a:extLst>
          </p:cNvPr>
          <p:cNvSpPr>
            <a:spLocks/>
          </p:cNvSpPr>
          <p:nvPr/>
        </p:nvSpPr>
        <p:spPr bwMode="auto">
          <a:xfrm>
            <a:off x="822325" y="3711575"/>
            <a:ext cx="10547350" cy="104775"/>
          </a:xfrm>
          <a:custGeom>
            <a:avLst/>
            <a:gdLst>
              <a:gd name="T0" fmla="*/ 2147483646 w 2112"/>
              <a:gd name="T1" fmla="*/ 196034025 h 28"/>
              <a:gd name="T2" fmla="*/ 2147483646 w 2112"/>
              <a:gd name="T3" fmla="*/ 0 h 28"/>
              <a:gd name="T4" fmla="*/ 748252581 w 2112"/>
              <a:gd name="T5" fmla="*/ 0 h 28"/>
              <a:gd name="T6" fmla="*/ 0 w 2112"/>
              <a:gd name="T7" fmla="*/ 196034025 h 28"/>
              <a:gd name="T8" fmla="*/ 0 w 2112"/>
              <a:gd name="T9" fmla="*/ 196034025 h 28"/>
              <a:gd name="T10" fmla="*/ 748252581 w 2112"/>
              <a:gd name="T11" fmla="*/ 392064308 h 28"/>
              <a:gd name="T12" fmla="*/ 2147483646 w 2112"/>
              <a:gd name="T13" fmla="*/ 392064308 h 28"/>
              <a:gd name="T14" fmla="*/ 2147483646 w 2112"/>
              <a:gd name="T15" fmla="*/ 196034025 h 2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12" h="28">
                <a:moveTo>
                  <a:pt x="2112" y="14"/>
                </a:moveTo>
                <a:cubicBezTo>
                  <a:pt x="2112" y="7"/>
                  <a:pt x="2098" y="0"/>
                  <a:pt x="2081" y="0"/>
                </a:cubicBezTo>
                <a:cubicBezTo>
                  <a:pt x="30" y="0"/>
                  <a:pt x="30" y="0"/>
                  <a:pt x="30" y="0"/>
                </a:cubicBezTo>
                <a:cubicBezTo>
                  <a:pt x="13" y="0"/>
                  <a:pt x="0" y="7"/>
                  <a:pt x="0" y="14"/>
                </a:cubicBezTo>
                <a:cubicBezTo>
                  <a:pt x="0" y="14"/>
                  <a:pt x="0" y="14"/>
                  <a:pt x="0" y="14"/>
                </a:cubicBezTo>
                <a:cubicBezTo>
                  <a:pt x="0" y="22"/>
                  <a:pt x="13" y="28"/>
                  <a:pt x="30" y="28"/>
                </a:cubicBezTo>
                <a:cubicBezTo>
                  <a:pt x="2081" y="28"/>
                  <a:pt x="2081" y="28"/>
                  <a:pt x="2081" y="28"/>
                </a:cubicBezTo>
                <a:cubicBezTo>
                  <a:pt x="2098" y="28"/>
                  <a:pt x="2112" y="22"/>
                  <a:pt x="2112" y="14"/>
                </a:cubicBezTo>
                <a:close/>
              </a:path>
            </a:pathLst>
          </a:custGeom>
          <a:solidFill>
            <a:srgbClr val="29292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grpSp>
        <p:nvGrpSpPr>
          <p:cNvPr id="2" name="组合 1">
            <a:extLst>
              <a:ext uri="{FF2B5EF4-FFF2-40B4-BE49-F238E27FC236}">
                <a16:creationId xmlns:a16="http://schemas.microsoft.com/office/drawing/2014/main" id="{DB99B963-605C-4F9A-990C-4A33F8008F25}"/>
              </a:ext>
            </a:extLst>
          </p:cNvPr>
          <p:cNvGrpSpPr>
            <a:grpSpLocks/>
          </p:cNvGrpSpPr>
          <p:nvPr/>
        </p:nvGrpSpPr>
        <p:grpSpPr bwMode="auto">
          <a:xfrm>
            <a:off x="1376363" y="3538538"/>
            <a:ext cx="446087" cy="450850"/>
            <a:chOff x="3424238" y="2347913"/>
            <a:chExt cx="446087" cy="450850"/>
          </a:xfrm>
        </p:grpSpPr>
        <p:sp>
          <p:nvSpPr>
            <p:cNvPr id="10262" name="Oval 8">
              <a:extLst>
                <a:ext uri="{FF2B5EF4-FFF2-40B4-BE49-F238E27FC236}">
                  <a16:creationId xmlns:a16="http://schemas.microsoft.com/office/drawing/2014/main" id="{22C619FC-B7CC-4255-852F-20FE64367813}"/>
                </a:ext>
              </a:extLst>
            </p:cNvPr>
            <p:cNvSpPr>
              <a:spLocks noChangeArrowheads="1"/>
            </p:cNvSpPr>
            <p:nvPr/>
          </p:nvSpPr>
          <p:spPr bwMode="auto">
            <a:xfrm>
              <a:off x="3424238" y="2347913"/>
              <a:ext cx="446087" cy="450850"/>
            </a:xfrm>
            <a:prstGeom prst="ellipse">
              <a:avLst/>
            </a:prstGeom>
            <a:solidFill>
              <a:srgbClr val="29292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endParaRPr lang="zh-CN" altLang="en-US" sz="1800"/>
            </a:p>
          </p:txBody>
        </p:sp>
        <p:sp>
          <p:nvSpPr>
            <p:cNvPr id="10263" name="Oval 9">
              <a:extLst>
                <a:ext uri="{FF2B5EF4-FFF2-40B4-BE49-F238E27FC236}">
                  <a16:creationId xmlns:a16="http://schemas.microsoft.com/office/drawing/2014/main" id="{4E21980A-28B1-40C0-9EFC-F14A015BBEA1}"/>
                </a:ext>
              </a:extLst>
            </p:cNvPr>
            <p:cNvSpPr>
              <a:spLocks noChangeArrowheads="1"/>
            </p:cNvSpPr>
            <p:nvPr/>
          </p:nvSpPr>
          <p:spPr bwMode="auto">
            <a:xfrm>
              <a:off x="3487738" y="2416175"/>
              <a:ext cx="317500" cy="317500"/>
            </a:xfrm>
            <a:prstGeom prst="ellipse">
              <a:avLst/>
            </a:prstGeom>
            <a:solidFill>
              <a:srgbClr val="C20F2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endParaRPr lang="zh-CN" altLang="en-US" sz="1600"/>
            </a:p>
          </p:txBody>
        </p:sp>
      </p:grpSp>
      <p:grpSp>
        <p:nvGrpSpPr>
          <p:cNvPr id="7" name="组合 6">
            <a:extLst>
              <a:ext uri="{FF2B5EF4-FFF2-40B4-BE49-F238E27FC236}">
                <a16:creationId xmlns:a16="http://schemas.microsoft.com/office/drawing/2014/main" id="{B203C683-5F42-4336-B190-64127CB92AC4}"/>
              </a:ext>
            </a:extLst>
          </p:cNvPr>
          <p:cNvGrpSpPr>
            <a:grpSpLocks/>
          </p:cNvGrpSpPr>
          <p:nvPr/>
        </p:nvGrpSpPr>
        <p:grpSpPr bwMode="auto">
          <a:xfrm>
            <a:off x="4373563" y="3538538"/>
            <a:ext cx="446087" cy="450850"/>
            <a:chOff x="3424238" y="2347913"/>
            <a:chExt cx="446087" cy="450850"/>
          </a:xfrm>
        </p:grpSpPr>
        <p:sp>
          <p:nvSpPr>
            <p:cNvPr id="10260" name="Oval 8">
              <a:extLst>
                <a:ext uri="{FF2B5EF4-FFF2-40B4-BE49-F238E27FC236}">
                  <a16:creationId xmlns:a16="http://schemas.microsoft.com/office/drawing/2014/main" id="{9CFF5B59-9FEB-4BB4-A6B7-C616D8D33C21}"/>
                </a:ext>
              </a:extLst>
            </p:cNvPr>
            <p:cNvSpPr>
              <a:spLocks noChangeArrowheads="1"/>
            </p:cNvSpPr>
            <p:nvPr/>
          </p:nvSpPr>
          <p:spPr bwMode="auto">
            <a:xfrm>
              <a:off x="3424238" y="2347913"/>
              <a:ext cx="446087" cy="450850"/>
            </a:xfrm>
            <a:prstGeom prst="ellipse">
              <a:avLst/>
            </a:prstGeom>
            <a:solidFill>
              <a:srgbClr val="29292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endParaRPr lang="zh-CN" altLang="en-US" sz="1800"/>
            </a:p>
          </p:txBody>
        </p:sp>
        <p:sp>
          <p:nvSpPr>
            <p:cNvPr id="10261" name="Oval 9">
              <a:extLst>
                <a:ext uri="{FF2B5EF4-FFF2-40B4-BE49-F238E27FC236}">
                  <a16:creationId xmlns:a16="http://schemas.microsoft.com/office/drawing/2014/main" id="{7530044F-6FB6-401B-955F-488A3B116EA6}"/>
                </a:ext>
              </a:extLst>
            </p:cNvPr>
            <p:cNvSpPr>
              <a:spLocks noChangeArrowheads="1"/>
            </p:cNvSpPr>
            <p:nvPr/>
          </p:nvSpPr>
          <p:spPr bwMode="auto">
            <a:xfrm>
              <a:off x="3487738" y="2416175"/>
              <a:ext cx="317500" cy="317500"/>
            </a:xfrm>
            <a:prstGeom prst="ellipse">
              <a:avLst/>
            </a:prstGeom>
            <a:solidFill>
              <a:srgbClr val="C20F2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endParaRPr lang="zh-CN" altLang="en-US" sz="1600"/>
            </a:p>
          </p:txBody>
        </p:sp>
      </p:grpSp>
      <p:grpSp>
        <p:nvGrpSpPr>
          <p:cNvPr id="10" name="组合 9">
            <a:extLst>
              <a:ext uri="{FF2B5EF4-FFF2-40B4-BE49-F238E27FC236}">
                <a16:creationId xmlns:a16="http://schemas.microsoft.com/office/drawing/2014/main" id="{A9A24777-3DCA-4512-87C5-06565C20911C}"/>
              </a:ext>
            </a:extLst>
          </p:cNvPr>
          <p:cNvGrpSpPr>
            <a:grpSpLocks/>
          </p:cNvGrpSpPr>
          <p:nvPr/>
        </p:nvGrpSpPr>
        <p:grpSpPr bwMode="auto">
          <a:xfrm>
            <a:off x="7372350" y="3538538"/>
            <a:ext cx="446088" cy="450850"/>
            <a:chOff x="3424238" y="2347913"/>
            <a:chExt cx="446087" cy="450850"/>
          </a:xfrm>
        </p:grpSpPr>
        <p:sp>
          <p:nvSpPr>
            <p:cNvPr id="10258" name="Oval 8">
              <a:extLst>
                <a:ext uri="{FF2B5EF4-FFF2-40B4-BE49-F238E27FC236}">
                  <a16:creationId xmlns:a16="http://schemas.microsoft.com/office/drawing/2014/main" id="{BCF75CAF-7239-4005-86F0-BDF8FA90A36B}"/>
                </a:ext>
              </a:extLst>
            </p:cNvPr>
            <p:cNvSpPr>
              <a:spLocks noChangeArrowheads="1"/>
            </p:cNvSpPr>
            <p:nvPr/>
          </p:nvSpPr>
          <p:spPr bwMode="auto">
            <a:xfrm>
              <a:off x="3424238" y="2347913"/>
              <a:ext cx="446087" cy="450850"/>
            </a:xfrm>
            <a:prstGeom prst="ellipse">
              <a:avLst/>
            </a:prstGeom>
            <a:solidFill>
              <a:srgbClr val="29292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endParaRPr lang="zh-CN" altLang="en-US" sz="1800"/>
            </a:p>
          </p:txBody>
        </p:sp>
        <p:sp>
          <p:nvSpPr>
            <p:cNvPr id="10259" name="Oval 9">
              <a:extLst>
                <a:ext uri="{FF2B5EF4-FFF2-40B4-BE49-F238E27FC236}">
                  <a16:creationId xmlns:a16="http://schemas.microsoft.com/office/drawing/2014/main" id="{DA030E7B-5F07-401C-AF05-A606761AF93F}"/>
                </a:ext>
              </a:extLst>
            </p:cNvPr>
            <p:cNvSpPr>
              <a:spLocks noChangeArrowheads="1"/>
            </p:cNvSpPr>
            <p:nvPr/>
          </p:nvSpPr>
          <p:spPr bwMode="auto">
            <a:xfrm>
              <a:off x="3487738" y="2416175"/>
              <a:ext cx="317500" cy="317500"/>
            </a:xfrm>
            <a:prstGeom prst="ellipse">
              <a:avLst/>
            </a:prstGeom>
            <a:solidFill>
              <a:srgbClr val="C20F2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endParaRPr lang="zh-CN" altLang="en-US" sz="1600"/>
            </a:p>
          </p:txBody>
        </p:sp>
      </p:grpSp>
      <p:grpSp>
        <p:nvGrpSpPr>
          <p:cNvPr id="13" name="组合 12">
            <a:extLst>
              <a:ext uri="{FF2B5EF4-FFF2-40B4-BE49-F238E27FC236}">
                <a16:creationId xmlns:a16="http://schemas.microsoft.com/office/drawing/2014/main" id="{2B40B599-C623-46E6-B47B-464AF7DD2E6A}"/>
              </a:ext>
            </a:extLst>
          </p:cNvPr>
          <p:cNvGrpSpPr>
            <a:grpSpLocks/>
          </p:cNvGrpSpPr>
          <p:nvPr/>
        </p:nvGrpSpPr>
        <p:grpSpPr bwMode="auto">
          <a:xfrm>
            <a:off x="10369550" y="3538538"/>
            <a:ext cx="446088" cy="450850"/>
            <a:chOff x="3424238" y="2347913"/>
            <a:chExt cx="446087" cy="450850"/>
          </a:xfrm>
        </p:grpSpPr>
        <p:sp>
          <p:nvSpPr>
            <p:cNvPr id="10256" name="Oval 8">
              <a:extLst>
                <a:ext uri="{FF2B5EF4-FFF2-40B4-BE49-F238E27FC236}">
                  <a16:creationId xmlns:a16="http://schemas.microsoft.com/office/drawing/2014/main" id="{2CA5089A-0B1A-451A-9E5E-634F48A2FD13}"/>
                </a:ext>
              </a:extLst>
            </p:cNvPr>
            <p:cNvSpPr>
              <a:spLocks noChangeArrowheads="1"/>
            </p:cNvSpPr>
            <p:nvPr/>
          </p:nvSpPr>
          <p:spPr bwMode="auto">
            <a:xfrm>
              <a:off x="3424238" y="2347913"/>
              <a:ext cx="446087" cy="450850"/>
            </a:xfrm>
            <a:prstGeom prst="ellipse">
              <a:avLst/>
            </a:prstGeom>
            <a:solidFill>
              <a:srgbClr val="29292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endParaRPr lang="zh-CN" altLang="en-US" sz="1800"/>
            </a:p>
          </p:txBody>
        </p:sp>
        <p:sp>
          <p:nvSpPr>
            <p:cNvPr id="10257" name="Oval 9">
              <a:extLst>
                <a:ext uri="{FF2B5EF4-FFF2-40B4-BE49-F238E27FC236}">
                  <a16:creationId xmlns:a16="http://schemas.microsoft.com/office/drawing/2014/main" id="{1DE3CE4D-29AF-435A-B693-4165E15BEBDA}"/>
                </a:ext>
              </a:extLst>
            </p:cNvPr>
            <p:cNvSpPr>
              <a:spLocks noChangeArrowheads="1"/>
            </p:cNvSpPr>
            <p:nvPr/>
          </p:nvSpPr>
          <p:spPr bwMode="auto">
            <a:xfrm>
              <a:off x="3487738" y="2416175"/>
              <a:ext cx="317500" cy="317500"/>
            </a:xfrm>
            <a:prstGeom prst="ellipse">
              <a:avLst/>
            </a:prstGeom>
            <a:solidFill>
              <a:srgbClr val="C20F2A"/>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endParaRPr lang="zh-CN" altLang="en-US" sz="1600"/>
            </a:p>
          </p:txBody>
        </p:sp>
      </p:grpSp>
      <p:sp>
        <p:nvSpPr>
          <p:cNvPr id="10247" name="文本框 56">
            <a:extLst>
              <a:ext uri="{FF2B5EF4-FFF2-40B4-BE49-F238E27FC236}">
                <a16:creationId xmlns:a16="http://schemas.microsoft.com/office/drawing/2014/main" id="{DA184743-525D-4C1E-98DC-024C789AC228}"/>
              </a:ext>
            </a:extLst>
          </p:cNvPr>
          <p:cNvSpPr txBox="1">
            <a:spLocks noChangeArrowheads="1"/>
          </p:cNvSpPr>
          <p:nvPr/>
        </p:nvSpPr>
        <p:spPr bwMode="auto">
          <a:xfrm>
            <a:off x="1154113" y="566738"/>
            <a:ext cx="509587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00000"/>
              </a:lnSpc>
              <a:spcBef>
                <a:spcPct val="0"/>
              </a:spcBef>
              <a:buFontTx/>
              <a:buNone/>
            </a:pPr>
            <a:r>
              <a:rPr lang="en-US" altLang="zh-CN" sz="3200" b="1">
                <a:solidFill>
                  <a:srgbClr val="C20F2A"/>
                </a:solidFill>
                <a:latin typeface="Agency FB" panose="020B0503020202020204" pitchFamily="34" charset="0"/>
              </a:rPr>
              <a:t>CLICK TO ADD YOUR TITLE IN HERE</a:t>
            </a:r>
          </a:p>
        </p:txBody>
      </p:sp>
      <p:sp>
        <p:nvSpPr>
          <p:cNvPr id="17" name="文本框 16">
            <a:extLst>
              <a:ext uri="{FF2B5EF4-FFF2-40B4-BE49-F238E27FC236}">
                <a16:creationId xmlns:a16="http://schemas.microsoft.com/office/drawing/2014/main" id="{A6CEB641-DF12-4DA5-B52F-1FF2EB9DF2BA}"/>
              </a:ext>
            </a:extLst>
          </p:cNvPr>
          <p:cNvSpPr txBox="1">
            <a:spLocks noChangeArrowheads="1"/>
          </p:cNvSpPr>
          <p:nvPr/>
        </p:nvSpPr>
        <p:spPr bwMode="auto">
          <a:xfrm>
            <a:off x="1217613" y="4029075"/>
            <a:ext cx="752129"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b="1" dirty="0">
                <a:solidFill>
                  <a:srgbClr val="C20F2A"/>
                </a:solidFill>
                <a:latin typeface="Agency FB" panose="020B0503020202020204" pitchFamily="34" charset="0"/>
              </a:rPr>
              <a:t>2017</a:t>
            </a:r>
            <a:endParaRPr lang="zh-CN" altLang="en-US" b="1" dirty="0">
              <a:solidFill>
                <a:srgbClr val="C20F2A"/>
              </a:solidFill>
              <a:latin typeface="Agency FB" panose="020B0503020202020204" pitchFamily="34" charset="0"/>
            </a:endParaRPr>
          </a:p>
        </p:txBody>
      </p:sp>
      <p:sp>
        <p:nvSpPr>
          <p:cNvPr id="18" name="文本框 17">
            <a:extLst>
              <a:ext uri="{FF2B5EF4-FFF2-40B4-BE49-F238E27FC236}">
                <a16:creationId xmlns:a16="http://schemas.microsoft.com/office/drawing/2014/main" id="{DA5C05BA-C2A9-4135-89A9-F5919FD21019}"/>
              </a:ext>
            </a:extLst>
          </p:cNvPr>
          <p:cNvSpPr txBox="1">
            <a:spLocks noChangeArrowheads="1"/>
          </p:cNvSpPr>
          <p:nvPr/>
        </p:nvSpPr>
        <p:spPr bwMode="auto">
          <a:xfrm>
            <a:off x="7213600" y="4029075"/>
            <a:ext cx="76174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b="1" dirty="0">
                <a:solidFill>
                  <a:srgbClr val="C20F2A"/>
                </a:solidFill>
                <a:latin typeface="Agency FB" panose="020B0503020202020204" pitchFamily="34" charset="0"/>
              </a:rPr>
              <a:t>2019</a:t>
            </a:r>
            <a:endParaRPr lang="zh-CN" altLang="en-US" b="1" dirty="0">
              <a:solidFill>
                <a:srgbClr val="C20F2A"/>
              </a:solidFill>
              <a:latin typeface="Agency FB" panose="020B0503020202020204" pitchFamily="34" charset="0"/>
            </a:endParaRPr>
          </a:p>
        </p:txBody>
      </p:sp>
      <p:sp>
        <p:nvSpPr>
          <p:cNvPr id="19" name="文本框 18">
            <a:extLst>
              <a:ext uri="{FF2B5EF4-FFF2-40B4-BE49-F238E27FC236}">
                <a16:creationId xmlns:a16="http://schemas.microsoft.com/office/drawing/2014/main" id="{CE40CEC4-1331-423C-9CAF-E8C79B7D7893}"/>
              </a:ext>
            </a:extLst>
          </p:cNvPr>
          <p:cNvSpPr txBox="1">
            <a:spLocks noChangeArrowheads="1"/>
          </p:cNvSpPr>
          <p:nvPr/>
        </p:nvSpPr>
        <p:spPr bwMode="auto">
          <a:xfrm>
            <a:off x="4214813" y="2997200"/>
            <a:ext cx="764953"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b="1" dirty="0">
                <a:solidFill>
                  <a:srgbClr val="C20F2A"/>
                </a:solidFill>
                <a:latin typeface="Agency FB" panose="020B0503020202020204" pitchFamily="34" charset="0"/>
              </a:rPr>
              <a:t>2018</a:t>
            </a:r>
            <a:endParaRPr lang="zh-CN" altLang="en-US" b="1" dirty="0">
              <a:solidFill>
                <a:srgbClr val="C20F2A"/>
              </a:solidFill>
              <a:latin typeface="Agency FB" panose="020B0503020202020204" pitchFamily="34" charset="0"/>
            </a:endParaRPr>
          </a:p>
        </p:txBody>
      </p:sp>
      <p:sp>
        <p:nvSpPr>
          <p:cNvPr id="20" name="文本框 19">
            <a:extLst>
              <a:ext uri="{FF2B5EF4-FFF2-40B4-BE49-F238E27FC236}">
                <a16:creationId xmlns:a16="http://schemas.microsoft.com/office/drawing/2014/main" id="{D35FC29D-C081-4A51-AFD2-B9404E4037E6}"/>
              </a:ext>
            </a:extLst>
          </p:cNvPr>
          <p:cNvSpPr txBox="1">
            <a:spLocks noChangeArrowheads="1"/>
          </p:cNvSpPr>
          <p:nvPr/>
        </p:nvSpPr>
        <p:spPr bwMode="auto">
          <a:xfrm>
            <a:off x="10212388" y="2997200"/>
            <a:ext cx="838691"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b="1" dirty="0">
                <a:solidFill>
                  <a:srgbClr val="C20F2A"/>
                </a:solidFill>
                <a:latin typeface="Agency FB" panose="020B0503020202020204" pitchFamily="34" charset="0"/>
              </a:rPr>
              <a:t>2020</a:t>
            </a:r>
            <a:endParaRPr lang="zh-CN" altLang="en-US" b="1" dirty="0">
              <a:solidFill>
                <a:srgbClr val="C20F2A"/>
              </a:solidFill>
              <a:latin typeface="Agency FB" panose="020B0503020202020204" pitchFamily="34" charset="0"/>
            </a:endParaRPr>
          </a:p>
        </p:txBody>
      </p:sp>
      <p:sp>
        <p:nvSpPr>
          <p:cNvPr id="21" name="文本框 56">
            <a:extLst>
              <a:ext uri="{FF2B5EF4-FFF2-40B4-BE49-F238E27FC236}">
                <a16:creationId xmlns:a16="http://schemas.microsoft.com/office/drawing/2014/main" id="{14C2F1F5-F4CE-4D0F-A6CC-EB3D1F1AD4ED}"/>
              </a:ext>
            </a:extLst>
          </p:cNvPr>
          <p:cNvSpPr txBox="1"/>
          <p:nvPr/>
        </p:nvSpPr>
        <p:spPr>
          <a:xfrm>
            <a:off x="481013" y="2211388"/>
            <a:ext cx="2233612" cy="1231900"/>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ctr" eaLnBrk="1" fontAlgn="auto" hangingPunct="1">
              <a:lnSpc>
                <a:spcPct val="100000"/>
              </a:lnSpc>
              <a:spcBef>
                <a:spcPts val="0"/>
              </a:spcBef>
              <a:spcAft>
                <a:spcPts val="0"/>
              </a:spcAft>
              <a:defRPr/>
            </a:pPr>
            <a:r>
              <a:rPr lang="en-US" altLang="zh-CN" sz="1800" dirty="0">
                <a:solidFill>
                  <a:schemeClr val="tx1">
                    <a:lumMod val="75000"/>
                    <a:lumOff val="25000"/>
                  </a:schemeClr>
                </a:solidFill>
                <a:latin typeface="Impact" pitchFamily="34" charset="0"/>
                <a:ea typeface="+mn-ea"/>
              </a:rPr>
              <a:t>Your Title</a:t>
            </a:r>
          </a:p>
          <a:p>
            <a:pPr algn="ctr" eaLnBrk="1" fontAlgn="auto" hangingPunct="1">
              <a:lnSpc>
                <a:spcPct val="100000"/>
              </a:lnSpc>
              <a:spcBef>
                <a:spcPts val="0"/>
              </a:spcBef>
              <a:spcAft>
                <a:spcPts val="0"/>
              </a:spcAft>
              <a:defRPr/>
            </a:pPr>
            <a:r>
              <a:rPr lang="en-US" altLang="zh-CN" dirty="0">
                <a:solidFill>
                  <a:schemeClr val="tx1">
                    <a:lumMod val="75000"/>
                    <a:lumOff val="25000"/>
                  </a:schemeClr>
                </a:solidFill>
                <a:latin typeface="+mn-lt"/>
                <a:ea typeface="+mn-ea"/>
              </a:rPr>
              <a:t>click to add subtitle click to add subtitle click to add subtitle click to add subtitle</a:t>
            </a:r>
            <a:r>
              <a:rPr lang="zh-CN" altLang="en-US" dirty="0">
                <a:solidFill>
                  <a:schemeClr val="tx1">
                    <a:lumMod val="75000"/>
                    <a:lumOff val="25000"/>
                  </a:schemeClr>
                </a:solidFill>
                <a:latin typeface="+mn-lt"/>
                <a:ea typeface="+mn-ea"/>
              </a:rPr>
              <a:t> </a:t>
            </a:r>
            <a:r>
              <a:rPr lang="en-US" altLang="zh-CN" dirty="0">
                <a:solidFill>
                  <a:schemeClr val="tx1">
                    <a:lumMod val="75000"/>
                    <a:lumOff val="25000"/>
                  </a:schemeClr>
                </a:solidFill>
                <a:latin typeface="+mn-lt"/>
                <a:ea typeface="+mn-ea"/>
              </a:rPr>
              <a:t>click to add subtitle</a:t>
            </a:r>
            <a:endParaRPr lang="zh-CN" altLang="en-US" dirty="0">
              <a:solidFill>
                <a:schemeClr val="tx1">
                  <a:lumMod val="75000"/>
                  <a:lumOff val="25000"/>
                </a:schemeClr>
              </a:solidFill>
              <a:latin typeface="+mn-lt"/>
              <a:ea typeface="+mn-ea"/>
            </a:endParaRPr>
          </a:p>
        </p:txBody>
      </p:sp>
      <p:sp>
        <p:nvSpPr>
          <p:cNvPr id="22" name="文本框 56">
            <a:extLst>
              <a:ext uri="{FF2B5EF4-FFF2-40B4-BE49-F238E27FC236}">
                <a16:creationId xmlns:a16="http://schemas.microsoft.com/office/drawing/2014/main" id="{0DA73C06-F843-48AE-914E-6D91DCA31D3D}"/>
              </a:ext>
            </a:extLst>
          </p:cNvPr>
          <p:cNvSpPr txBox="1"/>
          <p:nvPr/>
        </p:nvSpPr>
        <p:spPr>
          <a:xfrm>
            <a:off x="6475413" y="2211388"/>
            <a:ext cx="2235200" cy="1231900"/>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ctr" eaLnBrk="1" fontAlgn="auto" hangingPunct="1">
              <a:lnSpc>
                <a:spcPct val="100000"/>
              </a:lnSpc>
              <a:spcBef>
                <a:spcPts val="0"/>
              </a:spcBef>
              <a:spcAft>
                <a:spcPts val="0"/>
              </a:spcAft>
              <a:defRPr/>
            </a:pPr>
            <a:r>
              <a:rPr lang="en-US" altLang="zh-CN" sz="1800" dirty="0">
                <a:solidFill>
                  <a:schemeClr val="tx1">
                    <a:lumMod val="75000"/>
                    <a:lumOff val="25000"/>
                  </a:schemeClr>
                </a:solidFill>
                <a:latin typeface="Impact" pitchFamily="34" charset="0"/>
                <a:ea typeface="+mn-ea"/>
              </a:rPr>
              <a:t>Your Title</a:t>
            </a:r>
          </a:p>
          <a:p>
            <a:pPr algn="ctr" eaLnBrk="1" fontAlgn="auto" hangingPunct="1">
              <a:lnSpc>
                <a:spcPct val="100000"/>
              </a:lnSpc>
              <a:spcBef>
                <a:spcPts val="0"/>
              </a:spcBef>
              <a:spcAft>
                <a:spcPts val="0"/>
              </a:spcAft>
              <a:defRPr/>
            </a:pPr>
            <a:r>
              <a:rPr lang="en-US" altLang="zh-CN" dirty="0">
                <a:solidFill>
                  <a:schemeClr val="tx1">
                    <a:lumMod val="75000"/>
                    <a:lumOff val="25000"/>
                  </a:schemeClr>
                </a:solidFill>
                <a:latin typeface="+mn-lt"/>
                <a:ea typeface="+mn-ea"/>
              </a:rPr>
              <a:t>click to add subtitle click to add subtitle click to add subtitle click to add subtitle</a:t>
            </a:r>
            <a:r>
              <a:rPr lang="zh-CN" altLang="en-US" dirty="0">
                <a:solidFill>
                  <a:schemeClr val="tx1">
                    <a:lumMod val="75000"/>
                    <a:lumOff val="25000"/>
                  </a:schemeClr>
                </a:solidFill>
                <a:latin typeface="+mn-lt"/>
                <a:ea typeface="+mn-ea"/>
              </a:rPr>
              <a:t> </a:t>
            </a:r>
            <a:r>
              <a:rPr lang="en-US" altLang="zh-CN" dirty="0">
                <a:solidFill>
                  <a:schemeClr val="tx1">
                    <a:lumMod val="75000"/>
                    <a:lumOff val="25000"/>
                  </a:schemeClr>
                </a:solidFill>
                <a:latin typeface="+mn-lt"/>
                <a:ea typeface="+mn-ea"/>
              </a:rPr>
              <a:t>click to add subtitle</a:t>
            </a:r>
            <a:endParaRPr lang="zh-CN" altLang="en-US" dirty="0">
              <a:solidFill>
                <a:schemeClr val="tx1">
                  <a:lumMod val="75000"/>
                  <a:lumOff val="25000"/>
                </a:schemeClr>
              </a:solidFill>
              <a:latin typeface="+mn-lt"/>
              <a:ea typeface="+mn-ea"/>
            </a:endParaRPr>
          </a:p>
        </p:txBody>
      </p:sp>
      <p:sp>
        <p:nvSpPr>
          <p:cNvPr id="23" name="文本框 56">
            <a:extLst>
              <a:ext uri="{FF2B5EF4-FFF2-40B4-BE49-F238E27FC236}">
                <a16:creationId xmlns:a16="http://schemas.microsoft.com/office/drawing/2014/main" id="{A54A9DD5-838D-4FDC-BED6-B9C7A1D64F72}"/>
              </a:ext>
            </a:extLst>
          </p:cNvPr>
          <p:cNvSpPr txBox="1"/>
          <p:nvPr/>
        </p:nvSpPr>
        <p:spPr>
          <a:xfrm>
            <a:off x="3478213" y="4114800"/>
            <a:ext cx="2233612" cy="1231900"/>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ctr" eaLnBrk="1" fontAlgn="auto" hangingPunct="1">
              <a:lnSpc>
                <a:spcPct val="100000"/>
              </a:lnSpc>
              <a:spcBef>
                <a:spcPts val="0"/>
              </a:spcBef>
              <a:spcAft>
                <a:spcPts val="0"/>
              </a:spcAft>
              <a:defRPr/>
            </a:pPr>
            <a:r>
              <a:rPr lang="en-US" altLang="zh-CN" sz="1800" dirty="0">
                <a:solidFill>
                  <a:schemeClr val="tx1">
                    <a:lumMod val="75000"/>
                    <a:lumOff val="25000"/>
                  </a:schemeClr>
                </a:solidFill>
                <a:latin typeface="Impact" pitchFamily="34" charset="0"/>
                <a:ea typeface="+mn-ea"/>
              </a:rPr>
              <a:t>Your Title</a:t>
            </a:r>
          </a:p>
          <a:p>
            <a:pPr algn="ctr" eaLnBrk="1" fontAlgn="auto" hangingPunct="1">
              <a:lnSpc>
                <a:spcPct val="100000"/>
              </a:lnSpc>
              <a:spcBef>
                <a:spcPts val="0"/>
              </a:spcBef>
              <a:spcAft>
                <a:spcPts val="0"/>
              </a:spcAft>
              <a:defRPr/>
            </a:pPr>
            <a:r>
              <a:rPr lang="en-US" altLang="zh-CN" dirty="0">
                <a:solidFill>
                  <a:schemeClr val="tx1">
                    <a:lumMod val="75000"/>
                    <a:lumOff val="25000"/>
                  </a:schemeClr>
                </a:solidFill>
                <a:latin typeface="+mn-lt"/>
                <a:ea typeface="+mn-ea"/>
              </a:rPr>
              <a:t>click to add subtitle click to add subtitle click to add subtitle click to add subtitle</a:t>
            </a:r>
            <a:r>
              <a:rPr lang="zh-CN" altLang="en-US" dirty="0">
                <a:solidFill>
                  <a:schemeClr val="tx1">
                    <a:lumMod val="75000"/>
                    <a:lumOff val="25000"/>
                  </a:schemeClr>
                </a:solidFill>
                <a:latin typeface="+mn-lt"/>
                <a:ea typeface="+mn-ea"/>
              </a:rPr>
              <a:t> </a:t>
            </a:r>
            <a:r>
              <a:rPr lang="en-US" altLang="zh-CN" dirty="0">
                <a:solidFill>
                  <a:schemeClr val="tx1">
                    <a:lumMod val="75000"/>
                    <a:lumOff val="25000"/>
                  </a:schemeClr>
                </a:solidFill>
                <a:latin typeface="+mn-lt"/>
                <a:ea typeface="+mn-ea"/>
              </a:rPr>
              <a:t>click to add subtitle</a:t>
            </a:r>
            <a:endParaRPr lang="zh-CN" altLang="en-US" dirty="0">
              <a:solidFill>
                <a:schemeClr val="tx1">
                  <a:lumMod val="75000"/>
                  <a:lumOff val="25000"/>
                </a:schemeClr>
              </a:solidFill>
              <a:latin typeface="+mn-lt"/>
              <a:ea typeface="+mn-ea"/>
            </a:endParaRPr>
          </a:p>
        </p:txBody>
      </p:sp>
      <p:sp>
        <p:nvSpPr>
          <p:cNvPr id="24" name="文本框 56">
            <a:extLst>
              <a:ext uri="{FF2B5EF4-FFF2-40B4-BE49-F238E27FC236}">
                <a16:creationId xmlns:a16="http://schemas.microsoft.com/office/drawing/2014/main" id="{8A12868F-028F-4D8A-8FD0-CA9DCFDFD0D4}"/>
              </a:ext>
            </a:extLst>
          </p:cNvPr>
          <p:cNvSpPr txBox="1"/>
          <p:nvPr/>
        </p:nvSpPr>
        <p:spPr>
          <a:xfrm>
            <a:off x="9480550" y="4114800"/>
            <a:ext cx="2235200" cy="1231900"/>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ctr" eaLnBrk="1" fontAlgn="auto" hangingPunct="1">
              <a:lnSpc>
                <a:spcPct val="100000"/>
              </a:lnSpc>
              <a:spcBef>
                <a:spcPts val="0"/>
              </a:spcBef>
              <a:spcAft>
                <a:spcPts val="0"/>
              </a:spcAft>
              <a:defRPr/>
            </a:pPr>
            <a:r>
              <a:rPr lang="en-US" altLang="zh-CN" sz="1800" dirty="0">
                <a:solidFill>
                  <a:schemeClr val="tx1">
                    <a:lumMod val="75000"/>
                    <a:lumOff val="25000"/>
                  </a:schemeClr>
                </a:solidFill>
                <a:latin typeface="Impact" pitchFamily="34" charset="0"/>
                <a:ea typeface="+mn-ea"/>
              </a:rPr>
              <a:t>Your Title</a:t>
            </a:r>
          </a:p>
          <a:p>
            <a:pPr algn="ctr" eaLnBrk="1" fontAlgn="auto" hangingPunct="1">
              <a:lnSpc>
                <a:spcPct val="100000"/>
              </a:lnSpc>
              <a:spcBef>
                <a:spcPts val="0"/>
              </a:spcBef>
              <a:spcAft>
                <a:spcPts val="0"/>
              </a:spcAft>
              <a:defRPr/>
            </a:pPr>
            <a:r>
              <a:rPr lang="en-US" altLang="zh-CN" dirty="0">
                <a:solidFill>
                  <a:schemeClr val="tx1">
                    <a:lumMod val="75000"/>
                    <a:lumOff val="25000"/>
                  </a:schemeClr>
                </a:solidFill>
                <a:latin typeface="+mn-lt"/>
                <a:ea typeface="+mn-ea"/>
              </a:rPr>
              <a:t>click to add subtitle click to add subtitle click to add subtitle click to add subtitle</a:t>
            </a:r>
            <a:r>
              <a:rPr lang="zh-CN" altLang="en-US" dirty="0">
                <a:solidFill>
                  <a:schemeClr val="tx1">
                    <a:lumMod val="75000"/>
                    <a:lumOff val="25000"/>
                  </a:schemeClr>
                </a:solidFill>
                <a:latin typeface="+mn-lt"/>
                <a:ea typeface="+mn-ea"/>
              </a:rPr>
              <a:t> </a:t>
            </a:r>
            <a:r>
              <a:rPr lang="en-US" altLang="zh-CN" dirty="0">
                <a:solidFill>
                  <a:schemeClr val="tx1">
                    <a:lumMod val="75000"/>
                    <a:lumOff val="25000"/>
                  </a:schemeClr>
                </a:solidFill>
                <a:latin typeface="+mn-lt"/>
                <a:ea typeface="+mn-ea"/>
              </a:rPr>
              <a:t>click to add subtitle</a:t>
            </a:r>
            <a:endParaRPr lang="zh-CN" altLang="en-US" dirty="0">
              <a:solidFill>
                <a:schemeClr val="tx1">
                  <a:lumMod val="75000"/>
                  <a:lumOff val="25000"/>
                </a:schemeClr>
              </a:solidFill>
              <a:latin typeface="+mn-lt"/>
              <a:ea typeface="+mn-ea"/>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par>
                          <p:cTn id="8" fill="hold" nodeType="afterGroup">
                            <p:stCondLst>
                              <p:cond delay="500"/>
                            </p:stCondLst>
                            <p:childTnLst>
                              <p:par>
                                <p:cTn id="9" presetID="53" presetClass="entr" presetSubtype="16"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p:cTn id="11" dur="500" fill="hold"/>
                                        <p:tgtEl>
                                          <p:spTgt spid="2"/>
                                        </p:tgtEl>
                                        <p:attrNameLst>
                                          <p:attrName>ppt_w</p:attrName>
                                        </p:attrNameLst>
                                      </p:cBhvr>
                                      <p:tavLst>
                                        <p:tav tm="0">
                                          <p:val>
                                            <p:fltVal val="0"/>
                                          </p:val>
                                        </p:tav>
                                        <p:tav tm="100000">
                                          <p:val>
                                            <p:strVal val="#ppt_w"/>
                                          </p:val>
                                        </p:tav>
                                      </p:tavLst>
                                    </p:anim>
                                    <p:anim calcmode="lin" valueType="num">
                                      <p:cBhvr>
                                        <p:cTn id="12" dur="500" fill="hold"/>
                                        <p:tgtEl>
                                          <p:spTgt spid="2"/>
                                        </p:tgtEl>
                                        <p:attrNameLst>
                                          <p:attrName>ppt_h</p:attrName>
                                        </p:attrNameLst>
                                      </p:cBhvr>
                                      <p:tavLst>
                                        <p:tav tm="0">
                                          <p:val>
                                            <p:fltVal val="0"/>
                                          </p:val>
                                        </p:tav>
                                        <p:tav tm="100000">
                                          <p:val>
                                            <p:strVal val="#ppt_h"/>
                                          </p:val>
                                        </p:tav>
                                      </p:tavLst>
                                    </p:anim>
                                    <p:animEffect transition="in" filter="fade">
                                      <p:cBhvr>
                                        <p:cTn id="13" dur="500"/>
                                        <p:tgtEl>
                                          <p:spTgt spid="2"/>
                                        </p:tgtEl>
                                      </p:cBhvr>
                                    </p:animEffect>
                                  </p:childTnLst>
                                </p:cTn>
                              </p:par>
                            </p:childTnLst>
                          </p:cTn>
                        </p:par>
                        <p:par>
                          <p:cTn id="14" fill="hold" nodeType="afterGroup">
                            <p:stCondLst>
                              <p:cond delay="1000"/>
                            </p:stCondLst>
                            <p:childTnLst>
                              <p:par>
                                <p:cTn id="15" presetID="53" presetClass="entr" presetSubtype="16" fill="hold" nodeType="after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p:cTn id="17" dur="500" fill="hold"/>
                                        <p:tgtEl>
                                          <p:spTgt spid="7"/>
                                        </p:tgtEl>
                                        <p:attrNameLst>
                                          <p:attrName>ppt_w</p:attrName>
                                        </p:attrNameLst>
                                      </p:cBhvr>
                                      <p:tavLst>
                                        <p:tav tm="0">
                                          <p:val>
                                            <p:fltVal val="0"/>
                                          </p:val>
                                        </p:tav>
                                        <p:tav tm="100000">
                                          <p:val>
                                            <p:strVal val="#ppt_w"/>
                                          </p:val>
                                        </p:tav>
                                      </p:tavLst>
                                    </p:anim>
                                    <p:anim calcmode="lin" valueType="num">
                                      <p:cBhvr>
                                        <p:cTn id="18" dur="500" fill="hold"/>
                                        <p:tgtEl>
                                          <p:spTgt spid="7"/>
                                        </p:tgtEl>
                                        <p:attrNameLst>
                                          <p:attrName>ppt_h</p:attrName>
                                        </p:attrNameLst>
                                      </p:cBhvr>
                                      <p:tavLst>
                                        <p:tav tm="0">
                                          <p:val>
                                            <p:fltVal val="0"/>
                                          </p:val>
                                        </p:tav>
                                        <p:tav tm="100000">
                                          <p:val>
                                            <p:strVal val="#ppt_h"/>
                                          </p:val>
                                        </p:tav>
                                      </p:tavLst>
                                    </p:anim>
                                    <p:animEffect transition="in" filter="fade">
                                      <p:cBhvr>
                                        <p:cTn id="19" dur="500"/>
                                        <p:tgtEl>
                                          <p:spTgt spid="7"/>
                                        </p:tgtEl>
                                      </p:cBhvr>
                                    </p:animEffect>
                                  </p:childTnLst>
                                </p:cTn>
                              </p:par>
                            </p:childTnLst>
                          </p:cTn>
                        </p:par>
                        <p:par>
                          <p:cTn id="20" fill="hold" nodeType="afterGroup">
                            <p:stCondLst>
                              <p:cond delay="1500"/>
                            </p:stCondLst>
                            <p:childTnLst>
                              <p:par>
                                <p:cTn id="21" presetID="53" presetClass="entr" presetSubtype="16" fill="hold" nodeType="afterEffect">
                                  <p:stCondLst>
                                    <p:cond delay="0"/>
                                  </p:stCondLst>
                                  <p:childTnLst>
                                    <p:set>
                                      <p:cBhvr>
                                        <p:cTn id="22" dur="1" fill="hold">
                                          <p:stCondLst>
                                            <p:cond delay="0"/>
                                          </p:stCondLst>
                                        </p:cTn>
                                        <p:tgtEl>
                                          <p:spTgt spid="10"/>
                                        </p:tgtEl>
                                        <p:attrNameLst>
                                          <p:attrName>style.visibility</p:attrName>
                                        </p:attrNameLst>
                                      </p:cBhvr>
                                      <p:to>
                                        <p:strVal val="visible"/>
                                      </p:to>
                                    </p:set>
                                    <p:anim calcmode="lin" valueType="num">
                                      <p:cBhvr>
                                        <p:cTn id="23" dur="500" fill="hold"/>
                                        <p:tgtEl>
                                          <p:spTgt spid="10"/>
                                        </p:tgtEl>
                                        <p:attrNameLst>
                                          <p:attrName>ppt_w</p:attrName>
                                        </p:attrNameLst>
                                      </p:cBhvr>
                                      <p:tavLst>
                                        <p:tav tm="0">
                                          <p:val>
                                            <p:fltVal val="0"/>
                                          </p:val>
                                        </p:tav>
                                        <p:tav tm="100000">
                                          <p:val>
                                            <p:strVal val="#ppt_w"/>
                                          </p:val>
                                        </p:tav>
                                      </p:tavLst>
                                    </p:anim>
                                    <p:anim calcmode="lin" valueType="num">
                                      <p:cBhvr>
                                        <p:cTn id="24" dur="500" fill="hold"/>
                                        <p:tgtEl>
                                          <p:spTgt spid="10"/>
                                        </p:tgtEl>
                                        <p:attrNameLst>
                                          <p:attrName>ppt_h</p:attrName>
                                        </p:attrNameLst>
                                      </p:cBhvr>
                                      <p:tavLst>
                                        <p:tav tm="0">
                                          <p:val>
                                            <p:fltVal val="0"/>
                                          </p:val>
                                        </p:tav>
                                        <p:tav tm="100000">
                                          <p:val>
                                            <p:strVal val="#ppt_h"/>
                                          </p:val>
                                        </p:tav>
                                      </p:tavLst>
                                    </p:anim>
                                    <p:animEffect transition="in" filter="fade">
                                      <p:cBhvr>
                                        <p:cTn id="25" dur="500"/>
                                        <p:tgtEl>
                                          <p:spTgt spid="10"/>
                                        </p:tgtEl>
                                      </p:cBhvr>
                                    </p:animEffect>
                                  </p:childTnLst>
                                </p:cTn>
                              </p:par>
                            </p:childTnLst>
                          </p:cTn>
                        </p:par>
                        <p:par>
                          <p:cTn id="26" fill="hold" nodeType="afterGroup">
                            <p:stCondLst>
                              <p:cond delay="2000"/>
                            </p:stCondLst>
                            <p:childTnLst>
                              <p:par>
                                <p:cTn id="27" presetID="53" presetClass="entr" presetSubtype="16" fill="hold" nodeType="afterEffect">
                                  <p:stCondLst>
                                    <p:cond delay="0"/>
                                  </p:stCondLst>
                                  <p:childTnLst>
                                    <p:set>
                                      <p:cBhvr>
                                        <p:cTn id="28" dur="1" fill="hold">
                                          <p:stCondLst>
                                            <p:cond delay="0"/>
                                          </p:stCondLst>
                                        </p:cTn>
                                        <p:tgtEl>
                                          <p:spTgt spid="13"/>
                                        </p:tgtEl>
                                        <p:attrNameLst>
                                          <p:attrName>style.visibility</p:attrName>
                                        </p:attrNameLst>
                                      </p:cBhvr>
                                      <p:to>
                                        <p:strVal val="visible"/>
                                      </p:to>
                                    </p:set>
                                    <p:anim calcmode="lin" valueType="num">
                                      <p:cBhvr>
                                        <p:cTn id="29" dur="500" fill="hold"/>
                                        <p:tgtEl>
                                          <p:spTgt spid="13"/>
                                        </p:tgtEl>
                                        <p:attrNameLst>
                                          <p:attrName>ppt_w</p:attrName>
                                        </p:attrNameLst>
                                      </p:cBhvr>
                                      <p:tavLst>
                                        <p:tav tm="0">
                                          <p:val>
                                            <p:fltVal val="0"/>
                                          </p:val>
                                        </p:tav>
                                        <p:tav tm="100000">
                                          <p:val>
                                            <p:strVal val="#ppt_w"/>
                                          </p:val>
                                        </p:tav>
                                      </p:tavLst>
                                    </p:anim>
                                    <p:anim calcmode="lin" valueType="num">
                                      <p:cBhvr>
                                        <p:cTn id="30" dur="500" fill="hold"/>
                                        <p:tgtEl>
                                          <p:spTgt spid="13"/>
                                        </p:tgtEl>
                                        <p:attrNameLst>
                                          <p:attrName>ppt_h</p:attrName>
                                        </p:attrNameLst>
                                      </p:cBhvr>
                                      <p:tavLst>
                                        <p:tav tm="0">
                                          <p:val>
                                            <p:fltVal val="0"/>
                                          </p:val>
                                        </p:tav>
                                        <p:tav tm="100000">
                                          <p:val>
                                            <p:strVal val="#ppt_h"/>
                                          </p:val>
                                        </p:tav>
                                      </p:tavLst>
                                    </p:anim>
                                    <p:animEffect transition="in" filter="fade">
                                      <p:cBhvr>
                                        <p:cTn id="31" dur="500"/>
                                        <p:tgtEl>
                                          <p:spTgt spid="13"/>
                                        </p:tgtEl>
                                      </p:cBhvr>
                                    </p:animEffect>
                                  </p:childTnLst>
                                </p:cTn>
                              </p:par>
                            </p:childTnLst>
                          </p:cTn>
                        </p:par>
                        <p:par>
                          <p:cTn id="32" fill="hold" nodeType="afterGroup">
                            <p:stCondLst>
                              <p:cond delay="2500"/>
                            </p:stCondLst>
                            <p:childTnLst>
                              <p:par>
                                <p:cTn id="33" presetID="10" presetClass="entr" presetSubtype="0" fill="hold" grpId="0" nodeType="after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500"/>
                                        <p:tgtEl>
                                          <p:spTgt spid="1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1"/>
                                        </p:tgtEl>
                                        <p:attrNameLst>
                                          <p:attrName>style.visibility</p:attrName>
                                        </p:attrNameLst>
                                      </p:cBhvr>
                                      <p:to>
                                        <p:strVal val="visible"/>
                                      </p:to>
                                    </p:set>
                                    <p:animEffect transition="in" filter="fade">
                                      <p:cBhvr>
                                        <p:cTn id="38" dur="500"/>
                                        <p:tgtEl>
                                          <p:spTgt spid="21"/>
                                        </p:tgtEl>
                                      </p:cBhvr>
                                    </p:animEffect>
                                  </p:childTnLst>
                                </p:cTn>
                              </p:par>
                            </p:childTnLst>
                          </p:cTn>
                        </p:par>
                        <p:par>
                          <p:cTn id="39" fill="hold" nodeType="afterGroup">
                            <p:stCondLst>
                              <p:cond delay="3000"/>
                            </p:stCondLst>
                            <p:childTnLst>
                              <p:par>
                                <p:cTn id="40" presetID="10" presetClass="entr" presetSubtype="0" fill="hold" grpId="0" nodeType="afterEffect">
                                  <p:stCondLst>
                                    <p:cond delay="0"/>
                                  </p:stCondLst>
                                  <p:childTnLst>
                                    <p:set>
                                      <p:cBhvr>
                                        <p:cTn id="41" dur="1" fill="hold">
                                          <p:stCondLst>
                                            <p:cond delay="0"/>
                                          </p:stCondLst>
                                        </p:cTn>
                                        <p:tgtEl>
                                          <p:spTgt spid="19"/>
                                        </p:tgtEl>
                                        <p:attrNameLst>
                                          <p:attrName>style.visibility</p:attrName>
                                        </p:attrNameLst>
                                      </p:cBhvr>
                                      <p:to>
                                        <p:strVal val="visible"/>
                                      </p:to>
                                    </p:set>
                                    <p:animEffect transition="in" filter="fade">
                                      <p:cBhvr>
                                        <p:cTn id="42" dur="500"/>
                                        <p:tgtEl>
                                          <p:spTgt spid="19"/>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3"/>
                                        </p:tgtEl>
                                        <p:attrNameLst>
                                          <p:attrName>style.visibility</p:attrName>
                                        </p:attrNameLst>
                                      </p:cBhvr>
                                      <p:to>
                                        <p:strVal val="visible"/>
                                      </p:to>
                                    </p:set>
                                    <p:animEffect transition="in" filter="fade">
                                      <p:cBhvr>
                                        <p:cTn id="45" dur="500"/>
                                        <p:tgtEl>
                                          <p:spTgt spid="23"/>
                                        </p:tgtEl>
                                      </p:cBhvr>
                                    </p:animEffect>
                                  </p:childTnLst>
                                </p:cTn>
                              </p:par>
                            </p:childTnLst>
                          </p:cTn>
                        </p:par>
                        <p:par>
                          <p:cTn id="46" fill="hold" nodeType="afterGroup">
                            <p:stCondLst>
                              <p:cond delay="3500"/>
                            </p:stCondLst>
                            <p:childTnLst>
                              <p:par>
                                <p:cTn id="47" presetID="10" presetClass="entr" presetSubtype="0" fill="hold" grpId="0" nodeType="afterEffect">
                                  <p:stCondLst>
                                    <p:cond delay="0"/>
                                  </p:stCondLst>
                                  <p:childTnLst>
                                    <p:set>
                                      <p:cBhvr>
                                        <p:cTn id="48" dur="1" fill="hold">
                                          <p:stCondLst>
                                            <p:cond delay="0"/>
                                          </p:stCondLst>
                                        </p:cTn>
                                        <p:tgtEl>
                                          <p:spTgt spid="22"/>
                                        </p:tgtEl>
                                        <p:attrNameLst>
                                          <p:attrName>style.visibility</p:attrName>
                                        </p:attrNameLst>
                                      </p:cBhvr>
                                      <p:to>
                                        <p:strVal val="visible"/>
                                      </p:to>
                                    </p:set>
                                    <p:animEffect transition="in" filter="fade">
                                      <p:cBhvr>
                                        <p:cTn id="49" dur="500"/>
                                        <p:tgtEl>
                                          <p:spTgt spid="22"/>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8"/>
                                        </p:tgtEl>
                                        <p:attrNameLst>
                                          <p:attrName>style.visibility</p:attrName>
                                        </p:attrNameLst>
                                      </p:cBhvr>
                                      <p:to>
                                        <p:strVal val="visible"/>
                                      </p:to>
                                    </p:set>
                                    <p:animEffect transition="in" filter="fade">
                                      <p:cBhvr>
                                        <p:cTn id="52" dur="500"/>
                                        <p:tgtEl>
                                          <p:spTgt spid="18"/>
                                        </p:tgtEl>
                                      </p:cBhvr>
                                    </p:animEffect>
                                  </p:childTnLst>
                                </p:cTn>
                              </p:par>
                            </p:childTnLst>
                          </p:cTn>
                        </p:par>
                        <p:par>
                          <p:cTn id="53" fill="hold" nodeType="afterGroup">
                            <p:stCondLst>
                              <p:cond delay="4000"/>
                            </p:stCondLst>
                            <p:childTnLst>
                              <p:par>
                                <p:cTn id="54" presetID="10" presetClass="entr" presetSubtype="0" fill="hold" grpId="0" nodeType="afterEffect">
                                  <p:stCondLst>
                                    <p:cond delay="0"/>
                                  </p:stCondLst>
                                  <p:childTnLst>
                                    <p:set>
                                      <p:cBhvr>
                                        <p:cTn id="55" dur="1" fill="hold">
                                          <p:stCondLst>
                                            <p:cond delay="0"/>
                                          </p:stCondLst>
                                        </p:cTn>
                                        <p:tgtEl>
                                          <p:spTgt spid="20"/>
                                        </p:tgtEl>
                                        <p:attrNameLst>
                                          <p:attrName>style.visibility</p:attrName>
                                        </p:attrNameLst>
                                      </p:cBhvr>
                                      <p:to>
                                        <p:strVal val="visible"/>
                                      </p:to>
                                    </p:set>
                                    <p:animEffect transition="in" filter="fade">
                                      <p:cBhvr>
                                        <p:cTn id="56" dur="500"/>
                                        <p:tgtEl>
                                          <p:spTgt spid="20"/>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4"/>
                                        </p:tgtEl>
                                        <p:attrNameLst>
                                          <p:attrName>style.visibility</p:attrName>
                                        </p:attrNameLst>
                                      </p:cBhvr>
                                      <p:to>
                                        <p:strVal val="visible"/>
                                      </p:to>
                                    </p:set>
                                    <p:animEffect transition="in" filter="fade">
                                      <p:cBhvr>
                                        <p:cTn id="59"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8" grpId="0"/>
      <p:bldP spid="19" grpId="0"/>
      <p:bldP spid="20" grpId="0"/>
      <p:bldP spid="21" grpId="0"/>
      <p:bldP spid="22" grpId="0"/>
      <p:bldP spid="23" grpId="0"/>
      <p:bldP spid="2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 name="组合 44">
            <a:extLst>
              <a:ext uri="{FF2B5EF4-FFF2-40B4-BE49-F238E27FC236}">
                <a16:creationId xmlns:a16="http://schemas.microsoft.com/office/drawing/2014/main" id="{BF58A105-2B68-4D16-8061-D3063284A70A}"/>
              </a:ext>
            </a:extLst>
          </p:cNvPr>
          <p:cNvGrpSpPr>
            <a:grpSpLocks/>
          </p:cNvGrpSpPr>
          <p:nvPr/>
        </p:nvGrpSpPr>
        <p:grpSpPr bwMode="auto">
          <a:xfrm>
            <a:off x="1182688" y="2035175"/>
            <a:ext cx="1657350" cy="1658938"/>
            <a:chOff x="1182013" y="2035118"/>
            <a:chExt cx="1658768" cy="1658768"/>
          </a:xfrm>
        </p:grpSpPr>
        <p:sp>
          <p:nvSpPr>
            <p:cNvPr id="11" name="椭圆 10">
              <a:extLst>
                <a:ext uri="{FF2B5EF4-FFF2-40B4-BE49-F238E27FC236}">
                  <a16:creationId xmlns:a16="http://schemas.microsoft.com/office/drawing/2014/main" id="{18B6A520-2F52-43F1-8288-B5B0372C3346}"/>
                </a:ext>
              </a:extLst>
            </p:cNvPr>
            <p:cNvSpPr/>
            <p:nvPr/>
          </p:nvSpPr>
          <p:spPr>
            <a:xfrm>
              <a:off x="1182013" y="2035118"/>
              <a:ext cx="1658768" cy="1658768"/>
            </a:xfrm>
            <a:prstGeom prst="ellipse">
              <a:avLst/>
            </a:prstGeom>
            <a:solidFill>
              <a:srgbClr val="C20F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grpSp>
          <p:nvGrpSpPr>
            <p:cNvPr id="12" name="组合 11">
              <a:extLst>
                <a:ext uri="{FF2B5EF4-FFF2-40B4-BE49-F238E27FC236}">
                  <a16:creationId xmlns:a16="http://schemas.microsoft.com/office/drawing/2014/main" id="{973AE8C8-B687-4FA4-8B43-96ACF0767C74}"/>
                </a:ext>
              </a:extLst>
            </p:cNvPr>
            <p:cNvGrpSpPr/>
            <p:nvPr/>
          </p:nvGrpSpPr>
          <p:grpSpPr>
            <a:xfrm>
              <a:off x="1752009" y="2236560"/>
              <a:ext cx="518777" cy="851884"/>
              <a:chOff x="4492626" y="1103313"/>
              <a:chExt cx="150813" cy="247650"/>
            </a:xfrm>
            <a:solidFill>
              <a:schemeClr val="bg1"/>
            </a:solidFill>
          </p:grpSpPr>
          <p:sp>
            <p:nvSpPr>
              <p:cNvPr id="14" name="Freeform 74">
                <a:extLst>
                  <a:ext uri="{FF2B5EF4-FFF2-40B4-BE49-F238E27FC236}">
                    <a16:creationId xmlns:a16="http://schemas.microsoft.com/office/drawing/2014/main" id="{0F80204A-71A6-4F8B-87C0-532926DDB287}"/>
                  </a:ext>
                </a:extLst>
              </p:cNvPr>
              <p:cNvSpPr>
                <a:spLocks/>
              </p:cNvSpPr>
              <p:nvPr/>
            </p:nvSpPr>
            <p:spPr bwMode="auto">
              <a:xfrm>
                <a:off x="4492626" y="1103313"/>
                <a:ext cx="150813" cy="207963"/>
              </a:xfrm>
              <a:custGeom>
                <a:avLst/>
                <a:gdLst>
                  <a:gd name="T0" fmla="*/ 252 w 338"/>
                  <a:gd name="T1" fmla="*/ 409 h 468"/>
                  <a:gd name="T2" fmla="*/ 258 w 338"/>
                  <a:gd name="T3" fmla="*/ 377 h 468"/>
                  <a:gd name="T4" fmla="*/ 333 w 338"/>
                  <a:gd name="T5" fmla="*/ 154 h 468"/>
                  <a:gd name="T6" fmla="*/ 169 w 338"/>
                  <a:gd name="T7" fmla="*/ 0 h 468"/>
                  <a:gd name="T8" fmla="*/ 169 w 338"/>
                  <a:gd name="T9" fmla="*/ 0 h 468"/>
                  <a:gd name="T10" fmla="*/ 168 w 338"/>
                  <a:gd name="T11" fmla="*/ 0 h 468"/>
                  <a:gd name="T12" fmla="*/ 4 w 338"/>
                  <a:gd name="T13" fmla="*/ 154 h 468"/>
                  <a:gd name="T14" fmla="*/ 79 w 338"/>
                  <a:gd name="T15" fmla="*/ 377 h 468"/>
                  <a:gd name="T16" fmla="*/ 85 w 338"/>
                  <a:gd name="T17" fmla="*/ 409 h 468"/>
                  <a:gd name="T18" fmla="*/ 71 w 338"/>
                  <a:gd name="T19" fmla="*/ 430 h 468"/>
                  <a:gd name="T20" fmla="*/ 71 w 338"/>
                  <a:gd name="T21" fmla="*/ 446 h 468"/>
                  <a:gd name="T22" fmla="*/ 93 w 338"/>
                  <a:gd name="T23" fmla="*/ 468 h 468"/>
                  <a:gd name="T24" fmla="*/ 244 w 338"/>
                  <a:gd name="T25" fmla="*/ 468 h 468"/>
                  <a:gd name="T26" fmla="*/ 266 w 338"/>
                  <a:gd name="T27" fmla="*/ 446 h 468"/>
                  <a:gd name="T28" fmla="*/ 266 w 338"/>
                  <a:gd name="T29" fmla="*/ 430 h 468"/>
                  <a:gd name="T30" fmla="*/ 252 w 338"/>
                  <a:gd name="T31" fmla="*/ 409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8" h="468">
                    <a:moveTo>
                      <a:pt x="252" y="409"/>
                    </a:moveTo>
                    <a:cubicBezTo>
                      <a:pt x="255" y="402"/>
                      <a:pt x="258" y="392"/>
                      <a:pt x="258" y="377"/>
                    </a:cubicBezTo>
                    <a:cubicBezTo>
                      <a:pt x="258" y="338"/>
                      <a:pt x="338" y="251"/>
                      <a:pt x="333" y="154"/>
                    </a:cubicBezTo>
                    <a:cubicBezTo>
                      <a:pt x="329" y="57"/>
                      <a:pt x="247" y="0"/>
                      <a:pt x="169" y="0"/>
                    </a:cubicBezTo>
                    <a:cubicBezTo>
                      <a:pt x="169" y="0"/>
                      <a:pt x="169" y="0"/>
                      <a:pt x="169" y="0"/>
                    </a:cubicBezTo>
                    <a:cubicBezTo>
                      <a:pt x="168" y="0"/>
                      <a:pt x="168" y="0"/>
                      <a:pt x="168" y="0"/>
                    </a:cubicBezTo>
                    <a:cubicBezTo>
                      <a:pt x="91" y="0"/>
                      <a:pt x="9" y="57"/>
                      <a:pt x="4" y="154"/>
                    </a:cubicBezTo>
                    <a:cubicBezTo>
                      <a:pt x="0" y="251"/>
                      <a:pt x="79" y="338"/>
                      <a:pt x="79" y="377"/>
                    </a:cubicBezTo>
                    <a:cubicBezTo>
                      <a:pt x="79" y="392"/>
                      <a:pt x="82" y="402"/>
                      <a:pt x="85" y="409"/>
                    </a:cubicBezTo>
                    <a:cubicBezTo>
                      <a:pt x="77" y="413"/>
                      <a:pt x="71" y="420"/>
                      <a:pt x="71" y="430"/>
                    </a:cubicBezTo>
                    <a:cubicBezTo>
                      <a:pt x="71" y="446"/>
                      <a:pt x="71" y="446"/>
                      <a:pt x="71" y="446"/>
                    </a:cubicBezTo>
                    <a:cubicBezTo>
                      <a:pt x="71" y="458"/>
                      <a:pt x="81" y="468"/>
                      <a:pt x="93" y="468"/>
                    </a:cubicBezTo>
                    <a:cubicBezTo>
                      <a:pt x="244" y="468"/>
                      <a:pt x="244" y="468"/>
                      <a:pt x="244" y="468"/>
                    </a:cubicBezTo>
                    <a:cubicBezTo>
                      <a:pt x="256" y="468"/>
                      <a:pt x="266" y="458"/>
                      <a:pt x="266" y="446"/>
                    </a:cubicBezTo>
                    <a:cubicBezTo>
                      <a:pt x="266" y="430"/>
                      <a:pt x="266" y="430"/>
                      <a:pt x="266" y="430"/>
                    </a:cubicBezTo>
                    <a:cubicBezTo>
                      <a:pt x="266" y="420"/>
                      <a:pt x="260" y="413"/>
                      <a:pt x="252" y="4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zh-CN" altLang="en-US">
                  <a:latin typeface="+mn-lt"/>
                  <a:ea typeface="+mn-ea"/>
                </a:endParaRPr>
              </a:p>
            </p:txBody>
          </p:sp>
          <p:sp>
            <p:nvSpPr>
              <p:cNvPr id="15" name="Freeform 75">
                <a:extLst>
                  <a:ext uri="{FF2B5EF4-FFF2-40B4-BE49-F238E27FC236}">
                    <a16:creationId xmlns:a16="http://schemas.microsoft.com/office/drawing/2014/main" id="{345F78B1-E6CA-4BAF-8532-87FA2AB3A3CF}"/>
                  </a:ext>
                </a:extLst>
              </p:cNvPr>
              <p:cNvSpPr>
                <a:spLocks/>
              </p:cNvSpPr>
              <p:nvPr/>
            </p:nvSpPr>
            <p:spPr bwMode="auto">
              <a:xfrm>
                <a:off x="4530726" y="1314450"/>
                <a:ext cx="73025" cy="19050"/>
              </a:xfrm>
              <a:custGeom>
                <a:avLst/>
                <a:gdLst>
                  <a:gd name="T0" fmla="*/ 139 w 161"/>
                  <a:gd name="T1" fmla="*/ 0 h 45"/>
                  <a:gd name="T2" fmla="*/ 22 w 161"/>
                  <a:gd name="T3" fmla="*/ 0 h 45"/>
                  <a:gd name="T4" fmla="*/ 0 w 161"/>
                  <a:gd name="T5" fmla="*/ 22 h 45"/>
                  <a:gd name="T6" fmla="*/ 0 w 161"/>
                  <a:gd name="T7" fmla="*/ 23 h 45"/>
                  <a:gd name="T8" fmla="*/ 22 w 161"/>
                  <a:gd name="T9" fmla="*/ 45 h 45"/>
                  <a:gd name="T10" fmla="*/ 139 w 161"/>
                  <a:gd name="T11" fmla="*/ 45 h 45"/>
                  <a:gd name="T12" fmla="*/ 161 w 161"/>
                  <a:gd name="T13" fmla="*/ 23 h 45"/>
                  <a:gd name="T14" fmla="*/ 161 w 161"/>
                  <a:gd name="T15" fmla="*/ 22 h 45"/>
                  <a:gd name="T16" fmla="*/ 139 w 161"/>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5">
                    <a:moveTo>
                      <a:pt x="139" y="0"/>
                    </a:moveTo>
                    <a:cubicBezTo>
                      <a:pt x="22" y="0"/>
                      <a:pt x="22" y="0"/>
                      <a:pt x="22" y="0"/>
                    </a:cubicBezTo>
                    <a:cubicBezTo>
                      <a:pt x="10" y="0"/>
                      <a:pt x="0" y="10"/>
                      <a:pt x="0" y="22"/>
                    </a:cubicBezTo>
                    <a:cubicBezTo>
                      <a:pt x="0" y="23"/>
                      <a:pt x="0" y="23"/>
                      <a:pt x="0" y="23"/>
                    </a:cubicBezTo>
                    <a:cubicBezTo>
                      <a:pt x="0" y="35"/>
                      <a:pt x="10" y="45"/>
                      <a:pt x="22" y="45"/>
                    </a:cubicBezTo>
                    <a:cubicBezTo>
                      <a:pt x="139" y="45"/>
                      <a:pt x="139" y="45"/>
                      <a:pt x="139" y="45"/>
                    </a:cubicBezTo>
                    <a:cubicBezTo>
                      <a:pt x="151" y="45"/>
                      <a:pt x="161" y="35"/>
                      <a:pt x="161" y="23"/>
                    </a:cubicBezTo>
                    <a:cubicBezTo>
                      <a:pt x="161" y="22"/>
                      <a:pt x="161" y="22"/>
                      <a:pt x="161" y="22"/>
                    </a:cubicBezTo>
                    <a:cubicBezTo>
                      <a:pt x="161" y="10"/>
                      <a:pt x="151" y="0"/>
                      <a:pt x="1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zh-CN" altLang="en-US">
                  <a:latin typeface="+mn-lt"/>
                  <a:ea typeface="+mn-ea"/>
                </a:endParaRPr>
              </a:p>
            </p:txBody>
          </p:sp>
          <p:sp>
            <p:nvSpPr>
              <p:cNvPr id="16" name="Freeform 76">
                <a:extLst>
                  <a:ext uri="{FF2B5EF4-FFF2-40B4-BE49-F238E27FC236}">
                    <a16:creationId xmlns:a16="http://schemas.microsoft.com/office/drawing/2014/main" id="{C41FCE25-2DC9-42D4-9B78-8E1B6E7738D2}"/>
                  </a:ext>
                </a:extLst>
              </p:cNvPr>
              <p:cNvSpPr>
                <a:spLocks/>
              </p:cNvSpPr>
              <p:nvPr/>
            </p:nvSpPr>
            <p:spPr bwMode="auto">
              <a:xfrm>
                <a:off x="4538663" y="1336675"/>
                <a:ext cx="57150" cy="14288"/>
              </a:xfrm>
              <a:custGeom>
                <a:avLst/>
                <a:gdLst>
                  <a:gd name="T0" fmla="*/ 107 w 129"/>
                  <a:gd name="T1" fmla="*/ 0 h 34"/>
                  <a:gd name="T2" fmla="*/ 22 w 129"/>
                  <a:gd name="T3" fmla="*/ 0 h 34"/>
                  <a:gd name="T4" fmla="*/ 0 w 129"/>
                  <a:gd name="T5" fmla="*/ 17 h 34"/>
                  <a:gd name="T6" fmla="*/ 0 w 129"/>
                  <a:gd name="T7" fmla="*/ 18 h 34"/>
                  <a:gd name="T8" fmla="*/ 22 w 129"/>
                  <a:gd name="T9" fmla="*/ 34 h 34"/>
                  <a:gd name="T10" fmla="*/ 107 w 129"/>
                  <a:gd name="T11" fmla="*/ 34 h 34"/>
                  <a:gd name="T12" fmla="*/ 129 w 129"/>
                  <a:gd name="T13" fmla="*/ 18 h 34"/>
                  <a:gd name="T14" fmla="*/ 129 w 129"/>
                  <a:gd name="T15" fmla="*/ 17 h 34"/>
                  <a:gd name="T16" fmla="*/ 107 w 129"/>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 h="34">
                    <a:moveTo>
                      <a:pt x="107" y="0"/>
                    </a:moveTo>
                    <a:cubicBezTo>
                      <a:pt x="22" y="0"/>
                      <a:pt x="22" y="0"/>
                      <a:pt x="22" y="0"/>
                    </a:cubicBezTo>
                    <a:cubicBezTo>
                      <a:pt x="10" y="0"/>
                      <a:pt x="0" y="5"/>
                      <a:pt x="0" y="17"/>
                    </a:cubicBezTo>
                    <a:cubicBezTo>
                      <a:pt x="0" y="18"/>
                      <a:pt x="0" y="18"/>
                      <a:pt x="0" y="18"/>
                    </a:cubicBezTo>
                    <a:cubicBezTo>
                      <a:pt x="0" y="30"/>
                      <a:pt x="10" y="34"/>
                      <a:pt x="22" y="34"/>
                    </a:cubicBezTo>
                    <a:cubicBezTo>
                      <a:pt x="107" y="34"/>
                      <a:pt x="107" y="34"/>
                      <a:pt x="107" y="34"/>
                    </a:cubicBezTo>
                    <a:cubicBezTo>
                      <a:pt x="120" y="34"/>
                      <a:pt x="129" y="30"/>
                      <a:pt x="129" y="18"/>
                    </a:cubicBezTo>
                    <a:cubicBezTo>
                      <a:pt x="129" y="17"/>
                      <a:pt x="129" y="17"/>
                      <a:pt x="129" y="17"/>
                    </a:cubicBezTo>
                    <a:cubicBezTo>
                      <a:pt x="129" y="5"/>
                      <a:pt x="120" y="0"/>
                      <a:pt x="1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zh-CN" altLang="en-US">
                  <a:latin typeface="+mn-lt"/>
                  <a:ea typeface="+mn-ea"/>
                </a:endParaRPr>
              </a:p>
            </p:txBody>
          </p:sp>
        </p:grpSp>
        <p:sp>
          <p:nvSpPr>
            <p:cNvPr id="11290" name="TextBox 38">
              <a:extLst>
                <a:ext uri="{FF2B5EF4-FFF2-40B4-BE49-F238E27FC236}">
                  <a16:creationId xmlns:a16="http://schemas.microsoft.com/office/drawing/2014/main" id="{E7EE367C-52F4-4E53-B1C2-DFC0FE1A9F92}"/>
                </a:ext>
              </a:extLst>
            </p:cNvPr>
            <p:cNvSpPr txBox="1">
              <a:spLocks noChangeArrowheads="1"/>
            </p:cNvSpPr>
            <p:nvPr/>
          </p:nvSpPr>
          <p:spPr bwMode="auto">
            <a:xfrm>
              <a:off x="1640943" y="3177506"/>
              <a:ext cx="74090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sz="2000" b="1">
                  <a:solidFill>
                    <a:schemeClr val="bg1"/>
                  </a:solidFill>
                </a:rPr>
                <a:t>TITLE</a:t>
              </a:r>
              <a:endParaRPr lang="zh-CN" altLang="en-US" sz="2000" b="1">
                <a:solidFill>
                  <a:schemeClr val="bg1"/>
                </a:solidFill>
              </a:endParaRPr>
            </a:p>
          </p:txBody>
        </p:sp>
      </p:grpSp>
      <p:grpSp>
        <p:nvGrpSpPr>
          <p:cNvPr id="44" name="组合 43">
            <a:extLst>
              <a:ext uri="{FF2B5EF4-FFF2-40B4-BE49-F238E27FC236}">
                <a16:creationId xmlns:a16="http://schemas.microsoft.com/office/drawing/2014/main" id="{811A17DC-9A66-4226-9903-ADE63C4D8874}"/>
              </a:ext>
            </a:extLst>
          </p:cNvPr>
          <p:cNvGrpSpPr>
            <a:grpSpLocks/>
          </p:cNvGrpSpPr>
          <p:nvPr/>
        </p:nvGrpSpPr>
        <p:grpSpPr bwMode="auto">
          <a:xfrm>
            <a:off x="3157538" y="2035175"/>
            <a:ext cx="1658937" cy="1658938"/>
            <a:chOff x="3157188" y="2035118"/>
            <a:chExt cx="1658768" cy="1658768"/>
          </a:xfrm>
        </p:grpSpPr>
        <p:sp>
          <p:nvSpPr>
            <p:cNvPr id="26" name="椭圆 25">
              <a:extLst>
                <a:ext uri="{FF2B5EF4-FFF2-40B4-BE49-F238E27FC236}">
                  <a16:creationId xmlns:a16="http://schemas.microsoft.com/office/drawing/2014/main" id="{962F5E86-DB07-4A6F-83A3-8A7A653E3F3B}"/>
                </a:ext>
              </a:extLst>
            </p:cNvPr>
            <p:cNvSpPr/>
            <p:nvPr/>
          </p:nvSpPr>
          <p:spPr>
            <a:xfrm>
              <a:off x="3157188" y="2035118"/>
              <a:ext cx="1658768" cy="1658768"/>
            </a:xfrm>
            <a:prstGeom prst="ellipse">
              <a:avLst/>
            </a:prstGeom>
            <a:solidFill>
              <a:srgbClr val="29292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grpSp>
          <p:nvGrpSpPr>
            <p:cNvPr id="27" name="组合 26">
              <a:extLst>
                <a:ext uri="{FF2B5EF4-FFF2-40B4-BE49-F238E27FC236}">
                  <a16:creationId xmlns:a16="http://schemas.microsoft.com/office/drawing/2014/main" id="{ACF035D6-0434-4CA9-88DF-867A034D6B81}"/>
                </a:ext>
              </a:extLst>
            </p:cNvPr>
            <p:cNvGrpSpPr/>
            <p:nvPr/>
          </p:nvGrpSpPr>
          <p:grpSpPr>
            <a:xfrm>
              <a:off x="3622824" y="2385887"/>
              <a:ext cx="727498" cy="689706"/>
              <a:chOff x="3389313" y="1549400"/>
              <a:chExt cx="244476" cy="231776"/>
            </a:xfrm>
            <a:solidFill>
              <a:schemeClr val="bg1"/>
            </a:solidFill>
          </p:grpSpPr>
          <p:sp>
            <p:nvSpPr>
              <p:cNvPr id="29" name="Rectangle 25">
                <a:extLst>
                  <a:ext uri="{FF2B5EF4-FFF2-40B4-BE49-F238E27FC236}">
                    <a16:creationId xmlns:a16="http://schemas.microsoft.com/office/drawing/2014/main" id="{CD88FD19-E2C4-4CA3-A092-047634C3D4C8}"/>
                  </a:ext>
                </a:extLst>
              </p:cNvPr>
              <p:cNvSpPr>
                <a:spLocks noChangeArrowheads="1"/>
              </p:cNvSpPr>
              <p:nvPr/>
            </p:nvSpPr>
            <p:spPr bwMode="auto">
              <a:xfrm>
                <a:off x="3600451" y="1590675"/>
                <a:ext cx="33338" cy="1905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zh-CN" altLang="en-US">
                  <a:latin typeface="+mn-lt"/>
                  <a:ea typeface="+mn-ea"/>
                </a:endParaRPr>
              </a:p>
            </p:txBody>
          </p:sp>
          <p:sp>
            <p:nvSpPr>
              <p:cNvPr id="30" name="Rectangle 26">
                <a:extLst>
                  <a:ext uri="{FF2B5EF4-FFF2-40B4-BE49-F238E27FC236}">
                    <a16:creationId xmlns:a16="http://schemas.microsoft.com/office/drawing/2014/main" id="{D06AFAEF-122B-4120-87A4-BB0E58129396}"/>
                  </a:ext>
                </a:extLst>
              </p:cNvPr>
              <p:cNvSpPr>
                <a:spLocks noChangeArrowheads="1"/>
              </p:cNvSpPr>
              <p:nvPr/>
            </p:nvSpPr>
            <p:spPr bwMode="auto">
              <a:xfrm>
                <a:off x="3559176" y="1697038"/>
                <a:ext cx="33338" cy="841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zh-CN" altLang="en-US">
                  <a:latin typeface="+mn-lt"/>
                  <a:ea typeface="+mn-ea"/>
                </a:endParaRPr>
              </a:p>
            </p:txBody>
          </p:sp>
          <p:sp>
            <p:nvSpPr>
              <p:cNvPr id="31" name="Rectangle 27">
                <a:extLst>
                  <a:ext uri="{FF2B5EF4-FFF2-40B4-BE49-F238E27FC236}">
                    <a16:creationId xmlns:a16="http://schemas.microsoft.com/office/drawing/2014/main" id="{4F6E6FC9-7D9C-4517-96F6-B5C154363103}"/>
                  </a:ext>
                </a:extLst>
              </p:cNvPr>
              <p:cNvSpPr>
                <a:spLocks noChangeArrowheads="1"/>
              </p:cNvSpPr>
              <p:nvPr/>
            </p:nvSpPr>
            <p:spPr bwMode="auto">
              <a:xfrm>
                <a:off x="3516313" y="1654175"/>
                <a:ext cx="33338"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zh-CN" altLang="en-US">
                  <a:latin typeface="+mn-lt"/>
                  <a:ea typeface="+mn-ea"/>
                </a:endParaRPr>
              </a:p>
            </p:txBody>
          </p:sp>
          <p:sp>
            <p:nvSpPr>
              <p:cNvPr id="32" name="Rectangle 28">
                <a:extLst>
                  <a:ext uri="{FF2B5EF4-FFF2-40B4-BE49-F238E27FC236}">
                    <a16:creationId xmlns:a16="http://schemas.microsoft.com/office/drawing/2014/main" id="{5DB00758-19BB-4026-B1AC-37AABF685EEE}"/>
                  </a:ext>
                </a:extLst>
              </p:cNvPr>
              <p:cNvSpPr>
                <a:spLocks noChangeArrowheads="1"/>
              </p:cNvSpPr>
              <p:nvPr/>
            </p:nvSpPr>
            <p:spPr bwMode="auto">
              <a:xfrm>
                <a:off x="3473451" y="1549400"/>
                <a:ext cx="33338" cy="2317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zh-CN" altLang="en-US">
                  <a:latin typeface="+mn-lt"/>
                  <a:ea typeface="+mn-ea"/>
                </a:endParaRPr>
              </a:p>
            </p:txBody>
          </p:sp>
          <p:sp>
            <p:nvSpPr>
              <p:cNvPr id="33" name="Rectangle 29">
                <a:extLst>
                  <a:ext uri="{FF2B5EF4-FFF2-40B4-BE49-F238E27FC236}">
                    <a16:creationId xmlns:a16="http://schemas.microsoft.com/office/drawing/2014/main" id="{5B34C266-0BDF-4649-87A8-BD846BB28D91}"/>
                  </a:ext>
                </a:extLst>
              </p:cNvPr>
              <p:cNvSpPr>
                <a:spLocks noChangeArrowheads="1"/>
              </p:cNvSpPr>
              <p:nvPr/>
            </p:nvSpPr>
            <p:spPr bwMode="auto">
              <a:xfrm>
                <a:off x="3432176" y="1612900"/>
                <a:ext cx="33338" cy="168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zh-CN" altLang="en-US">
                  <a:latin typeface="+mn-lt"/>
                  <a:ea typeface="+mn-ea"/>
                </a:endParaRPr>
              </a:p>
            </p:txBody>
          </p:sp>
          <p:sp>
            <p:nvSpPr>
              <p:cNvPr id="34" name="Rectangle 30">
                <a:extLst>
                  <a:ext uri="{FF2B5EF4-FFF2-40B4-BE49-F238E27FC236}">
                    <a16:creationId xmlns:a16="http://schemas.microsoft.com/office/drawing/2014/main" id="{BF7BC702-0712-4B10-B79A-38D30F350AE2}"/>
                  </a:ext>
                </a:extLst>
              </p:cNvPr>
              <p:cNvSpPr>
                <a:spLocks noChangeArrowheads="1"/>
              </p:cNvSpPr>
              <p:nvPr/>
            </p:nvSpPr>
            <p:spPr bwMode="auto">
              <a:xfrm>
                <a:off x="3389313" y="1633538"/>
                <a:ext cx="33338" cy="147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zh-CN" altLang="en-US">
                  <a:latin typeface="+mn-lt"/>
                  <a:ea typeface="+mn-ea"/>
                </a:endParaRPr>
              </a:p>
            </p:txBody>
          </p:sp>
        </p:grpSp>
        <p:sp>
          <p:nvSpPr>
            <p:cNvPr id="11287" name="TextBox 39">
              <a:extLst>
                <a:ext uri="{FF2B5EF4-FFF2-40B4-BE49-F238E27FC236}">
                  <a16:creationId xmlns:a16="http://schemas.microsoft.com/office/drawing/2014/main" id="{EA044DCF-C63A-4B42-A5C2-FCBDAEA29839}"/>
                </a:ext>
              </a:extLst>
            </p:cNvPr>
            <p:cNvSpPr txBox="1">
              <a:spLocks noChangeArrowheads="1"/>
            </p:cNvSpPr>
            <p:nvPr/>
          </p:nvSpPr>
          <p:spPr bwMode="auto">
            <a:xfrm>
              <a:off x="3616118" y="3177506"/>
              <a:ext cx="74090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sz="2000" b="1">
                  <a:solidFill>
                    <a:schemeClr val="bg1"/>
                  </a:solidFill>
                </a:rPr>
                <a:t>TITLE</a:t>
              </a:r>
              <a:endParaRPr lang="zh-CN" altLang="en-US" sz="2000" b="1">
                <a:solidFill>
                  <a:schemeClr val="bg1"/>
                </a:solidFill>
              </a:endParaRPr>
            </a:p>
          </p:txBody>
        </p:sp>
      </p:grpSp>
      <p:grpSp>
        <p:nvGrpSpPr>
          <p:cNvPr id="46" name="组合 45">
            <a:extLst>
              <a:ext uri="{FF2B5EF4-FFF2-40B4-BE49-F238E27FC236}">
                <a16:creationId xmlns:a16="http://schemas.microsoft.com/office/drawing/2014/main" id="{00665C21-9253-4365-8910-A996034318F3}"/>
              </a:ext>
            </a:extLst>
          </p:cNvPr>
          <p:cNvGrpSpPr>
            <a:grpSpLocks/>
          </p:cNvGrpSpPr>
          <p:nvPr/>
        </p:nvGrpSpPr>
        <p:grpSpPr bwMode="auto">
          <a:xfrm>
            <a:off x="1198563" y="3983038"/>
            <a:ext cx="1658937" cy="1658937"/>
            <a:chOff x="1198174" y="3982691"/>
            <a:chExt cx="1658768" cy="1658768"/>
          </a:xfrm>
        </p:grpSpPr>
        <p:sp>
          <p:nvSpPr>
            <p:cNvPr id="18" name="椭圆 17">
              <a:extLst>
                <a:ext uri="{FF2B5EF4-FFF2-40B4-BE49-F238E27FC236}">
                  <a16:creationId xmlns:a16="http://schemas.microsoft.com/office/drawing/2014/main" id="{A27C743B-34EA-4235-B7F4-B73A8803DA2E}"/>
                </a:ext>
              </a:extLst>
            </p:cNvPr>
            <p:cNvSpPr/>
            <p:nvPr/>
          </p:nvSpPr>
          <p:spPr>
            <a:xfrm>
              <a:off x="1198174" y="3982691"/>
              <a:ext cx="1658768" cy="1658768"/>
            </a:xfrm>
            <a:prstGeom prst="ellipse">
              <a:avLst/>
            </a:prstGeom>
            <a:solidFill>
              <a:srgbClr val="29292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grpSp>
          <p:nvGrpSpPr>
            <p:cNvPr id="19" name="组合 18">
              <a:extLst>
                <a:ext uri="{FF2B5EF4-FFF2-40B4-BE49-F238E27FC236}">
                  <a16:creationId xmlns:a16="http://schemas.microsoft.com/office/drawing/2014/main" id="{DBE62BF2-00B6-4F3B-98C7-464A924A24AE}"/>
                </a:ext>
              </a:extLst>
            </p:cNvPr>
            <p:cNvGrpSpPr/>
            <p:nvPr/>
          </p:nvGrpSpPr>
          <p:grpSpPr>
            <a:xfrm>
              <a:off x="1630743" y="4166999"/>
              <a:ext cx="793631" cy="793631"/>
              <a:chOff x="5932488" y="2589213"/>
              <a:chExt cx="266700" cy="266700"/>
            </a:xfrm>
            <a:solidFill>
              <a:schemeClr val="bg1"/>
            </a:solidFill>
          </p:grpSpPr>
          <p:sp>
            <p:nvSpPr>
              <p:cNvPr id="21" name="Freeform 69">
                <a:extLst>
                  <a:ext uri="{FF2B5EF4-FFF2-40B4-BE49-F238E27FC236}">
                    <a16:creationId xmlns:a16="http://schemas.microsoft.com/office/drawing/2014/main" id="{62AC553D-C53E-4204-A314-C5376114F825}"/>
                  </a:ext>
                </a:extLst>
              </p:cNvPr>
              <p:cNvSpPr>
                <a:spLocks/>
              </p:cNvSpPr>
              <p:nvPr/>
            </p:nvSpPr>
            <p:spPr bwMode="auto">
              <a:xfrm>
                <a:off x="6075363" y="2589213"/>
                <a:ext cx="123825" cy="123825"/>
              </a:xfrm>
              <a:custGeom>
                <a:avLst/>
                <a:gdLst>
                  <a:gd name="T0" fmla="*/ 0 w 276"/>
                  <a:gd name="T1" fmla="*/ 277 h 277"/>
                  <a:gd name="T2" fmla="*/ 276 w 276"/>
                  <a:gd name="T3" fmla="*/ 277 h 277"/>
                  <a:gd name="T4" fmla="*/ 0 w 276"/>
                  <a:gd name="T5" fmla="*/ 0 h 277"/>
                  <a:gd name="T6" fmla="*/ 0 w 276"/>
                  <a:gd name="T7" fmla="*/ 277 h 277"/>
                </a:gdLst>
                <a:ahLst/>
                <a:cxnLst>
                  <a:cxn ang="0">
                    <a:pos x="T0" y="T1"/>
                  </a:cxn>
                  <a:cxn ang="0">
                    <a:pos x="T2" y="T3"/>
                  </a:cxn>
                  <a:cxn ang="0">
                    <a:pos x="T4" y="T5"/>
                  </a:cxn>
                  <a:cxn ang="0">
                    <a:pos x="T6" y="T7"/>
                  </a:cxn>
                </a:cxnLst>
                <a:rect l="0" t="0" r="r" b="b"/>
                <a:pathLst>
                  <a:path w="276" h="277">
                    <a:moveTo>
                      <a:pt x="0" y="277"/>
                    </a:moveTo>
                    <a:cubicBezTo>
                      <a:pt x="276" y="277"/>
                      <a:pt x="276" y="277"/>
                      <a:pt x="276" y="277"/>
                    </a:cubicBezTo>
                    <a:cubicBezTo>
                      <a:pt x="272" y="126"/>
                      <a:pt x="151" y="4"/>
                      <a:pt x="0" y="0"/>
                    </a:cubicBezTo>
                    <a:lnTo>
                      <a:pt x="0" y="2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zh-CN" altLang="en-US">
                  <a:latin typeface="+mn-lt"/>
                  <a:ea typeface="+mn-ea"/>
                </a:endParaRPr>
              </a:p>
            </p:txBody>
          </p:sp>
          <p:sp>
            <p:nvSpPr>
              <p:cNvPr id="22" name="Freeform 70">
                <a:extLst>
                  <a:ext uri="{FF2B5EF4-FFF2-40B4-BE49-F238E27FC236}">
                    <a16:creationId xmlns:a16="http://schemas.microsoft.com/office/drawing/2014/main" id="{D8ED5D35-ACE2-40B2-836D-43C93A51391B}"/>
                  </a:ext>
                </a:extLst>
              </p:cNvPr>
              <p:cNvSpPr>
                <a:spLocks/>
              </p:cNvSpPr>
              <p:nvPr/>
            </p:nvSpPr>
            <p:spPr bwMode="auto">
              <a:xfrm>
                <a:off x="5932488" y="2603500"/>
                <a:ext cx="122238" cy="122238"/>
              </a:xfrm>
              <a:custGeom>
                <a:avLst/>
                <a:gdLst>
                  <a:gd name="T0" fmla="*/ 276 w 276"/>
                  <a:gd name="T1" fmla="*/ 276 h 276"/>
                  <a:gd name="T2" fmla="*/ 276 w 276"/>
                  <a:gd name="T3" fmla="*/ 0 h 276"/>
                  <a:gd name="T4" fmla="*/ 0 w 276"/>
                  <a:gd name="T5" fmla="*/ 276 h 276"/>
                  <a:gd name="T6" fmla="*/ 276 w 276"/>
                  <a:gd name="T7" fmla="*/ 276 h 276"/>
                </a:gdLst>
                <a:ahLst/>
                <a:cxnLst>
                  <a:cxn ang="0">
                    <a:pos x="T0" y="T1"/>
                  </a:cxn>
                  <a:cxn ang="0">
                    <a:pos x="T2" y="T3"/>
                  </a:cxn>
                  <a:cxn ang="0">
                    <a:pos x="T4" y="T5"/>
                  </a:cxn>
                  <a:cxn ang="0">
                    <a:pos x="T6" y="T7"/>
                  </a:cxn>
                </a:cxnLst>
                <a:rect l="0" t="0" r="r" b="b"/>
                <a:pathLst>
                  <a:path w="276" h="276">
                    <a:moveTo>
                      <a:pt x="276" y="276"/>
                    </a:moveTo>
                    <a:cubicBezTo>
                      <a:pt x="276" y="0"/>
                      <a:pt x="276" y="0"/>
                      <a:pt x="276" y="0"/>
                    </a:cubicBezTo>
                    <a:cubicBezTo>
                      <a:pt x="125" y="4"/>
                      <a:pt x="4" y="125"/>
                      <a:pt x="0" y="276"/>
                    </a:cubicBezTo>
                    <a:lnTo>
                      <a:pt x="276"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zh-CN" altLang="en-US">
                  <a:latin typeface="+mn-lt"/>
                  <a:ea typeface="+mn-ea"/>
                </a:endParaRPr>
              </a:p>
            </p:txBody>
          </p:sp>
          <p:sp>
            <p:nvSpPr>
              <p:cNvPr id="23" name="Freeform 71">
                <a:extLst>
                  <a:ext uri="{FF2B5EF4-FFF2-40B4-BE49-F238E27FC236}">
                    <a16:creationId xmlns:a16="http://schemas.microsoft.com/office/drawing/2014/main" id="{EF7525F3-1812-4A00-A63C-33A5F90F0906}"/>
                  </a:ext>
                </a:extLst>
              </p:cNvPr>
              <p:cNvSpPr>
                <a:spLocks/>
              </p:cNvSpPr>
              <p:nvPr/>
            </p:nvSpPr>
            <p:spPr bwMode="auto">
              <a:xfrm>
                <a:off x="5932488" y="2732088"/>
                <a:ext cx="122238" cy="123825"/>
              </a:xfrm>
              <a:custGeom>
                <a:avLst/>
                <a:gdLst>
                  <a:gd name="T0" fmla="*/ 276 w 276"/>
                  <a:gd name="T1" fmla="*/ 0 h 276"/>
                  <a:gd name="T2" fmla="*/ 0 w 276"/>
                  <a:gd name="T3" fmla="*/ 0 h 276"/>
                  <a:gd name="T4" fmla="*/ 276 w 276"/>
                  <a:gd name="T5" fmla="*/ 276 h 276"/>
                  <a:gd name="T6" fmla="*/ 276 w 276"/>
                  <a:gd name="T7" fmla="*/ 0 h 276"/>
                </a:gdLst>
                <a:ahLst/>
                <a:cxnLst>
                  <a:cxn ang="0">
                    <a:pos x="T0" y="T1"/>
                  </a:cxn>
                  <a:cxn ang="0">
                    <a:pos x="T2" y="T3"/>
                  </a:cxn>
                  <a:cxn ang="0">
                    <a:pos x="T4" y="T5"/>
                  </a:cxn>
                  <a:cxn ang="0">
                    <a:pos x="T6" y="T7"/>
                  </a:cxn>
                </a:cxnLst>
                <a:rect l="0" t="0" r="r" b="b"/>
                <a:pathLst>
                  <a:path w="276" h="276">
                    <a:moveTo>
                      <a:pt x="276" y="0"/>
                    </a:moveTo>
                    <a:cubicBezTo>
                      <a:pt x="0" y="0"/>
                      <a:pt x="0" y="0"/>
                      <a:pt x="0" y="0"/>
                    </a:cubicBezTo>
                    <a:cubicBezTo>
                      <a:pt x="4" y="151"/>
                      <a:pt x="125" y="272"/>
                      <a:pt x="276" y="276"/>
                    </a:cubicBezTo>
                    <a:lnTo>
                      <a:pt x="2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zh-CN" altLang="en-US">
                  <a:latin typeface="+mn-lt"/>
                  <a:ea typeface="+mn-ea"/>
                </a:endParaRPr>
              </a:p>
            </p:txBody>
          </p:sp>
          <p:sp>
            <p:nvSpPr>
              <p:cNvPr id="24" name="Freeform 72">
                <a:extLst>
                  <a:ext uri="{FF2B5EF4-FFF2-40B4-BE49-F238E27FC236}">
                    <a16:creationId xmlns:a16="http://schemas.microsoft.com/office/drawing/2014/main" id="{1AEAB023-2BE9-4DAF-90AE-133B44974EAC}"/>
                  </a:ext>
                </a:extLst>
              </p:cNvPr>
              <p:cNvSpPr>
                <a:spLocks/>
              </p:cNvSpPr>
              <p:nvPr/>
            </p:nvSpPr>
            <p:spPr bwMode="auto">
              <a:xfrm>
                <a:off x="6062663" y="2732088"/>
                <a:ext cx="122238" cy="123825"/>
              </a:xfrm>
              <a:custGeom>
                <a:avLst/>
                <a:gdLst>
                  <a:gd name="T0" fmla="*/ 0 w 277"/>
                  <a:gd name="T1" fmla="*/ 0 h 276"/>
                  <a:gd name="T2" fmla="*/ 0 w 277"/>
                  <a:gd name="T3" fmla="*/ 276 h 276"/>
                  <a:gd name="T4" fmla="*/ 277 w 277"/>
                  <a:gd name="T5" fmla="*/ 0 h 276"/>
                  <a:gd name="T6" fmla="*/ 0 w 277"/>
                  <a:gd name="T7" fmla="*/ 0 h 276"/>
                </a:gdLst>
                <a:ahLst/>
                <a:cxnLst>
                  <a:cxn ang="0">
                    <a:pos x="T0" y="T1"/>
                  </a:cxn>
                  <a:cxn ang="0">
                    <a:pos x="T2" y="T3"/>
                  </a:cxn>
                  <a:cxn ang="0">
                    <a:pos x="T4" y="T5"/>
                  </a:cxn>
                  <a:cxn ang="0">
                    <a:pos x="T6" y="T7"/>
                  </a:cxn>
                </a:cxnLst>
                <a:rect l="0" t="0" r="r" b="b"/>
                <a:pathLst>
                  <a:path w="277" h="276">
                    <a:moveTo>
                      <a:pt x="0" y="0"/>
                    </a:moveTo>
                    <a:cubicBezTo>
                      <a:pt x="0" y="276"/>
                      <a:pt x="0" y="276"/>
                      <a:pt x="0" y="276"/>
                    </a:cubicBezTo>
                    <a:cubicBezTo>
                      <a:pt x="151" y="272"/>
                      <a:pt x="273" y="151"/>
                      <a:pt x="277"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zh-CN" altLang="en-US">
                  <a:latin typeface="+mn-lt"/>
                  <a:ea typeface="+mn-ea"/>
                </a:endParaRPr>
              </a:p>
            </p:txBody>
          </p:sp>
        </p:grpSp>
        <p:sp>
          <p:nvSpPr>
            <p:cNvPr id="11284" name="TextBox 40">
              <a:extLst>
                <a:ext uri="{FF2B5EF4-FFF2-40B4-BE49-F238E27FC236}">
                  <a16:creationId xmlns:a16="http://schemas.microsoft.com/office/drawing/2014/main" id="{E7F01566-2B62-4551-8C9A-77C7767A4221}"/>
                </a:ext>
              </a:extLst>
            </p:cNvPr>
            <p:cNvSpPr txBox="1">
              <a:spLocks noChangeArrowheads="1"/>
            </p:cNvSpPr>
            <p:nvPr/>
          </p:nvSpPr>
          <p:spPr bwMode="auto">
            <a:xfrm>
              <a:off x="1640943" y="5144330"/>
              <a:ext cx="74090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sz="2000" b="1">
                  <a:solidFill>
                    <a:schemeClr val="bg1"/>
                  </a:solidFill>
                </a:rPr>
                <a:t>TITLE</a:t>
              </a:r>
              <a:endParaRPr lang="zh-CN" altLang="en-US" sz="2000" b="1">
                <a:solidFill>
                  <a:schemeClr val="bg1"/>
                </a:solidFill>
              </a:endParaRPr>
            </a:p>
          </p:txBody>
        </p:sp>
      </p:grpSp>
      <p:grpSp>
        <p:nvGrpSpPr>
          <p:cNvPr id="43" name="组合 42">
            <a:extLst>
              <a:ext uri="{FF2B5EF4-FFF2-40B4-BE49-F238E27FC236}">
                <a16:creationId xmlns:a16="http://schemas.microsoft.com/office/drawing/2014/main" id="{3BE79225-E640-4B86-BBD9-126B1CA323F5}"/>
              </a:ext>
            </a:extLst>
          </p:cNvPr>
          <p:cNvGrpSpPr>
            <a:grpSpLocks/>
          </p:cNvGrpSpPr>
          <p:nvPr/>
        </p:nvGrpSpPr>
        <p:grpSpPr bwMode="auto">
          <a:xfrm>
            <a:off x="3173413" y="3983038"/>
            <a:ext cx="1658937" cy="1658937"/>
            <a:chOff x="3173349" y="3982691"/>
            <a:chExt cx="1658768" cy="1658768"/>
          </a:xfrm>
        </p:grpSpPr>
        <p:sp>
          <p:nvSpPr>
            <p:cNvPr id="36" name="椭圆 35">
              <a:extLst>
                <a:ext uri="{FF2B5EF4-FFF2-40B4-BE49-F238E27FC236}">
                  <a16:creationId xmlns:a16="http://schemas.microsoft.com/office/drawing/2014/main" id="{51153A59-D1D4-47E2-9736-8CC9CC4A8B52}"/>
                </a:ext>
              </a:extLst>
            </p:cNvPr>
            <p:cNvSpPr/>
            <p:nvPr/>
          </p:nvSpPr>
          <p:spPr>
            <a:xfrm>
              <a:off x="3173349" y="3982691"/>
              <a:ext cx="1658768" cy="1658768"/>
            </a:xfrm>
            <a:prstGeom prst="ellipse">
              <a:avLst/>
            </a:prstGeom>
            <a:solidFill>
              <a:srgbClr val="C20F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11280" name="Freeform 54">
              <a:extLst>
                <a:ext uri="{FF2B5EF4-FFF2-40B4-BE49-F238E27FC236}">
                  <a16:creationId xmlns:a16="http://schemas.microsoft.com/office/drawing/2014/main" id="{43A84579-7DAA-46A3-81B7-72ED8CBD2AB3}"/>
                </a:ext>
              </a:extLst>
            </p:cNvPr>
            <p:cNvSpPr>
              <a:spLocks/>
            </p:cNvSpPr>
            <p:nvPr/>
          </p:nvSpPr>
          <p:spPr bwMode="auto">
            <a:xfrm>
              <a:off x="3655520" y="4271813"/>
              <a:ext cx="694428" cy="628292"/>
            </a:xfrm>
            <a:custGeom>
              <a:avLst/>
              <a:gdLst>
                <a:gd name="T0" fmla="*/ 0 w 525"/>
                <a:gd name="T1" fmla="*/ 419881208 h 476"/>
                <a:gd name="T2" fmla="*/ 251941124 w 525"/>
                <a:gd name="T3" fmla="*/ 432076144 h 476"/>
                <a:gd name="T4" fmla="*/ 334171981 w 525"/>
                <a:gd name="T5" fmla="*/ 358902565 h 476"/>
                <a:gd name="T6" fmla="*/ 477638160 w 525"/>
                <a:gd name="T7" fmla="*/ 212554087 h 476"/>
                <a:gd name="T8" fmla="*/ 652596980 w 525"/>
                <a:gd name="T9" fmla="*/ 0 h 476"/>
                <a:gd name="T10" fmla="*/ 713832302 w 525"/>
                <a:gd name="T11" fmla="*/ 87112158 h 476"/>
                <a:gd name="T12" fmla="*/ 626352892 w 525"/>
                <a:gd name="T13" fmla="*/ 324057438 h 476"/>
                <a:gd name="T14" fmla="*/ 776817583 w 525"/>
                <a:gd name="T15" fmla="*/ 350190954 h 476"/>
                <a:gd name="T16" fmla="*/ 899288228 w 525"/>
                <a:gd name="T17" fmla="*/ 395490015 h 476"/>
                <a:gd name="T18" fmla="*/ 853798565 w 525"/>
                <a:gd name="T19" fmla="*/ 475632883 h 476"/>
                <a:gd name="T20" fmla="*/ 852049929 w 525"/>
                <a:gd name="T21" fmla="*/ 594105524 h 476"/>
                <a:gd name="T22" fmla="*/ 817057371 w 525"/>
                <a:gd name="T23" fmla="*/ 712578164 h 476"/>
                <a:gd name="T24" fmla="*/ 719080855 w 525"/>
                <a:gd name="T25" fmla="*/ 822339192 h 476"/>
                <a:gd name="T26" fmla="*/ 400655856 w 525"/>
                <a:gd name="T27" fmla="*/ 794463355 h 476"/>
                <a:gd name="T28" fmla="*/ 0 w 525"/>
                <a:gd name="T29" fmla="*/ 796205677 h 476"/>
                <a:gd name="T30" fmla="*/ 0 w 525"/>
                <a:gd name="T31" fmla="*/ 419881208 h 47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5" h="476">
                  <a:moveTo>
                    <a:pt x="0" y="241"/>
                  </a:moveTo>
                  <a:cubicBezTo>
                    <a:pt x="0" y="241"/>
                    <a:pt x="62" y="255"/>
                    <a:pt x="144" y="248"/>
                  </a:cubicBezTo>
                  <a:cubicBezTo>
                    <a:pt x="144" y="248"/>
                    <a:pt x="173" y="250"/>
                    <a:pt x="191" y="206"/>
                  </a:cubicBezTo>
                  <a:cubicBezTo>
                    <a:pt x="209" y="162"/>
                    <a:pt x="248" y="139"/>
                    <a:pt x="273" y="122"/>
                  </a:cubicBezTo>
                  <a:cubicBezTo>
                    <a:pt x="298" y="104"/>
                    <a:pt x="336" y="64"/>
                    <a:pt x="373" y="0"/>
                  </a:cubicBezTo>
                  <a:cubicBezTo>
                    <a:pt x="373" y="0"/>
                    <a:pt x="408" y="0"/>
                    <a:pt x="408" y="50"/>
                  </a:cubicBezTo>
                  <a:cubicBezTo>
                    <a:pt x="408" y="100"/>
                    <a:pt x="332" y="151"/>
                    <a:pt x="358" y="186"/>
                  </a:cubicBezTo>
                  <a:cubicBezTo>
                    <a:pt x="358" y="186"/>
                    <a:pt x="378" y="201"/>
                    <a:pt x="444" y="201"/>
                  </a:cubicBezTo>
                  <a:cubicBezTo>
                    <a:pt x="444" y="201"/>
                    <a:pt x="507" y="189"/>
                    <a:pt x="514" y="227"/>
                  </a:cubicBezTo>
                  <a:cubicBezTo>
                    <a:pt x="514" y="227"/>
                    <a:pt x="524" y="251"/>
                    <a:pt x="488" y="273"/>
                  </a:cubicBezTo>
                  <a:cubicBezTo>
                    <a:pt x="488" y="273"/>
                    <a:pt x="525" y="304"/>
                    <a:pt x="487" y="341"/>
                  </a:cubicBezTo>
                  <a:cubicBezTo>
                    <a:pt x="487" y="341"/>
                    <a:pt x="511" y="390"/>
                    <a:pt x="467" y="409"/>
                  </a:cubicBezTo>
                  <a:cubicBezTo>
                    <a:pt x="467" y="409"/>
                    <a:pt x="476" y="468"/>
                    <a:pt x="411" y="472"/>
                  </a:cubicBezTo>
                  <a:cubicBezTo>
                    <a:pt x="346" y="476"/>
                    <a:pt x="288" y="472"/>
                    <a:pt x="229" y="456"/>
                  </a:cubicBezTo>
                  <a:cubicBezTo>
                    <a:pt x="229" y="456"/>
                    <a:pt x="109" y="420"/>
                    <a:pt x="0" y="457"/>
                  </a:cubicBezTo>
                  <a:lnTo>
                    <a:pt x="0" y="2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11281" name="TextBox 41">
              <a:extLst>
                <a:ext uri="{FF2B5EF4-FFF2-40B4-BE49-F238E27FC236}">
                  <a16:creationId xmlns:a16="http://schemas.microsoft.com/office/drawing/2014/main" id="{384E0746-C06A-41DD-842D-23CE224F83F1}"/>
                </a:ext>
              </a:extLst>
            </p:cNvPr>
            <p:cNvSpPr txBox="1">
              <a:spLocks noChangeArrowheads="1"/>
            </p:cNvSpPr>
            <p:nvPr/>
          </p:nvSpPr>
          <p:spPr bwMode="auto">
            <a:xfrm>
              <a:off x="3616118" y="5144330"/>
              <a:ext cx="74090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sz="2000" b="1">
                  <a:solidFill>
                    <a:schemeClr val="bg1"/>
                  </a:solidFill>
                </a:rPr>
                <a:t>TITLE</a:t>
              </a:r>
              <a:endParaRPr lang="zh-CN" altLang="en-US" sz="2000" b="1">
                <a:solidFill>
                  <a:schemeClr val="bg1"/>
                </a:solidFill>
              </a:endParaRPr>
            </a:p>
          </p:txBody>
        </p:sp>
      </p:grpSp>
      <p:grpSp>
        <p:nvGrpSpPr>
          <p:cNvPr id="49" name="组合 48">
            <a:extLst>
              <a:ext uri="{FF2B5EF4-FFF2-40B4-BE49-F238E27FC236}">
                <a16:creationId xmlns:a16="http://schemas.microsoft.com/office/drawing/2014/main" id="{2D089491-5869-43F1-BCD5-DCB4F513DF94}"/>
              </a:ext>
            </a:extLst>
          </p:cNvPr>
          <p:cNvGrpSpPr/>
          <p:nvPr/>
        </p:nvGrpSpPr>
        <p:grpSpPr>
          <a:xfrm>
            <a:off x="6034705" y="2035118"/>
            <a:ext cx="332797" cy="546486"/>
            <a:chOff x="4492626" y="1103313"/>
            <a:chExt cx="150813" cy="247650"/>
          </a:xfrm>
          <a:solidFill>
            <a:srgbClr val="C20F2A"/>
          </a:solidFill>
        </p:grpSpPr>
        <p:sp>
          <p:nvSpPr>
            <p:cNvPr id="51" name="Freeform 74">
              <a:extLst>
                <a:ext uri="{FF2B5EF4-FFF2-40B4-BE49-F238E27FC236}">
                  <a16:creationId xmlns:a16="http://schemas.microsoft.com/office/drawing/2014/main" id="{45D8D1F0-8805-42DC-A0E0-DCB4832EA7FE}"/>
                </a:ext>
              </a:extLst>
            </p:cNvPr>
            <p:cNvSpPr>
              <a:spLocks/>
            </p:cNvSpPr>
            <p:nvPr/>
          </p:nvSpPr>
          <p:spPr bwMode="auto">
            <a:xfrm>
              <a:off x="4492626" y="1103313"/>
              <a:ext cx="150813" cy="207963"/>
            </a:xfrm>
            <a:custGeom>
              <a:avLst/>
              <a:gdLst>
                <a:gd name="T0" fmla="*/ 252 w 338"/>
                <a:gd name="T1" fmla="*/ 409 h 468"/>
                <a:gd name="T2" fmla="*/ 258 w 338"/>
                <a:gd name="T3" fmla="*/ 377 h 468"/>
                <a:gd name="T4" fmla="*/ 333 w 338"/>
                <a:gd name="T5" fmla="*/ 154 h 468"/>
                <a:gd name="T6" fmla="*/ 169 w 338"/>
                <a:gd name="T7" fmla="*/ 0 h 468"/>
                <a:gd name="T8" fmla="*/ 169 w 338"/>
                <a:gd name="T9" fmla="*/ 0 h 468"/>
                <a:gd name="T10" fmla="*/ 168 w 338"/>
                <a:gd name="T11" fmla="*/ 0 h 468"/>
                <a:gd name="T12" fmla="*/ 4 w 338"/>
                <a:gd name="T13" fmla="*/ 154 h 468"/>
                <a:gd name="T14" fmla="*/ 79 w 338"/>
                <a:gd name="T15" fmla="*/ 377 h 468"/>
                <a:gd name="T16" fmla="*/ 85 w 338"/>
                <a:gd name="T17" fmla="*/ 409 h 468"/>
                <a:gd name="T18" fmla="*/ 71 w 338"/>
                <a:gd name="T19" fmla="*/ 430 h 468"/>
                <a:gd name="T20" fmla="*/ 71 w 338"/>
                <a:gd name="T21" fmla="*/ 446 h 468"/>
                <a:gd name="T22" fmla="*/ 93 w 338"/>
                <a:gd name="T23" fmla="*/ 468 h 468"/>
                <a:gd name="T24" fmla="*/ 244 w 338"/>
                <a:gd name="T25" fmla="*/ 468 h 468"/>
                <a:gd name="T26" fmla="*/ 266 w 338"/>
                <a:gd name="T27" fmla="*/ 446 h 468"/>
                <a:gd name="T28" fmla="*/ 266 w 338"/>
                <a:gd name="T29" fmla="*/ 430 h 468"/>
                <a:gd name="T30" fmla="*/ 252 w 338"/>
                <a:gd name="T31" fmla="*/ 409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8" h="468">
                  <a:moveTo>
                    <a:pt x="252" y="409"/>
                  </a:moveTo>
                  <a:cubicBezTo>
                    <a:pt x="255" y="402"/>
                    <a:pt x="258" y="392"/>
                    <a:pt x="258" y="377"/>
                  </a:cubicBezTo>
                  <a:cubicBezTo>
                    <a:pt x="258" y="338"/>
                    <a:pt x="338" y="251"/>
                    <a:pt x="333" y="154"/>
                  </a:cubicBezTo>
                  <a:cubicBezTo>
                    <a:pt x="329" y="57"/>
                    <a:pt x="247" y="0"/>
                    <a:pt x="169" y="0"/>
                  </a:cubicBezTo>
                  <a:cubicBezTo>
                    <a:pt x="169" y="0"/>
                    <a:pt x="169" y="0"/>
                    <a:pt x="169" y="0"/>
                  </a:cubicBezTo>
                  <a:cubicBezTo>
                    <a:pt x="168" y="0"/>
                    <a:pt x="168" y="0"/>
                    <a:pt x="168" y="0"/>
                  </a:cubicBezTo>
                  <a:cubicBezTo>
                    <a:pt x="91" y="0"/>
                    <a:pt x="9" y="57"/>
                    <a:pt x="4" y="154"/>
                  </a:cubicBezTo>
                  <a:cubicBezTo>
                    <a:pt x="0" y="251"/>
                    <a:pt x="79" y="338"/>
                    <a:pt x="79" y="377"/>
                  </a:cubicBezTo>
                  <a:cubicBezTo>
                    <a:pt x="79" y="392"/>
                    <a:pt x="82" y="402"/>
                    <a:pt x="85" y="409"/>
                  </a:cubicBezTo>
                  <a:cubicBezTo>
                    <a:pt x="77" y="413"/>
                    <a:pt x="71" y="420"/>
                    <a:pt x="71" y="430"/>
                  </a:cubicBezTo>
                  <a:cubicBezTo>
                    <a:pt x="71" y="446"/>
                    <a:pt x="71" y="446"/>
                    <a:pt x="71" y="446"/>
                  </a:cubicBezTo>
                  <a:cubicBezTo>
                    <a:pt x="71" y="458"/>
                    <a:pt x="81" y="468"/>
                    <a:pt x="93" y="468"/>
                  </a:cubicBezTo>
                  <a:cubicBezTo>
                    <a:pt x="244" y="468"/>
                    <a:pt x="244" y="468"/>
                    <a:pt x="244" y="468"/>
                  </a:cubicBezTo>
                  <a:cubicBezTo>
                    <a:pt x="256" y="468"/>
                    <a:pt x="266" y="458"/>
                    <a:pt x="266" y="446"/>
                  </a:cubicBezTo>
                  <a:cubicBezTo>
                    <a:pt x="266" y="430"/>
                    <a:pt x="266" y="430"/>
                    <a:pt x="266" y="430"/>
                  </a:cubicBezTo>
                  <a:cubicBezTo>
                    <a:pt x="266" y="420"/>
                    <a:pt x="260" y="413"/>
                    <a:pt x="252" y="4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zh-CN" altLang="en-US">
                <a:latin typeface="+mn-lt"/>
                <a:ea typeface="+mn-ea"/>
              </a:endParaRPr>
            </a:p>
          </p:txBody>
        </p:sp>
        <p:sp>
          <p:nvSpPr>
            <p:cNvPr id="52" name="Freeform 75">
              <a:extLst>
                <a:ext uri="{FF2B5EF4-FFF2-40B4-BE49-F238E27FC236}">
                  <a16:creationId xmlns:a16="http://schemas.microsoft.com/office/drawing/2014/main" id="{A591E358-BD62-44E4-BC8C-04611C582E9A}"/>
                </a:ext>
              </a:extLst>
            </p:cNvPr>
            <p:cNvSpPr>
              <a:spLocks/>
            </p:cNvSpPr>
            <p:nvPr/>
          </p:nvSpPr>
          <p:spPr bwMode="auto">
            <a:xfrm>
              <a:off x="4530726" y="1314450"/>
              <a:ext cx="73025" cy="19050"/>
            </a:xfrm>
            <a:custGeom>
              <a:avLst/>
              <a:gdLst>
                <a:gd name="T0" fmla="*/ 139 w 161"/>
                <a:gd name="T1" fmla="*/ 0 h 45"/>
                <a:gd name="T2" fmla="*/ 22 w 161"/>
                <a:gd name="T3" fmla="*/ 0 h 45"/>
                <a:gd name="T4" fmla="*/ 0 w 161"/>
                <a:gd name="T5" fmla="*/ 22 h 45"/>
                <a:gd name="T6" fmla="*/ 0 w 161"/>
                <a:gd name="T7" fmla="*/ 23 h 45"/>
                <a:gd name="T8" fmla="*/ 22 w 161"/>
                <a:gd name="T9" fmla="*/ 45 h 45"/>
                <a:gd name="T10" fmla="*/ 139 w 161"/>
                <a:gd name="T11" fmla="*/ 45 h 45"/>
                <a:gd name="T12" fmla="*/ 161 w 161"/>
                <a:gd name="T13" fmla="*/ 23 h 45"/>
                <a:gd name="T14" fmla="*/ 161 w 161"/>
                <a:gd name="T15" fmla="*/ 22 h 45"/>
                <a:gd name="T16" fmla="*/ 139 w 161"/>
                <a:gd name="T17"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45">
                  <a:moveTo>
                    <a:pt x="139" y="0"/>
                  </a:moveTo>
                  <a:cubicBezTo>
                    <a:pt x="22" y="0"/>
                    <a:pt x="22" y="0"/>
                    <a:pt x="22" y="0"/>
                  </a:cubicBezTo>
                  <a:cubicBezTo>
                    <a:pt x="10" y="0"/>
                    <a:pt x="0" y="10"/>
                    <a:pt x="0" y="22"/>
                  </a:cubicBezTo>
                  <a:cubicBezTo>
                    <a:pt x="0" y="23"/>
                    <a:pt x="0" y="23"/>
                    <a:pt x="0" y="23"/>
                  </a:cubicBezTo>
                  <a:cubicBezTo>
                    <a:pt x="0" y="35"/>
                    <a:pt x="10" y="45"/>
                    <a:pt x="22" y="45"/>
                  </a:cubicBezTo>
                  <a:cubicBezTo>
                    <a:pt x="139" y="45"/>
                    <a:pt x="139" y="45"/>
                    <a:pt x="139" y="45"/>
                  </a:cubicBezTo>
                  <a:cubicBezTo>
                    <a:pt x="151" y="45"/>
                    <a:pt x="161" y="35"/>
                    <a:pt x="161" y="23"/>
                  </a:cubicBezTo>
                  <a:cubicBezTo>
                    <a:pt x="161" y="22"/>
                    <a:pt x="161" y="22"/>
                    <a:pt x="161" y="22"/>
                  </a:cubicBezTo>
                  <a:cubicBezTo>
                    <a:pt x="161" y="10"/>
                    <a:pt x="151" y="0"/>
                    <a:pt x="1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zh-CN" altLang="en-US">
                <a:latin typeface="+mn-lt"/>
                <a:ea typeface="+mn-ea"/>
              </a:endParaRPr>
            </a:p>
          </p:txBody>
        </p:sp>
        <p:sp>
          <p:nvSpPr>
            <p:cNvPr id="53" name="Freeform 76">
              <a:extLst>
                <a:ext uri="{FF2B5EF4-FFF2-40B4-BE49-F238E27FC236}">
                  <a16:creationId xmlns:a16="http://schemas.microsoft.com/office/drawing/2014/main" id="{65486E26-E534-48A1-968E-29046D2298D8}"/>
                </a:ext>
              </a:extLst>
            </p:cNvPr>
            <p:cNvSpPr>
              <a:spLocks/>
            </p:cNvSpPr>
            <p:nvPr/>
          </p:nvSpPr>
          <p:spPr bwMode="auto">
            <a:xfrm>
              <a:off x="4538663" y="1336675"/>
              <a:ext cx="57150" cy="14288"/>
            </a:xfrm>
            <a:custGeom>
              <a:avLst/>
              <a:gdLst>
                <a:gd name="T0" fmla="*/ 107 w 129"/>
                <a:gd name="T1" fmla="*/ 0 h 34"/>
                <a:gd name="T2" fmla="*/ 22 w 129"/>
                <a:gd name="T3" fmla="*/ 0 h 34"/>
                <a:gd name="T4" fmla="*/ 0 w 129"/>
                <a:gd name="T5" fmla="*/ 17 h 34"/>
                <a:gd name="T6" fmla="*/ 0 w 129"/>
                <a:gd name="T7" fmla="*/ 18 h 34"/>
                <a:gd name="T8" fmla="*/ 22 w 129"/>
                <a:gd name="T9" fmla="*/ 34 h 34"/>
                <a:gd name="T10" fmla="*/ 107 w 129"/>
                <a:gd name="T11" fmla="*/ 34 h 34"/>
                <a:gd name="T12" fmla="*/ 129 w 129"/>
                <a:gd name="T13" fmla="*/ 18 h 34"/>
                <a:gd name="T14" fmla="*/ 129 w 129"/>
                <a:gd name="T15" fmla="*/ 17 h 34"/>
                <a:gd name="T16" fmla="*/ 107 w 129"/>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 h="34">
                  <a:moveTo>
                    <a:pt x="107" y="0"/>
                  </a:moveTo>
                  <a:cubicBezTo>
                    <a:pt x="22" y="0"/>
                    <a:pt x="22" y="0"/>
                    <a:pt x="22" y="0"/>
                  </a:cubicBezTo>
                  <a:cubicBezTo>
                    <a:pt x="10" y="0"/>
                    <a:pt x="0" y="5"/>
                    <a:pt x="0" y="17"/>
                  </a:cubicBezTo>
                  <a:cubicBezTo>
                    <a:pt x="0" y="18"/>
                    <a:pt x="0" y="18"/>
                    <a:pt x="0" y="18"/>
                  </a:cubicBezTo>
                  <a:cubicBezTo>
                    <a:pt x="0" y="30"/>
                    <a:pt x="10" y="34"/>
                    <a:pt x="22" y="34"/>
                  </a:cubicBezTo>
                  <a:cubicBezTo>
                    <a:pt x="107" y="34"/>
                    <a:pt x="107" y="34"/>
                    <a:pt x="107" y="34"/>
                  </a:cubicBezTo>
                  <a:cubicBezTo>
                    <a:pt x="120" y="34"/>
                    <a:pt x="129" y="30"/>
                    <a:pt x="129" y="18"/>
                  </a:cubicBezTo>
                  <a:cubicBezTo>
                    <a:pt x="129" y="17"/>
                    <a:pt x="129" y="17"/>
                    <a:pt x="129" y="17"/>
                  </a:cubicBezTo>
                  <a:cubicBezTo>
                    <a:pt x="129" y="5"/>
                    <a:pt x="120" y="0"/>
                    <a:pt x="10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zh-CN" altLang="en-US">
                <a:latin typeface="+mn-lt"/>
                <a:ea typeface="+mn-ea"/>
              </a:endParaRPr>
            </a:p>
          </p:txBody>
        </p:sp>
      </p:grpSp>
      <p:grpSp>
        <p:nvGrpSpPr>
          <p:cNvPr id="56" name="组合 55">
            <a:extLst>
              <a:ext uri="{FF2B5EF4-FFF2-40B4-BE49-F238E27FC236}">
                <a16:creationId xmlns:a16="http://schemas.microsoft.com/office/drawing/2014/main" id="{EDD4DEB4-FB58-4D86-982F-16B47144C89E}"/>
              </a:ext>
            </a:extLst>
          </p:cNvPr>
          <p:cNvGrpSpPr/>
          <p:nvPr/>
        </p:nvGrpSpPr>
        <p:grpSpPr>
          <a:xfrm>
            <a:off x="6000013" y="3145091"/>
            <a:ext cx="402181" cy="381288"/>
            <a:chOff x="3389313" y="1549400"/>
            <a:chExt cx="244476" cy="231776"/>
          </a:xfrm>
          <a:solidFill>
            <a:srgbClr val="292929"/>
          </a:solidFill>
        </p:grpSpPr>
        <p:sp>
          <p:nvSpPr>
            <p:cNvPr id="58" name="Rectangle 25">
              <a:extLst>
                <a:ext uri="{FF2B5EF4-FFF2-40B4-BE49-F238E27FC236}">
                  <a16:creationId xmlns:a16="http://schemas.microsoft.com/office/drawing/2014/main" id="{3F252FEE-1F71-40D8-924F-FE1BEFB34910}"/>
                </a:ext>
              </a:extLst>
            </p:cNvPr>
            <p:cNvSpPr>
              <a:spLocks noChangeArrowheads="1"/>
            </p:cNvSpPr>
            <p:nvPr/>
          </p:nvSpPr>
          <p:spPr bwMode="auto">
            <a:xfrm>
              <a:off x="3600451" y="1590675"/>
              <a:ext cx="33338" cy="1905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zh-CN" altLang="en-US">
                <a:latin typeface="+mn-lt"/>
                <a:ea typeface="+mn-ea"/>
              </a:endParaRPr>
            </a:p>
          </p:txBody>
        </p:sp>
        <p:sp>
          <p:nvSpPr>
            <p:cNvPr id="59" name="Rectangle 26">
              <a:extLst>
                <a:ext uri="{FF2B5EF4-FFF2-40B4-BE49-F238E27FC236}">
                  <a16:creationId xmlns:a16="http://schemas.microsoft.com/office/drawing/2014/main" id="{0023588D-86A8-4140-AA1E-81C6970A0309}"/>
                </a:ext>
              </a:extLst>
            </p:cNvPr>
            <p:cNvSpPr>
              <a:spLocks noChangeArrowheads="1"/>
            </p:cNvSpPr>
            <p:nvPr/>
          </p:nvSpPr>
          <p:spPr bwMode="auto">
            <a:xfrm>
              <a:off x="3559176" y="1697038"/>
              <a:ext cx="33338" cy="841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zh-CN" altLang="en-US">
                <a:latin typeface="+mn-lt"/>
                <a:ea typeface="+mn-ea"/>
              </a:endParaRPr>
            </a:p>
          </p:txBody>
        </p:sp>
        <p:sp>
          <p:nvSpPr>
            <p:cNvPr id="60" name="Rectangle 27">
              <a:extLst>
                <a:ext uri="{FF2B5EF4-FFF2-40B4-BE49-F238E27FC236}">
                  <a16:creationId xmlns:a16="http://schemas.microsoft.com/office/drawing/2014/main" id="{A06A1BBD-0EA7-4C1A-97D6-94841C00785A}"/>
                </a:ext>
              </a:extLst>
            </p:cNvPr>
            <p:cNvSpPr>
              <a:spLocks noChangeArrowheads="1"/>
            </p:cNvSpPr>
            <p:nvPr/>
          </p:nvSpPr>
          <p:spPr bwMode="auto">
            <a:xfrm>
              <a:off x="3516313" y="1654175"/>
              <a:ext cx="33338" cy="12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zh-CN" altLang="en-US">
                <a:latin typeface="+mn-lt"/>
                <a:ea typeface="+mn-ea"/>
              </a:endParaRPr>
            </a:p>
          </p:txBody>
        </p:sp>
        <p:sp>
          <p:nvSpPr>
            <p:cNvPr id="61" name="Rectangle 28">
              <a:extLst>
                <a:ext uri="{FF2B5EF4-FFF2-40B4-BE49-F238E27FC236}">
                  <a16:creationId xmlns:a16="http://schemas.microsoft.com/office/drawing/2014/main" id="{A9481BDE-0B78-4898-9B0D-002B3EA33C24}"/>
                </a:ext>
              </a:extLst>
            </p:cNvPr>
            <p:cNvSpPr>
              <a:spLocks noChangeArrowheads="1"/>
            </p:cNvSpPr>
            <p:nvPr/>
          </p:nvSpPr>
          <p:spPr bwMode="auto">
            <a:xfrm>
              <a:off x="3473451" y="1549400"/>
              <a:ext cx="33338" cy="2317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zh-CN" altLang="en-US">
                <a:latin typeface="+mn-lt"/>
                <a:ea typeface="+mn-ea"/>
              </a:endParaRPr>
            </a:p>
          </p:txBody>
        </p:sp>
        <p:sp>
          <p:nvSpPr>
            <p:cNvPr id="62" name="Rectangle 29">
              <a:extLst>
                <a:ext uri="{FF2B5EF4-FFF2-40B4-BE49-F238E27FC236}">
                  <a16:creationId xmlns:a16="http://schemas.microsoft.com/office/drawing/2014/main" id="{2F24ED95-8F8E-48F9-B056-34B96816C5E6}"/>
                </a:ext>
              </a:extLst>
            </p:cNvPr>
            <p:cNvSpPr>
              <a:spLocks noChangeArrowheads="1"/>
            </p:cNvSpPr>
            <p:nvPr/>
          </p:nvSpPr>
          <p:spPr bwMode="auto">
            <a:xfrm>
              <a:off x="3432176" y="1612900"/>
              <a:ext cx="33338" cy="168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zh-CN" altLang="en-US">
                <a:latin typeface="+mn-lt"/>
                <a:ea typeface="+mn-ea"/>
              </a:endParaRPr>
            </a:p>
          </p:txBody>
        </p:sp>
        <p:sp>
          <p:nvSpPr>
            <p:cNvPr id="63" name="Rectangle 30">
              <a:extLst>
                <a:ext uri="{FF2B5EF4-FFF2-40B4-BE49-F238E27FC236}">
                  <a16:creationId xmlns:a16="http://schemas.microsoft.com/office/drawing/2014/main" id="{E943C191-4B8C-416F-B8D0-093E69F126E1}"/>
                </a:ext>
              </a:extLst>
            </p:cNvPr>
            <p:cNvSpPr>
              <a:spLocks noChangeArrowheads="1"/>
            </p:cNvSpPr>
            <p:nvPr/>
          </p:nvSpPr>
          <p:spPr bwMode="auto">
            <a:xfrm>
              <a:off x="3389313" y="1633538"/>
              <a:ext cx="33338" cy="1476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zh-CN" altLang="en-US">
                <a:latin typeface="+mn-lt"/>
                <a:ea typeface="+mn-ea"/>
              </a:endParaRPr>
            </a:p>
          </p:txBody>
        </p:sp>
      </p:grpSp>
      <p:grpSp>
        <p:nvGrpSpPr>
          <p:cNvPr id="66" name="组合 65">
            <a:extLst>
              <a:ext uri="{FF2B5EF4-FFF2-40B4-BE49-F238E27FC236}">
                <a16:creationId xmlns:a16="http://schemas.microsoft.com/office/drawing/2014/main" id="{1F273D83-D7C5-4BCE-8787-ABF5D9F6C76D}"/>
              </a:ext>
            </a:extLst>
          </p:cNvPr>
          <p:cNvGrpSpPr/>
          <p:nvPr/>
        </p:nvGrpSpPr>
        <p:grpSpPr>
          <a:xfrm>
            <a:off x="5981733" y="4089866"/>
            <a:ext cx="438741" cy="438741"/>
            <a:chOff x="5932488" y="2589213"/>
            <a:chExt cx="266700" cy="266700"/>
          </a:xfrm>
          <a:solidFill>
            <a:srgbClr val="292929"/>
          </a:solidFill>
        </p:grpSpPr>
        <p:sp>
          <p:nvSpPr>
            <p:cNvPr id="68" name="Freeform 69">
              <a:extLst>
                <a:ext uri="{FF2B5EF4-FFF2-40B4-BE49-F238E27FC236}">
                  <a16:creationId xmlns:a16="http://schemas.microsoft.com/office/drawing/2014/main" id="{AFE879C2-F004-4EBE-84C4-58303891A5A6}"/>
                </a:ext>
              </a:extLst>
            </p:cNvPr>
            <p:cNvSpPr>
              <a:spLocks/>
            </p:cNvSpPr>
            <p:nvPr/>
          </p:nvSpPr>
          <p:spPr bwMode="auto">
            <a:xfrm>
              <a:off x="6075363" y="2589213"/>
              <a:ext cx="123825" cy="123825"/>
            </a:xfrm>
            <a:custGeom>
              <a:avLst/>
              <a:gdLst>
                <a:gd name="T0" fmla="*/ 0 w 276"/>
                <a:gd name="T1" fmla="*/ 277 h 277"/>
                <a:gd name="T2" fmla="*/ 276 w 276"/>
                <a:gd name="T3" fmla="*/ 277 h 277"/>
                <a:gd name="T4" fmla="*/ 0 w 276"/>
                <a:gd name="T5" fmla="*/ 0 h 277"/>
                <a:gd name="T6" fmla="*/ 0 w 276"/>
                <a:gd name="T7" fmla="*/ 277 h 277"/>
              </a:gdLst>
              <a:ahLst/>
              <a:cxnLst>
                <a:cxn ang="0">
                  <a:pos x="T0" y="T1"/>
                </a:cxn>
                <a:cxn ang="0">
                  <a:pos x="T2" y="T3"/>
                </a:cxn>
                <a:cxn ang="0">
                  <a:pos x="T4" y="T5"/>
                </a:cxn>
                <a:cxn ang="0">
                  <a:pos x="T6" y="T7"/>
                </a:cxn>
              </a:cxnLst>
              <a:rect l="0" t="0" r="r" b="b"/>
              <a:pathLst>
                <a:path w="276" h="277">
                  <a:moveTo>
                    <a:pt x="0" y="277"/>
                  </a:moveTo>
                  <a:cubicBezTo>
                    <a:pt x="276" y="277"/>
                    <a:pt x="276" y="277"/>
                    <a:pt x="276" y="277"/>
                  </a:cubicBezTo>
                  <a:cubicBezTo>
                    <a:pt x="272" y="126"/>
                    <a:pt x="151" y="4"/>
                    <a:pt x="0" y="0"/>
                  </a:cubicBezTo>
                  <a:lnTo>
                    <a:pt x="0" y="2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zh-CN" altLang="en-US">
                <a:latin typeface="+mn-lt"/>
                <a:ea typeface="+mn-ea"/>
              </a:endParaRPr>
            </a:p>
          </p:txBody>
        </p:sp>
        <p:sp>
          <p:nvSpPr>
            <p:cNvPr id="69" name="Freeform 70">
              <a:extLst>
                <a:ext uri="{FF2B5EF4-FFF2-40B4-BE49-F238E27FC236}">
                  <a16:creationId xmlns:a16="http://schemas.microsoft.com/office/drawing/2014/main" id="{F1558E61-685C-4BC7-BF4F-C839185CCB9D}"/>
                </a:ext>
              </a:extLst>
            </p:cNvPr>
            <p:cNvSpPr>
              <a:spLocks/>
            </p:cNvSpPr>
            <p:nvPr/>
          </p:nvSpPr>
          <p:spPr bwMode="auto">
            <a:xfrm>
              <a:off x="5932488" y="2603500"/>
              <a:ext cx="122238" cy="122238"/>
            </a:xfrm>
            <a:custGeom>
              <a:avLst/>
              <a:gdLst>
                <a:gd name="T0" fmla="*/ 276 w 276"/>
                <a:gd name="T1" fmla="*/ 276 h 276"/>
                <a:gd name="T2" fmla="*/ 276 w 276"/>
                <a:gd name="T3" fmla="*/ 0 h 276"/>
                <a:gd name="T4" fmla="*/ 0 w 276"/>
                <a:gd name="T5" fmla="*/ 276 h 276"/>
                <a:gd name="T6" fmla="*/ 276 w 276"/>
                <a:gd name="T7" fmla="*/ 276 h 276"/>
              </a:gdLst>
              <a:ahLst/>
              <a:cxnLst>
                <a:cxn ang="0">
                  <a:pos x="T0" y="T1"/>
                </a:cxn>
                <a:cxn ang="0">
                  <a:pos x="T2" y="T3"/>
                </a:cxn>
                <a:cxn ang="0">
                  <a:pos x="T4" y="T5"/>
                </a:cxn>
                <a:cxn ang="0">
                  <a:pos x="T6" y="T7"/>
                </a:cxn>
              </a:cxnLst>
              <a:rect l="0" t="0" r="r" b="b"/>
              <a:pathLst>
                <a:path w="276" h="276">
                  <a:moveTo>
                    <a:pt x="276" y="276"/>
                  </a:moveTo>
                  <a:cubicBezTo>
                    <a:pt x="276" y="0"/>
                    <a:pt x="276" y="0"/>
                    <a:pt x="276" y="0"/>
                  </a:cubicBezTo>
                  <a:cubicBezTo>
                    <a:pt x="125" y="4"/>
                    <a:pt x="4" y="125"/>
                    <a:pt x="0" y="276"/>
                  </a:cubicBezTo>
                  <a:lnTo>
                    <a:pt x="276"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zh-CN" altLang="en-US">
                <a:latin typeface="+mn-lt"/>
                <a:ea typeface="+mn-ea"/>
              </a:endParaRPr>
            </a:p>
          </p:txBody>
        </p:sp>
        <p:sp>
          <p:nvSpPr>
            <p:cNvPr id="70" name="Freeform 71">
              <a:extLst>
                <a:ext uri="{FF2B5EF4-FFF2-40B4-BE49-F238E27FC236}">
                  <a16:creationId xmlns:a16="http://schemas.microsoft.com/office/drawing/2014/main" id="{5C926714-DFAC-4AC9-B1DA-CD2C0B0673AA}"/>
                </a:ext>
              </a:extLst>
            </p:cNvPr>
            <p:cNvSpPr>
              <a:spLocks/>
            </p:cNvSpPr>
            <p:nvPr/>
          </p:nvSpPr>
          <p:spPr bwMode="auto">
            <a:xfrm>
              <a:off x="5932488" y="2732088"/>
              <a:ext cx="122238" cy="123825"/>
            </a:xfrm>
            <a:custGeom>
              <a:avLst/>
              <a:gdLst>
                <a:gd name="T0" fmla="*/ 276 w 276"/>
                <a:gd name="T1" fmla="*/ 0 h 276"/>
                <a:gd name="T2" fmla="*/ 0 w 276"/>
                <a:gd name="T3" fmla="*/ 0 h 276"/>
                <a:gd name="T4" fmla="*/ 276 w 276"/>
                <a:gd name="T5" fmla="*/ 276 h 276"/>
                <a:gd name="T6" fmla="*/ 276 w 276"/>
                <a:gd name="T7" fmla="*/ 0 h 276"/>
              </a:gdLst>
              <a:ahLst/>
              <a:cxnLst>
                <a:cxn ang="0">
                  <a:pos x="T0" y="T1"/>
                </a:cxn>
                <a:cxn ang="0">
                  <a:pos x="T2" y="T3"/>
                </a:cxn>
                <a:cxn ang="0">
                  <a:pos x="T4" y="T5"/>
                </a:cxn>
                <a:cxn ang="0">
                  <a:pos x="T6" y="T7"/>
                </a:cxn>
              </a:cxnLst>
              <a:rect l="0" t="0" r="r" b="b"/>
              <a:pathLst>
                <a:path w="276" h="276">
                  <a:moveTo>
                    <a:pt x="276" y="0"/>
                  </a:moveTo>
                  <a:cubicBezTo>
                    <a:pt x="0" y="0"/>
                    <a:pt x="0" y="0"/>
                    <a:pt x="0" y="0"/>
                  </a:cubicBezTo>
                  <a:cubicBezTo>
                    <a:pt x="4" y="151"/>
                    <a:pt x="125" y="272"/>
                    <a:pt x="276" y="276"/>
                  </a:cubicBezTo>
                  <a:lnTo>
                    <a:pt x="2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zh-CN" altLang="en-US">
                <a:latin typeface="+mn-lt"/>
                <a:ea typeface="+mn-ea"/>
              </a:endParaRPr>
            </a:p>
          </p:txBody>
        </p:sp>
        <p:sp>
          <p:nvSpPr>
            <p:cNvPr id="71" name="Freeform 72">
              <a:extLst>
                <a:ext uri="{FF2B5EF4-FFF2-40B4-BE49-F238E27FC236}">
                  <a16:creationId xmlns:a16="http://schemas.microsoft.com/office/drawing/2014/main" id="{6C5CE754-133E-485A-807D-27BCF4C2B88C}"/>
                </a:ext>
              </a:extLst>
            </p:cNvPr>
            <p:cNvSpPr>
              <a:spLocks/>
            </p:cNvSpPr>
            <p:nvPr/>
          </p:nvSpPr>
          <p:spPr bwMode="auto">
            <a:xfrm>
              <a:off x="6062663" y="2732088"/>
              <a:ext cx="122238" cy="123825"/>
            </a:xfrm>
            <a:custGeom>
              <a:avLst/>
              <a:gdLst>
                <a:gd name="T0" fmla="*/ 0 w 277"/>
                <a:gd name="T1" fmla="*/ 0 h 276"/>
                <a:gd name="T2" fmla="*/ 0 w 277"/>
                <a:gd name="T3" fmla="*/ 276 h 276"/>
                <a:gd name="T4" fmla="*/ 277 w 277"/>
                <a:gd name="T5" fmla="*/ 0 h 276"/>
                <a:gd name="T6" fmla="*/ 0 w 277"/>
                <a:gd name="T7" fmla="*/ 0 h 276"/>
              </a:gdLst>
              <a:ahLst/>
              <a:cxnLst>
                <a:cxn ang="0">
                  <a:pos x="T0" y="T1"/>
                </a:cxn>
                <a:cxn ang="0">
                  <a:pos x="T2" y="T3"/>
                </a:cxn>
                <a:cxn ang="0">
                  <a:pos x="T4" y="T5"/>
                </a:cxn>
                <a:cxn ang="0">
                  <a:pos x="T6" y="T7"/>
                </a:cxn>
              </a:cxnLst>
              <a:rect l="0" t="0" r="r" b="b"/>
              <a:pathLst>
                <a:path w="277" h="276">
                  <a:moveTo>
                    <a:pt x="0" y="0"/>
                  </a:moveTo>
                  <a:cubicBezTo>
                    <a:pt x="0" y="276"/>
                    <a:pt x="0" y="276"/>
                    <a:pt x="0" y="276"/>
                  </a:cubicBezTo>
                  <a:cubicBezTo>
                    <a:pt x="151" y="272"/>
                    <a:pt x="273" y="151"/>
                    <a:pt x="277"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zh-CN" altLang="en-US">
                <a:latin typeface="+mn-lt"/>
                <a:ea typeface="+mn-ea"/>
              </a:endParaRPr>
            </a:p>
          </p:txBody>
        </p:sp>
      </p:grpSp>
      <p:sp>
        <p:nvSpPr>
          <p:cNvPr id="74" name="Freeform 54">
            <a:extLst>
              <a:ext uri="{FF2B5EF4-FFF2-40B4-BE49-F238E27FC236}">
                <a16:creationId xmlns:a16="http://schemas.microsoft.com/office/drawing/2014/main" id="{2B5C520C-8FEE-405C-A99A-5E7F0B2FFC03}"/>
              </a:ext>
            </a:extLst>
          </p:cNvPr>
          <p:cNvSpPr>
            <a:spLocks/>
          </p:cNvSpPr>
          <p:nvPr/>
        </p:nvSpPr>
        <p:spPr bwMode="auto">
          <a:xfrm>
            <a:off x="5951538" y="5092700"/>
            <a:ext cx="500062" cy="452438"/>
          </a:xfrm>
          <a:custGeom>
            <a:avLst/>
            <a:gdLst>
              <a:gd name="T0" fmla="*/ 0 w 525"/>
              <a:gd name="T1" fmla="*/ 217687312 h 476"/>
              <a:gd name="T2" fmla="*/ 130618099 w 525"/>
              <a:gd name="T3" fmla="*/ 224010038 h 476"/>
              <a:gd name="T4" fmla="*/ 173251004 w 525"/>
              <a:gd name="T5" fmla="*/ 186072732 h 476"/>
              <a:gd name="T6" fmla="*/ 247630702 w 525"/>
              <a:gd name="T7" fmla="*/ 110198119 h 476"/>
              <a:gd name="T8" fmla="*/ 338338139 w 525"/>
              <a:gd name="T9" fmla="*/ 0 h 476"/>
              <a:gd name="T10" fmla="*/ 370085885 w 525"/>
              <a:gd name="T11" fmla="*/ 45163008 h 476"/>
              <a:gd name="T12" fmla="*/ 324731690 w 525"/>
              <a:gd name="T13" fmla="*/ 168007529 h 476"/>
              <a:gd name="T14" fmla="*/ 402740410 w 525"/>
              <a:gd name="T15" fmla="*/ 181556906 h 476"/>
              <a:gd name="T16" fmla="*/ 466235901 w 525"/>
              <a:gd name="T17" fmla="*/ 205041860 h 476"/>
              <a:gd name="T18" fmla="*/ 442652025 w 525"/>
              <a:gd name="T19" fmla="*/ 246592017 h 476"/>
              <a:gd name="T20" fmla="*/ 441744293 w 525"/>
              <a:gd name="T21" fmla="*/ 308014278 h 476"/>
              <a:gd name="T22" fmla="*/ 423602996 w 525"/>
              <a:gd name="T23" fmla="*/ 369435588 h 476"/>
              <a:gd name="T24" fmla="*/ 372807175 w 525"/>
              <a:gd name="T25" fmla="*/ 426342023 h 476"/>
              <a:gd name="T26" fmla="*/ 207720040 w 525"/>
              <a:gd name="T27" fmla="*/ 411889670 h 476"/>
              <a:gd name="T28" fmla="*/ 0 w 525"/>
              <a:gd name="T29" fmla="*/ 412792645 h 476"/>
              <a:gd name="T30" fmla="*/ 0 w 525"/>
              <a:gd name="T31" fmla="*/ 217687312 h 47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5" h="476">
                <a:moveTo>
                  <a:pt x="0" y="241"/>
                </a:moveTo>
                <a:cubicBezTo>
                  <a:pt x="0" y="241"/>
                  <a:pt x="62" y="255"/>
                  <a:pt x="144" y="248"/>
                </a:cubicBezTo>
                <a:cubicBezTo>
                  <a:pt x="144" y="248"/>
                  <a:pt x="173" y="250"/>
                  <a:pt x="191" y="206"/>
                </a:cubicBezTo>
                <a:cubicBezTo>
                  <a:pt x="209" y="162"/>
                  <a:pt x="248" y="139"/>
                  <a:pt x="273" y="122"/>
                </a:cubicBezTo>
                <a:cubicBezTo>
                  <a:pt x="298" y="104"/>
                  <a:pt x="336" y="64"/>
                  <a:pt x="373" y="0"/>
                </a:cubicBezTo>
                <a:cubicBezTo>
                  <a:pt x="373" y="0"/>
                  <a:pt x="408" y="0"/>
                  <a:pt x="408" y="50"/>
                </a:cubicBezTo>
                <a:cubicBezTo>
                  <a:pt x="408" y="100"/>
                  <a:pt x="332" y="151"/>
                  <a:pt x="358" y="186"/>
                </a:cubicBezTo>
                <a:cubicBezTo>
                  <a:pt x="358" y="186"/>
                  <a:pt x="378" y="201"/>
                  <a:pt x="444" y="201"/>
                </a:cubicBezTo>
                <a:cubicBezTo>
                  <a:pt x="444" y="201"/>
                  <a:pt x="507" y="189"/>
                  <a:pt x="514" y="227"/>
                </a:cubicBezTo>
                <a:cubicBezTo>
                  <a:pt x="514" y="227"/>
                  <a:pt x="524" y="251"/>
                  <a:pt x="488" y="273"/>
                </a:cubicBezTo>
                <a:cubicBezTo>
                  <a:pt x="488" y="273"/>
                  <a:pt x="525" y="304"/>
                  <a:pt x="487" y="341"/>
                </a:cubicBezTo>
                <a:cubicBezTo>
                  <a:pt x="487" y="341"/>
                  <a:pt x="511" y="390"/>
                  <a:pt x="467" y="409"/>
                </a:cubicBezTo>
                <a:cubicBezTo>
                  <a:pt x="467" y="409"/>
                  <a:pt x="476" y="468"/>
                  <a:pt x="411" y="472"/>
                </a:cubicBezTo>
                <a:cubicBezTo>
                  <a:pt x="346" y="476"/>
                  <a:pt x="288" y="472"/>
                  <a:pt x="229" y="456"/>
                </a:cubicBezTo>
                <a:cubicBezTo>
                  <a:pt x="229" y="456"/>
                  <a:pt x="109" y="420"/>
                  <a:pt x="0" y="457"/>
                </a:cubicBezTo>
                <a:lnTo>
                  <a:pt x="0" y="241"/>
                </a:lnTo>
                <a:close/>
              </a:path>
            </a:pathLst>
          </a:custGeom>
          <a:solidFill>
            <a:srgbClr val="C20F2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p>
        </p:txBody>
      </p:sp>
      <p:sp>
        <p:nvSpPr>
          <p:cNvPr id="76" name="文本框 56">
            <a:extLst>
              <a:ext uri="{FF2B5EF4-FFF2-40B4-BE49-F238E27FC236}">
                <a16:creationId xmlns:a16="http://schemas.microsoft.com/office/drawing/2014/main" id="{49F60676-8DA4-406F-B132-9816C5749335}"/>
              </a:ext>
            </a:extLst>
          </p:cNvPr>
          <p:cNvSpPr txBox="1"/>
          <p:nvPr/>
        </p:nvSpPr>
        <p:spPr>
          <a:xfrm>
            <a:off x="6567488" y="1974850"/>
            <a:ext cx="4492625" cy="800100"/>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l" eaLnBrk="1" fontAlgn="auto" hangingPunct="1">
              <a:lnSpc>
                <a:spcPct val="100000"/>
              </a:lnSpc>
              <a:spcBef>
                <a:spcPts val="0"/>
              </a:spcBef>
              <a:spcAft>
                <a:spcPts val="0"/>
              </a:spcAft>
              <a:defRPr/>
            </a:pPr>
            <a:r>
              <a:rPr lang="en-US" altLang="zh-CN" sz="1800" dirty="0">
                <a:solidFill>
                  <a:srgbClr val="C20F2A"/>
                </a:solidFill>
                <a:latin typeface="Impact" pitchFamily="34" charset="0"/>
                <a:ea typeface="+mn-ea"/>
              </a:rPr>
              <a:t>Click To Add Your Title</a:t>
            </a:r>
          </a:p>
          <a:p>
            <a:pPr algn="l" eaLnBrk="1" fontAlgn="auto" hangingPunct="1">
              <a:lnSpc>
                <a:spcPct val="100000"/>
              </a:lnSpc>
              <a:spcBef>
                <a:spcPts val="0"/>
              </a:spcBef>
              <a:spcAft>
                <a:spcPts val="0"/>
              </a:spcAft>
              <a:defRPr/>
            </a:pPr>
            <a:r>
              <a:rPr lang="en-US" altLang="zh-CN" dirty="0">
                <a:solidFill>
                  <a:schemeClr val="tx1">
                    <a:lumMod val="75000"/>
                    <a:lumOff val="25000"/>
                  </a:schemeClr>
                </a:solidFill>
                <a:latin typeface="+mn-lt"/>
                <a:ea typeface="+mn-ea"/>
              </a:rPr>
              <a:t>click to add subtitle click to add subtitle click to add subtitle click to add subtitle</a:t>
            </a:r>
            <a:r>
              <a:rPr lang="zh-CN" altLang="en-US" dirty="0">
                <a:solidFill>
                  <a:schemeClr val="tx1">
                    <a:lumMod val="75000"/>
                    <a:lumOff val="25000"/>
                  </a:schemeClr>
                </a:solidFill>
                <a:latin typeface="+mn-lt"/>
                <a:ea typeface="+mn-ea"/>
              </a:rPr>
              <a:t> </a:t>
            </a:r>
            <a:r>
              <a:rPr lang="en-US" altLang="zh-CN" dirty="0">
                <a:solidFill>
                  <a:schemeClr val="tx1">
                    <a:lumMod val="75000"/>
                    <a:lumOff val="25000"/>
                  </a:schemeClr>
                </a:solidFill>
                <a:latin typeface="+mn-lt"/>
                <a:ea typeface="+mn-ea"/>
              </a:rPr>
              <a:t>click to add subtitle</a:t>
            </a:r>
            <a:endParaRPr lang="zh-CN" altLang="en-US" dirty="0">
              <a:solidFill>
                <a:schemeClr val="tx1">
                  <a:lumMod val="75000"/>
                  <a:lumOff val="25000"/>
                </a:schemeClr>
              </a:solidFill>
              <a:latin typeface="+mn-lt"/>
              <a:ea typeface="+mn-ea"/>
            </a:endParaRPr>
          </a:p>
        </p:txBody>
      </p:sp>
      <p:sp>
        <p:nvSpPr>
          <p:cNvPr id="77" name="文本框 56">
            <a:extLst>
              <a:ext uri="{FF2B5EF4-FFF2-40B4-BE49-F238E27FC236}">
                <a16:creationId xmlns:a16="http://schemas.microsoft.com/office/drawing/2014/main" id="{68117ACC-D8A2-4059-A7B3-1DDC5EAB3E8B}"/>
              </a:ext>
            </a:extLst>
          </p:cNvPr>
          <p:cNvSpPr txBox="1"/>
          <p:nvPr/>
        </p:nvSpPr>
        <p:spPr>
          <a:xfrm>
            <a:off x="6567488" y="3014663"/>
            <a:ext cx="4492625" cy="800100"/>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l" eaLnBrk="1" fontAlgn="auto" hangingPunct="1">
              <a:lnSpc>
                <a:spcPct val="100000"/>
              </a:lnSpc>
              <a:spcBef>
                <a:spcPts val="0"/>
              </a:spcBef>
              <a:spcAft>
                <a:spcPts val="0"/>
              </a:spcAft>
              <a:defRPr/>
            </a:pPr>
            <a:r>
              <a:rPr lang="en-US" altLang="zh-CN" sz="1800" dirty="0">
                <a:solidFill>
                  <a:srgbClr val="292929"/>
                </a:solidFill>
                <a:latin typeface="Impact" pitchFamily="34" charset="0"/>
                <a:ea typeface="+mn-ea"/>
              </a:rPr>
              <a:t>Click To Add Your Title</a:t>
            </a:r>
          </a:p>
          <a:p>
            <a:pPr algn="l" eaLnBrk="1" fontAlgn="auto" hangingPunct="1">
              <a:lnSpc>
                <a:spcPct val="100000"/>
              </a:lnSpc>
              <a:spcBef>
                <a:spcPts val="0"/>
              </a:spcBef>
              <a:spcAft>
                <a:spcPts val="0"/>
              </a:spcAft>
              <a:defRPr/>
            </a:pPr>
            <a:r>
              <a:rPr lang="en-US" altLang="zh-CN" dirty="0">
                <a:solidFill>
                  <a:schemeClr val="tx1">
                    <a:lumMod val="75000"/>
                    <a:lumOff val="25000"/>
                  </a:schemeClr>
                </a:solidFill>
                <a:latin typeface="+mn-lt"/>
                <a:ea typeface="+mn-ea"/>
              </a:rPr>
              <a:t>click to add subtitle click to add subtitle click to add subtitle click to add subtitle</a:t>
            </a:r>
            <a:r>
              <a:rPr lang="zh-CN" altLang="en-US" dirty="0">
                <a:solidFill>
                  <a:schemeClr val="tx1">
                    <a:lumMod val="75000"/>
                    <a:lumOff val="25000"/>
                  </a:schemeClr>
                </a:solidFill>
                <a:latin typeface="+mn-lt"/>
                <a:ea typeface="+mn-ea"/>
              </a:rPr>
              <a:t> </a:t>
            </a:r>
            <a:r>
              <a:rPr lang="en-US" altLang="zh-CN" dirty="0">
                <a:solidFill>
                  <a:schemeClr val="tx1">
                    <a:lumMod val="75000"/>
                    <a:lumOff val="25000"/>
                  </a:schemeClr>
                </a:solidFill>
                <a:latin typeface="+mn-lt"/>
                <a:ea typeface="+mn-ea"/>
              </a:rPr>
              <a:t>click to add subtitle</a:t>
            </a:r>
            <a:endParaRPr lang="zh-CN" altLang="en-US" dirty="0">
              <a:solidFill>
                <a:schemeClr val="tx1">
                  <a:lumMod val="75000"/>
                  <a:lumOff val="25000"/>
                </a:schemeClr>
              </a:solidFill>
              <a:latin typeface="+mn-lt"/>
              <a:ea typeface="+mn-ea"/>
            </a:endParaRPr>
          </a:p>
        </p:txBody>
      </p:sp>
      <p:sp>
        <p:nvSpPr>
          <p:cNvPr id="78" name="文本框 56">
            <a:extLst>
              <a:ext uri="{FF2B5EF4-FFF2-40B4-BE49-F238E27FC236}">
                <a16:creationId xmlns:a16="http://schemas.microsoft.com/office/drawing/2014/main" id="{A9A864BB-2320-4F05-895F-CFC564F03DFC}"/>
              </a:ext>
            </a:extLst>
          </p:cNvPr>
          <p:cNvSpPr txBox="1"/>
          <p:nvPr/>
        </p:nvSpPr>
        <p:spPr>
          <a:xfrm>
            <a:off x="6567488" y="4052888"/>
            <a:ext cx="4492625" cy="800100"/>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l" eaLnBrk="1" fontAlgn="auto" hangingPunct="1">
              <a:lnSpc>
                <a:spcPct val="100000"/>
              </a:lnSpc>
              <a:spcBef>
                <a:spcPts val="0"/>
              </a:spcBef>
              <a:spcAft>
                <a:spcPts val="0"/>
              </a:spcAft>
              <a:defRPr/>
            </a:pPr>
            <a:r>
              <a:rPr lang="en-US" altLang="zh-CN" sz="1800" dirty="0">
                <a:solidFill>
                  <a:srgbClr val="292929"/>
                </a:solidFill>
                <a:latin typeface="Impact" pitchFamily="34" charset="0"/>
                <a:ea typeface="+mn-ea"/>
              </a:rPr>
              <a:t>Click To Add Your Title</a:t>
            </a:r>
          </a:p>
          <a:p>
            <a:pPr algn="l" eaLnBrk="1" fontAlgn="auto" hangingPunct="1">
              <a:lnSpc>
                <a:spcPct val="100000"/>
              </a:lnSpc>
              <a:spcBef>
                <a:spcPts val="0"/>
              </a:spcBef>
              <a:spcAft>
                <a:spcPts val="0"/>
              </a:spcAft>
              <a:defRPr/>
            </a:pPr>
            <a:r>
              <a:rPr lang="en-US" altLang="zh-CN" dirty="0">
                <a:solidFill>
                  <a:schemeClr val="tx1">
                    <a:lumMod val="75000"/>
                    <a:lumOff val="25000"/>
                  </a:schemeClr>
                </a:solidFill>
                <a:latin typeface="+mn-lt"/>
                <a:ea typeface="+mn-ea"/>
              </a:rPr>
              <a:t>click to add subtitle click to add subtitle click to add subtitle click to add subtitle</a:t>
            </a:r>
            <a:r>
              <a:rPr lang="zh-CN" altLang="en-US" dirty="0">
                <a:solidFill>
                  <a:schemeClr val="tx1">
                    <a:lumMod val="75000"/>
                    <a:lumOff val="25000"/>
                  </a:schemeClr>
                </a:solidFill>
                <a:latin typeface="+mn-lt"/>
                <a:ea typeface="+mn-ea"/>
              </a:rPr>
              <a:t> </a:t>
            </a:r>
            <a:r>
              <a:rPr lang="en-US" altLang="zh-CN" dirty="0">
                <a:solidFill>
                  <a:schemeClr val="tx1">
                    <a:lumMod val="75000"/>
                    <a:lumOff val="25000"/>
                  </a:schemeClr>
                </a:solidFill>
                <a:latin typeface="+mn-lt"/>
                <a:ea typeface="+mn-ea"/>
              </a:rPr>
              <a:t>click to add subtitle</a:t>
            </a:r>
            <a:endParaRPr lang="zh-CN" altLang="en-US" dirty="0">
              <a:solidFill>
                <a:schemeClr val="tx1">
                  <a:lumMod val="75000"/>
                  <a:lumOff val="25000"/>
                </a:schemeClr>
              </a:solidFill>
              <a:latin typeface="+mn-lt"/>
              <a:ea typeface="+mn-ea"/>
            </a:endParaRPr>
          </a:p>
        </p:txBody>
      </p:sp>
      <p:sp>
        <p:nvSpPr>
          <p:cNvPr id="79" name="文本框 56">
            <a:extLst>
              <a:ext uri="{FF2B5EF4-FFF2-40B4-BE49-F238E27FC236}">
                <a16:creationId xmlns:a16="http://schemas.microsoft.com/office/drawing/2014/main" id="{340F67FC-3120-4481-B3AE-02166A647B0D}"/>
              </a:ext>
            </a:extLst>
          </p:cNvPr>
          <p:cNvSpPr txBox="1"/>
          <p:nvPr/>
        </p:nvSpPr>
        <p:spPr>
          <a:xfrm>
            <a:off x="6567488" y="5092700"/>
            <a:ext cx="4492625" cy="800100"/>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l" eaLnBrk="1" fontAlgn="auto" hangingPunct="1">
              <a:lnSpc>
                <a:spcPct val="100000"/>
              </a:lnSpc>
              <a:spcBef>
                <a:spcPts val="0"/>
              </a:spcBef>
              <a:spcAft>
                <a:spcPts val="0"/>
              </a:spcAft>
              <a:defRPr/>
            </a:pPr>
            <a:r>
              <a:rPr lang="en-US" altLang="zh-CN" sz="1800" dirty="0">
                <a:solidFill>
                  <a:srgbClr val="C20F2A"/>
                </a:solidFill>
                <a:latin typeface="Impact" pitchFamily="34" charset="0"/>
                <a:ea typeface="+mn-ea"/>
              </a:rPr>
              <a:t>Click To Add Your Title</a:t>
            </a:r>
          </a:p>
          <a:p>
            <a:pPr algn="l" eaLnBrk="1" fontAlgn="auto" hangingPunct="1">
              <a:lnSpc>
                <a:spcPct val="100000"/>
              </a:lnSpc>
              <a:spcBef>
                <a:spcPts val="0"/>
              </a:spcBef>
              <a:spcAft>
                <a:spcPts val="0"/>
              </a:spcAft>
              <a:defRPr/>
            </a:pPr>
            <a:r>
              <a:rPr lang="en-US" altLang="zh-CN" dirty="0">
                <a:solidFill>
                  <a:schemeClr val="tx1">
                    <a:lumMod val="75000"/>
                    <a:lumOff val="25000"/>
                  </a:schemeClr>
                </a:solidFill>
                <a:latin typeface="+mn-lt"/>
                <a:ea typeface="+mn-ea"/>
              </a:rPr>
              <a:t>click to add subtitle click to add subtitle click to add subtitle click to add subtitle</a:t>
            </a:r>
            <a:r>
              <a:rPr lang="zh-CN" altLang="en-US" dirty="0">
                <a:solidFill>
                  <a:schemeClr val="tx1">
                    <a:lumMod val="75000"/>
                    <a:lumOff val="25000"/>
                  </a:schemeClr>
                </a:solidFill>
                <a:latin typeface="+mn-lt"/>
                <a:ea typeface="+mn-ea"/>
              </a:rPr>
              <a:t> </a:t>
            </a:r>
            <a:r>
              <a:rPr lang="en-US" altLang="zh-CN" dirty="0">
                <a:solidFill>
                  <a:schemeClr val="tx1">
                    <a:lumMod val="75000"/>
                    <a:lumOff val="25000"/>
                  </a:schemeClr>
                </a:solidFill>
                <a:latin typeface="+mn-lt"/>
                <a:ea typeface="+mn-ea"/>
              </a:rPr>
              <a:t>click to add subtitle</a:t>
            </a:r>
            <a:endParaRPr lang="zh-CN" altLang="en-US" dirty="0">
              <a:solidFill>
                <a:schemeClr val="tx1">
                  <a:lumMod val="75000"/>
                  <a:lumOff val="25000"/>
                </a:schemeClr>
              </a:solidFill>
              <a:latin typeface="+mn-lt"/>
              <a:ea typeface="+mn-ea"/>
            </a:endParaRPr>
          </a:p>
        </p:txBody>
      </p:sp>
      <p:sp>
        <p:nvSpPr>
          <p:cNvPr id="11278" name="文本框 56">
            <a:extLst>
              <a:ext uri="{FF2B5EF4-FFF2-40B4-BE49-F238E27FC236}">
                <a16:creationId xmlns:a16="http://schemas.microsoft.com/office/drawing/2014/main" id="{759CB143-4A01-4525-AE30-801F89E0B00B}"/>
              </a:ext>
            </a:extLst>
          </p:cNvPr>
          <p:cNvSpPr txBox="1">
            <a:spLocks noChangeArrowheads="1"/>
          </p:cNvSpPr>
          <p:nvPr/>
        </p:nvSpPr>
        <p:spPr bwMode="auto">
          <a:xfrm>
            <a:off x="1154113" y="566738"/>
            <a:ext cx="509587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00000"/>
              </a:lnSpc>
              <a:spcBef>
                <a:spcPct val="0"/>
              </a:spcBef>
              <a:buFontTx/>
              <a:buNone/>
            </a:pPr>
            <a:r>
              <a:rPr lang="en-US" altLang="zh-CN" sz="3200" b="1">
                <a:solidFill>
                  <a:srgbClr val="C20F2A"/>
                </a:solidFill>
                <a:latin typeface="Agency FB" panose="020B0503020202020204" pitchFamily="34" charset="0"/>
              </a:rPr>
              <a:t>CLICK TO ADD YOUR TITLE IN HERE</a:t>
            </a: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3" presetClass="entr" presetSubtype="16" fill="hold" nodeType="afterEffect">
                                  <p:stCondLst>
                                    <p:cond delay="0"/>
                                  </p:stCondLst>
                                  <p:childTnLst>
                                    <p:set>
                                      <p:cBhvr>
                                        <p:cTn id="6" dur="1" fill="hold">
                                          <p:stCondLst>
                                            <p:cond delay="0"/>
                                          </p:stCondLst>
                                        </p:cTn>
                                        <p:tgtEl>
                                          <p:spTgt spid="45"/>
                                        </p:tgtEl>
                                        <p:attrNameLst>
                                          <p:attrName>style.visibility</p:attrName>
                                        </p:attrNameLst>
                                      </p:cBhvr>
                                      <p:to>
                                        <p:strVal val="visible"/>
                                      </p:to>
                                    </p:set>
                                    <p:anim calcmode="lin" valueType="num">
                                      <p:cBhvr>
                                        <p:cTn id="7" dur="500" fill="hold"/>
                                        <p:tgtEl>
                                          <p:spTgt spid="45"/>
                                        </p:tgtEl>
                                        <p:attrNameLst>
                                          <p:attrName>ppt_w</p:attrName>
                                        </p:attrNameLst>
                                      </p:cBhvr>
                                      <p:tavLst>
                                        <p:tav tm="0">
                                          <p:val>
                                            <p:fltVal val="0"/>
                                          </p:val>
                                        </p:tav>
                                        <p:tav tm="100000">
                                          <p:val>
                                            <p:strVal val="#ppt_w"/>
                                          </p:val>
                                        </p:tav>
                                      </p:tavLst>
                                    </p:anim>
                                    <p:anim calcmode="lin" valueType="num">
                                      <p:cBhvr>
                                        <p:cTn id="8" dur="500" fill="hold"/>
                                        <p:tgtEl>
                                          <p:spTgt spid="45"/>
                                        </p:tgtEl>
                                        <p:attrNameLst>
                                          <p:attrName>ppt_h</p:attrName>
                                        </p:attrNameLst>
                                      </p:cBhvr>
                                      <p:tavLst>
                                        <p:tav tm="0">
                                          <p:val>
                                            <p:fltVal val="0"/>
                                          </p:val>
                                        </p:tav>
                                        <p:tav tm="100000">
                                          <p:val>
                                            <p:strVal val="#ppt_h"/>
                                          </p:val>
                                        </p:tav>
                                      </p:tavLst>
                                    </p:anim>
                                    <p:animEffect transition="in" filter="fade">
                                      <p:cBhvr>
                                        <p:cTn id="9" dur="500"/>
                                        <p:tgtEl>
                                          <p:spTgt spid="45"/>
                                        </p:tgtEl>
                                      </p:cBhvr>
                                    </p:animEffect>
                                  </p:childTnLst>
                                </p:cTn>
                              </p:par>
                            </p:childTnLst>
                          </p:cTn>
                        </p:par>
                        <p:par>
                          <p:cTn id="10" fill="hold" nodeType="afterGroup">
                            <p:stCondLst>
                              <p:cond delay="500"/>
                            </p:stCondLst>
                            <p:childTnLst>
                              <p:par>
                                <p:cTn id="11" presetID="53" presetClass="entr" presetSubtype="16" fill="hold" nodeType="afterEffect">
                                  <p:stCondLst>
                                    <p:cond delay="0"/>
                                  </p:stCondLst>
                                  <p:childTnLst>
                                    <p:set>
                                      <p:cBhvr>
                                        <p:cTn id="12" dur="1" fill="hold">
                                          <p:stCondLst>
                                            <p:cond delay="0"/>
                                          </p:stCondLst>
                                        </p:cTn>
                                        <p:tgtEl>
                                          <p:spTgt spid="44"/>
                                        </p:tgtEl>
                                        <p:attrNameLst>
                                          <p:attrName>style.visibility</p:attrName>
                                        </p:attrNameLst>
                                      </p:cBhvr>
                                      <p:to>
                                        <p:strVal val="visible"/>
                                      </p:to>
                                    </p:set>
                                    <p:anim calcmode="lin" valueType="num">
                                      <p:cBhvr>
                                        <p:cTn id="13" dur="500" fill="hold"/>
                                        <p:tgtEl>
                                          <p:spTgt spid="44"/>
                                        </p:tgtEl>
                                        <p:attrNameLst>
                                          <p:attrName>ppt_w</p:attrName>
                                        </p:attrNameLst>
                                      </p:cBhvr>
                                      <p:tavLst>
                                        <p:tav tm="0">
                                          <p:val>
                                            <p:fltVal val="0"/>
                                          </p:val>
                                        </p:tav>
                                        <p:tav tm="100000">
                                          <p:val>
                                            <p:strVal val="#ppt_w"/>
                                          </p:val>
                                        </p:tav>
                                      </p:tavLst>
                                    </p:anim>
                                    <p:anim calcmode="lin" valueType="num">
                                      <p:cBhvr>
                                        <p:cTn id="14" dur="500" fill="hold"/>
                                        <p:tgtEl>
                                          <p:spTgt spid="44"/>
                                        </p:tgtEl>
                                        <p:attrNameLst>
                                          <p:attrName>ppt_h</p:attrName>
                                        </p:attrNameLst>
                                      </p:cBhvr>
                                      <p:tavLst>
                                        <p:tav tm="0">
                                          <p:val>
                                            <p:fltVal val="0"/>
                                          </p:val>
                                        </p:tav>
                                        <p:tav tm="100000">
                                          <p:val>
                                            <p:strVal val="#ppt_h"/>
                                          </p:val>
                                        </p:tav>
                                      </p:tavLst>
                                    </p:anim>
                                    <p:animEffect transition="in" filter="fade">
                                      <p:cBhvr>
                                        <p:cTn id="15" dur="500"/>
                                        <p:tgtEl>
                                          <p:spTgt spid="44"/>
                                        </p:tgtEl>
                                      </p:cBhvr>
                                    </p:animEffect>
                                  </p:childTnLst>
                                </p:cTn>
                              </p:par>
                            </p:childTnLst>
                          </p:cTn>
                        </p:par>
                        <p:par>
                          <p:cTn id="16" fill="hold" nodeType="afterGroup">
                            <p:stCondLst>
                              <p:cond delay="1000"/>
                            </p:stCondLst>
                            <p:childTnLst>
                              <p:par>
                                <p:cTn id="17" presetID="53" presetClass="entr" presetSubtype="16" fill="hold" nodeType="afterEffect">
                                  <p:stCondLst>
                                    <p:cond delay="0"/>
                                  </p:stCondLst>
                                  <p:childTnLst>
                                    <p:set>
                                      <p:cBhvr>
                                        <p:cTn id="18" dur="1" fill="hold">
                                          <p:stCondLst>
                                            <p:cond delay="0"/>
                                          </p:stCondLst>
                                        </p:cTn>
                                        <p:tgtEl>
                                          <p:spTgt spid="46"/>
                                        </p:tgtEl>
                                        <p:attrNameLst>
                                          <p:attrName>style.visibility</p:attrName>
                                        </p:attrNameLst>
                                      </p:cBhvr>
                                      <p:to>
                                        <p:strVal val="visible"/>
                                      </p:to>
                                    </p:set>
                                    <p:anim calcmode="lin" valueType="num">
                                      <p:cBhvr>
                                        <p:cTn id="19" dur="500" fill="hold"/>
                                        <p:tgtEl>
                                          <p:spTgt spid="46"/>
                                        </p:tgtEl>
                                        <p:attrNameLst>
                                          <p:attrName>ppt_w</p:attrName>
                                        </p:attrNameLst>
                                      </p:cBhvr>
                                      <p:tavLst>
                                        <p:tav tm="0">
                                          <p:val>
                                            <p:fltVal val="0"/>
                                          </p:val>
                                        </p:tav>
                                        <p:tav tm="100000">
                                          <p:val>
                                            <p:strVal val="#ppt_w"/>
                                          </p:val>
                                        </p:tav>
                                      </p:tavLst>
                                    </p:anim>
                                    <p:anim calcmode="lin" valueType="num">
                                      <p:cBhvr>
                                        <p:cTn id="20" dur="500" fill="hold"/>
                                        <p:tgtEl>
                                          <p:spTgt spid="46"/>
                                        </p:tgtEl>
                                        <p:attrNameLst>
                                          <p:attrName>ppt_h</p:attrName>
                                        </p:attrNameLst>
                                      </p:cBhvr>
                                      <p:tavLst>
                                        <p:tav tm="0">
                                          <p:val>
                                            <p:fltVal val="0"/>
                                          </p:val>
                                        </p:tav>
                                        <p:tav tm="100000">
                                          <p:val>
                                            <p:strVal val="#ppt_h"/>
                                          </p:val>
                                        </p:tav>
                                      </p:tavLst>
                                    </p:anim>
                                    <p:animEffect transition="in" filter="fade">
                                      <p:cBhvr>
                                        <p:cTn id="21" dur="500"/>
                                        <p:tgtEl>
                                          <p:spTgt spid="46"/>
                                        </p:tgtEl>
                                      </p:cBhvr>
                                    </p:animEffect>
                                  </p:childTnLst>
                                </p:cTn>
                              </p:par>
                            </p:childTnLst>
                          </p:cTn>
                        </p:par>
                        <p:par>
                          <p:cTn id="22" fill="hold" nodeType="afterGroup">
                            <p:stCondLst>
                              <p:cond delay="1500"/>
                            </p:stCondLst>
                            <p:childTnLst>
                              <p:par>
                                <p:cTn id="23" presetID="53" presetClass="entr" presetSubtype="16" fill="hold" nodeType="afterEffect">
                                  <p:stCondLst>
                                    <p:cond delay="0"/>
                                  </p:stCondLst>
                                  <p:childTnLst>
                                    <p:set>
                                      <p:cBhvr>
                                        <p:cTn id="24" dur="1" fill="hold">
                                          <p:stCondLst>
                                            <p:cond delay="0"/>
                                          </p:stCondLst>
                                        </p:cTn>
                                        <p:tgtEl>
                                          <p:spTgt spid="43"/>
                                        </p:tgtEl>
                                        <p:attrNameLst>
                                          <p:attrName>style.visibility</p:attrName>
                                        </p:attrNameLst>
                                      </p:cBhvr>
                                      <p:to>
                                        <p:strVal val="visible"/>
                                      </p:to>
                                    </p:set>
                                    <p:anim calcmode="lin" valueType="num">
                                      <p:cBhvr>
                                        <p:cTn id="25" dur="500" fill="hold"/>
                                        <p:tgtEl>
                                          <p:spTgt spid="43"/>
                                        </p:tgtEl>
                                        <p:attrNameLst>
                                          <p:attrName>ppt_w</p:attrName>
                                        </p:attrNameLst>
                                      </p:cBhvr>
                                      <p:tavLst>
                                        <p:tav tm="0">
                                          <p:val>
                                            <p:fltVal val="0"/>
                                          </p:val>
                                        </p:tav>
                                        <p:tav tm="100000">
                                          <p:val>
                                            <p:strVal val="#ppt_w"/>
                                          </p:val>
                                        </p:tav>
                                      </p:tavLst>
                                    </p:anim>
                                    <p:anim calcmode="lin" valueType="num">
                                      <p:cBhvr>
                                        <p:cTn id="26" dur="500" fill="hold"/>
                                        <p:tgtEl>
                                          <p:spTgt spid="43"/>
                                        </p:tgtEl>
                                        <p:attrNameLst>
                                          <p:attrName>ppt_h</p:attrName>
                                        </p:attrNameLst>
                                      </p:cBhvr>
                                      <p:tavLst>
                                        <p:tav tm="0">
                                          <p:val>
                                            <p:fltVal val="0"/>
                                          </p:val>
                                        </p:tav>
                                        <p:tav tm="100000">
                                          <p:val>
                                            <p:strVal val="#ppt_h"/>
                                          </p:val>
                                        </p:tav>
                                      </p:tavLst>
                                    </p:anim>
                                    <p:animEffect transition="in" filter="fade">
                                      <p:cBhvr>
                                        <p:cTn id="27" dur="500"/>
                                        <p:tgtEl>
                                          <p:spTgt spid="43"/>
                                        </p:tgtEl>
                                      </p:cBhvr>
                                    </p:animEffect>
                                  </p:childTnLst>
                                </p:cTn>
                              </p:par>
                            </p:childTnLst>
                          </p:cTn>
                        </p:par>
                        <p:par>
                          <p:cTn id="28" fill="hold" nodeType="afterGroup">
                            <p:stCondLst>
                              <p:cond delay="2000"/>
                            </p:stCondLst>
                            <p:childTnLst>
                              <p:par>
                                <p:cTn id="29" presetID="10" presetClass="entr" presetSubtype="0" fill="hold" nodeType="after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fade">
                                      <p:cBhvr>
                                        <p:cTn id="31" dur="500"/>
                                        <p:tgtEl>
                                          <p:spTgt spid="49"/>
                                        </p:tgtEl>
                                      </p:cBhvr>
                                    </p:animEffect>
                                  </p:childTnLst>
                                </p:cTn>
                              </p:par>
                            </p:childTnLst>
                          </p:cTn>
                        </p:par>
                        <p:par>
                          <p:cTn id="32" fill="hold" nodeType="afterGroup">
                            <p:stCondLst>
                              <p:cond delay="2500"/>
                            </p:stCondLst>
                            <p:childTnLst>
                              <p:par>
                                <p:cTn id="33" presetID="22" presetClass="entr" presetSubtype="8" fill="hold" grpId="0" nodeType="afterEffect">
                                  <p:stCondLst>
                                    <p:cond delay="0"/>
                                  </p:stCondLst>
                                  <p:childTnLst>
                                    <p:set>
                                      <p:cBhvr>
                                        <p:cTn id="34" dur="1" fill="hold">
                                          <p:stCondLst>
                                            <p:cond delay="0"/>
                                          </p:stCondLst>
                                        </p:cTn>
                                        <p:tgtEl>
                                          <p:spTgt spid="76"/>
                                        </p:tgtEl>
                                        <p:attrNameLst>
                                          <p:attrName>style.visibility</p:attrName>
                                        </p:attrNameLst>
                                      </p:cBhvr>
                                      <p:to>
                                        <p:strVal val="visible"/>
                                      </p:to>
                                    </p:set>
                                    <p:animEffect transition="in" filter="wipe(left)">
                                      <p:cBhvr>
                                        <p:cTn id="35" dur="500"/>
                                        <p:tgtEl>
                                          <p:spTgt spid="76"/>
                                        </p:tgtEl>
                                      </p:cBhvr>
                                    </p:animEffect>
                                  </p:childTnLst>
                                </p:cTn>
                              </p:par>
                            </p:childTnLst>
                          </p:cTn>
                        </p:par>
                        <p:par>
                          <p:cTn id="36" fill="hold" nodeType="afterGroup">
                            <p:stCondLst>
                              <p:cond delay="3000"/>
                            </p:stCondLst>
                            <p:childTnLst>
                              <p:par>
                                <p:cTn id="37" presetID="10" presetClass="entr" presetSubtype="0" fill="hold" nodeType="afterEffect">
                                  <p:stCondLst>
                                    <p:cond delay="0"/>
                                  </p:stCondLst>
                                  <p:childTnLst>
                                    <p:set>
                                      <p:cBhvr>
                                        <p:cTn id="38" dur="1" fill="hold">
                                          <p:stCondLst>
                                            <p:cond delay="0"/>
                                          </p:stCondLst>
                                        </p:cTn>
                                        <p:tgtEl>
                                          <p:spTgt spid="56"/>
                                        </p:tgtEl>
                                        <p:attrNameLst>
                                          <p:attrName>style.visibility</p:attrName>
                                        </p:attrNameLst>
                                      </p:cBhvr>
                                      <p:to>
                                        <p:strVal val="visible"/>
                                      </p:to>
                                    </p:set>
                                    <p:animEffect transition="in" filter="fade">
                                      <p:cBhvr>
                                        <p:cTn id="39" dur="500"/>
                                        <p:tgtEl>
                                          <p:spTgt spid="56"/>
                                        </p:tgtEl>
                                      </p:cBhvr>
                                    </p:animEffect>
                                  </p:childTnLst>
                                </p:cTn>
                              </p:par>
                            </p:childTnLst>
                          </p:cTn>
                        </p:par>
                        <p:par>
                          <p:cTn id="40" fill="hold" nodeType="afterGroup">
                            <p:stCondLst>
                              <p:cond delay="3500"/>
                            </p:stCondLst>
                            <p:childTnLst>
                              <p:par>
                                <p:cTn id="41" presetID="22" presetClass="entr" presetSubtype="8" fill="hold" grpId="0" nodeType="afterEffect">
                                  <p:stCondLst>
                                    <p:cond delay="0"/>
                                  </p:stCondLst>
                                  <p:childTnLst>
                                    <p:set>
                                      <p:cBhvr>
                                        <p:cTn id="42" dur="1" fill="hold">
                                          <p:stCondLst>
                                            <p:cond delay="0"/>
                                          </p:stCondLst>
                                        </p:cTn>
                                        <p:tgtEl>
                                          <p:spTgt spid="77"/>
                                        </p:tgtEl>
                                        <p:attrNameLst>
                                          <p:attrName>style.visibility</p:attrName>
                                        </p:attrNameLst>
                                      </p:cBhvr>
                                      <p:to>
                                        <p:strVal val="visible"/>
                                      </p:to>
                                    </p:set>
                                    <p:animEffect transition="in" filter="wipe(left)">
                                      <p:cBhvr>
                                        <p:cTn id="43" dur="500"/>
                                        <p:tgtEl>
                                          <p:spTgt spid="77"/>
                                        </p:tgtEl>
                                      </p:cBhvr>
                                    </p:animEffect>
                                  </p:childTnLst>
                                </p:cTn>
                              </p:par>
                            </p:childTnLst>
                          </p:cTn>
                        </p:par>
                        <p:par>
                          <p:cTn id="44" fill="hold" nodeType="afterGroup">
                            <p:stCondLst>
                              <p:cond delay="4000"/>
                            </p:stCondLst>
                            <p:childTnLst>
                              <p:par>
                                <p:cTn id="45" presetID="10" presetClass="entr" presetSubtype="0" fill="hold" nodeType="afterEffect">
                                  <p:stCondLst>
                                    <p:cond delay="0"/>
                                  </p:stCondLst>
                                  <p:childTnLst>
                                    <p:set>
                                      <p:cBhvr>
                                        <p:cTn id="46" dur="1" fill="hold">
                                          <p:stCondLst>
                                            <p:cond delay="0"/>
                                          </p:stCondLst>
                                        </p:cTn>
                                        <p:tgtEl>
                                          <p:spTgt spid="66"/>
                                        </p:tgtEl>
                                        <p:attrNameLst>
                                          <p:attrName>style.visibility</p:attrName>
                                        </p:attrNameLst>
                                      </p:cBhvr>
                                      <p:to>
                                        <p:strVal val="visible"/>
                                      </p:to>
                                    </p:set>
                                    <p:animEffect transition="in" filter="fade">
                                      <p:cBhvr>
                                        <p:cTn id="47" dur="500"/>
                                        <p:tgtEl>
                                          <p:spTgt spid="66"/>
                                        </p:tgtEl>
                                      </p:cBhvr>
                                    </p:animEffect>
                                  </p:childTnLst>
                                </p:cTn>
                              </p:par>
                            </p:childTnLst>
                          </p:cTn>
                        </p:par>
                        <p:par>
                          <p:cTn id="48" fill="hold" nodeType="afterGroup">
                            <p:stCondLst>
                              <p:cond delay="4500"/>
                            </p:stCondLst>
                            <p:childTnLst>
                              <p:par>
                                <p:cTn id="49" presetID="22" presetClass="entr" presetSubtype="8" fill="hold" grpId="0" nodeType="afterEffect">
                                  <p:stCondLst>
                                    <p:cond delay="0"/>
                                  </p:stCondLst>
                                  <p:childTnLst>
                                    <p:set>
                                      <p:cBhvr>
                                        <p:cTn id="50" dur="1" fill="hold">
                                          <p:stCondLst>
                                            <p:cond delay="0"/>
                                          </p:stCondLst>
                                        </p:cTn>
                                        <p:tgtEl>
                                          <p:spTgt spid="78"/>
                                        </p:tgtEl>
                                        <p:attrNameLst>
                                          <p:attrName>style.visibility</p:attrName>
                                        </p:attrNameLst>
                                      </p:cBhvr>
                                      <p:to>
                                        <p:strVal val="visible"/>
                                      </p:to>
                                    </p:set>
                                    <p:animEffect transition="in" filter="wipe(left)">
                                      <p:cBhvr>
                                        <p:cTn id="51" dur="500"/>
                                        <p:tgtEl>
                                          <p:spTgt spid="78"/>
                                        </p:tgtEl>
                                      </p:cBhvr>
                                    </p:animEffect>
                                  </p:childTnLst>
                                </p:cTn>
                              </p:par>
                            </p:childTnLst>
                          </p:cTn>
                        </p:par>
                        <p:par>
                          <p:cTn id="52" fill="hold" nodeType="afterGroup">
                            <p:stCondLst>
                              <p:cond delay="5000"/>
                            </p:stCondLst>
                            <p:childTnLst>
                              <p:par>
                                <p:cTn id="53" presetID="10" presetClass="entr" presetSubtype="0" fill="hold" nodeType="afterEffect">
                                  <p:stCondLst>
                                    <p:cond delay="0"/>
                                  </p:stCondLst>
                                  <p:childTnLst>
                                    <p:set>
                                      <p:cBhvr>
                                        <p:cTn id="54" dur="1" fill="hold">
                                          <p:stCondLst>
                                            <p:cond delay="0"/>
                                          </p:stCondLst>
                                        </p:cTn>
                                        <p:tgtEl>
                                          <p:spTgt spid="74"/>
                                        </p:tgtEl>
                                        <p:attrNameLst>
                                          <p:attrName>style.visibility</p:attrName>
                                        </p:attrNameLst>
                                      </p:cBhvr>
                                      <p:to>
                                        <p:strVal val="visible"/>
                                      </p:to>
                                    </p:set>
                                    <p:animEffect transition="in" filter="fade">
                                      <p:cBhvr>
                                        <p:cTn id="55" dur="500"/>
                                        <p:tgtEl>
                                          <p:spTgt spid="74"/>
                                        </p:tgtEl>
                                      </p:cBhvr>
                                    </p:animEffect>
                                  </p:childTnLst>
                                </p:cTn>
                              </p:par>
                            </p:childTnLst>
                          </p:cTn>
                        </p:par>
                        <p:par>
                          <p:cTn id="56" fill="hold" nodeType="afterGroup">
                            <p:stCondLst>
                              <p:cond delay="5500"/>
                            </p:stCondLst>
                            <p:childTnLst>
                              <p:par>
                                <p:cTn id="57" presetID="22" presetClass="entr" presetSubtype="8" fill="hold" grpId="0" nodeType="afterEffect">
                                  <p:stCondLst>
                                    <p:cond delay="0"/>
                                  </p:stCondLst>
                                  <p:childTnLst>
                                    <p:set>
                                      <p:cBhvr>
                                        <p:cTn id="58" dur="1" fill="hold">
                                          <p:stCondLst>
                                            <p:cond delay="0"/>
                                          </p:stCondLst>
                                        </p:cTn>
                                        <p:tgtEl>
                                          <p:spTgt spid="79"/>
                                        </p:tgtEl>
                                        <p:attrNameLst>
                                          <p:attrName>style.visibility</p:attrName>
                                        </p:attrNameLst>
                                      </p:cBhvr>
                                      <p:to>
                                        <p:strVal val="visible"/>
                                      </p:to>
                                    </p:set>
                                    <p:animEffect transition="in" filter="wipe(left)">
                                      <p:cBhvr>
                                        <p:cTn id="59" dur="50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p:bldP spid="77" grpId="0"/>
      <p:bldP spid="78" grpId="0"/>
      <p:bldP spid="7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文本框 56">
            <a:extLst>
              <a:ext uri="{FF2B5EF4-FFF2-40B4-BE49-F238E27FC236}">
                <a16:creationId xmlns:a16="http://schemas.microsoft.com/office/drawing/2014/main" id="{A9A64782-BDF9-4019-A5BB-A59A232F3C02}"/>
              </a:ext>
            </a:extLst>
          </p:cNvPr>
          <p:cNvSpPr txBox="1">
            <a:spLocks noChangeArrowheads="1"/>
          </p:cNvSpPr>
          <p:nvPr/>
        </p:nvSpPr>
        <p:spPr bwMode="auto">
          <a:xfrm>
            <a:off x="1154113" y="566738"/>
            <a:ext cx="509587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00000"/>
              </a:lnSpc>
              <a:spcBef>
                <a:spcPct val="0"/>
              </a:spcBef>
              <a:buFontTx/>
              <a:buNone/>
            </a:pPr>
            <a:r>
              <a:rPr lang="en-US" altLang="zh-CN" sz="3200" b="1">
                <a:solidFill>
                  <a:srgbClr val="C20F2A"/>
                </a:solidFill>
                <a:latin typeface="Agency FB" panose="020B0503020202020204" pitchFamily="34" charset="0"/>
              </a:rPr>
              <a:t>CLICK TO ADD YOUR TITLE IN HERE</a:t>
            </a:r>
          </a:p>
        </p:txBody>
      </p:sp>
      <p:sp>
        <p:nvSpPr>
          <p:cNvPr id="6" name="任意多边形 5">
            <a:extLst>
              <a:ext uri="{FF2B5EF4-FFF2-40B4-BE49-F238E27FC236}">
                <a16:creationId xmlns:a16="http://schemas.microsoft.com/office/drawing/2014/main" id="{2250AB75-05F5-4635-AC9A-3B2A75650E6D}"/>
              </a:ext>
            </a:extLst>
          </p:cNvPr>
          <p:cNvSpPr/>
          <p:nvPr/>
        </p:nvSpPr>
        <p:spPr>
          <a:xfrm>
            <a:off x="7916863" y="1600200"/>
            <a:ext cx="2060575" cy="2297113"/>
          </a:xfrm>
          <a:custGeom>
            <a:avLst/>
            <a:gdLst>
              <a:gd name="connsiteX0" fmla="*/ 657246 w 1295672"/>
              <a:gd name="connsiteY0" fmla="*/ 0 h 1444859"/>
              <a:gd name="connsiteX1" fmla="*/ 740242 w 1295672"/>
              <a:gd name="connsiteY1" fmla="*/ 39981 h 1444859"/>
              <a:gd name="connsiteX2" fmla="*/ 1292200 w 1295672"/>
              <a:gd name="connsiteY2" fmla="*/ 783685 h 1444859"/>
              <a:gd name="connsiteX3" fmla="*/ 1295672 w 1295672"/>
              <a:gd name="connsiteY3" fmla="*/ 806432 h 1444859"/>
              <a:gd name="connsiteX4" fmla="*/ 1209470 w 1295672"/>
              <a:gd name="connsiteY4" fmla="*/ 793276 h 1444859"/>
              <a:gd name="connsiteX5" fmla="*/ 1097279 w 1295672"/>
              <a:gd name="connsiteY5" fmla="*/ 787611 h 1444859"/>
              <a:gd name="connsiteX6" fmla="*/ 670168 w 1295672"/>
              <a:gd name="connsiteY6" fmla="*/ 873841 h 1444859"/>
              <a:gd name="connsiteX7" fmla="*/ 657246 w 1295672"/>
              <a:gd name="connsiteY7" fmla="*/ 880066 h 1444859"/>
              <a:gd name="connsiteX8" fmla="*/ 644324 w 1295672"/>
              <a:gd name="connsiteY8" fmla="*/ 873841 h 1444859"/>
              <a:gd name="connsiteX9" fmla="*/ 596460 w 1295672"/>
              <a:gd name="connsiteY9" fmla="*/ 856323 h 1444859"/>
              <a:gd name="connsiteX10" fmla="*/ 596459 w 1295672"/>
              <a:gd name="connsiteY10" fmla="*/ 856323 h 1444859"/>
              <a:gd name="connsiteX11" fmla="*/ 644325 w 1295672"/>
              <a:gd name="connsiteY11" fmla="*/ 873842 h 1444859"/>
              <a:gd name="connsiteX12" fmla="*/ 657247 w 1295672"/>
              <a:gd name="connsiteY12" fmla="*/ 880067 h 1444859"/>
              <a:gd name="connsiteX13" fmla="*/ 574251 w 1295672"/>
              <a:gd name="connsiteY13" fmla="*/ 920048 h 1444859"/>
              <a:gd name="connsiteX14" fmla="*/ 132436 w 1295672"/>
              <a:gd name="connsiteY14" fmla="*/ 1361863 h 1444859"/>
              <a:gd name="connsiteX15" fmla="*/ 92455 w 1295672"/>
              <a:gd name="connsiteY15" fmla="*/ 1444859 h 1444859"/>
              <a:gd name="connsiteX16" fmla="*/ 86230 w 1295672"/>
              <a:gd name="connsiteY16" fmla="*/ 1431937 h 1444859"/>
              <a:gd name="connsiteX17" fmla="*/ 0 w 1295672"/>
              <a:gd name="connsiteY17" fmla="*/ 1004826 h 1444859"/>
              <a:gd name="connsiteX18" fmla="*/ 5665 w 1295672"/>
              <a:gd name="connsiteY18" fmla="*/ 892635 h 1444859"/>
              <a:gd name="connsiteX19" fmla="*/ 18821 w 1295672"/>
              <a:gd name="connsiteY19" fmla="*/ 806433 h 1444859"/>
              <a:gd name="connsiteX20" fmla="*/ 74519 w 1295672"/>
              <a:gd name="connsiteY20" fmla="*/ 797933 h 1444859"/>
              <a:gd name="connsiteX21" fmla="*/ 74519 w 1295672"/>
              <a:gd name="connsiteY21" fmla="*/ 797931 h 1444859"/>
              <a:gd name="connsiteX22" fmla="*/ 18820 w 1295672"/>
              <a:gd name="connsiteY22" fmla="*/ 806432 h 1444859"/>
              <a:gd name="connsiteX23" fmla="*/ 22292 w 1295672"/>
              <a:gd name="connsiteY23" fmla="*/ 783685 h 1444859"/>
              <a:gd name="connsiteX24" fmla="*/ 574250 w 1295672"/>
              <a:gd name="connsiteY24" fmla="*/ 39981 h 1444859"/>
              <a:gd name="connsiteX0" fmla="*/ 657246 w 1295672"/>
              <a:gd name="connsiteY0" fmla="*/ 0 h 1444859"/>
              <a:gd name="connsiteX1" fmla="*/ 740242 w 1295672"/>
              <a:gd name="connsiteY1" fmla="*/ 39981 h 1444859"/>
              <a:gd name="connsiteX2" fmla="*/ 1292200 w 1295672"/>
              <a:gd name="connsiteY2" fmla="*/ 783685 h 1444859"/>
              <a:gd name="connsiteX3" fmla="*/ 1295672 w 1295672"/>
              <a:gd name="connsiteY3" fmla="*/ 806432 h 1444859"/>
              <a:gd name="connsiteX4" fmla="*/ 1209470 w 1295672"/>
              <a:gd name="connsiteY4" fmla="*/ 793276 h 1444859"/>
              <a:gd name="connsiteX5" fmla="*/ 1097279 w 1295672"/>
              <a:gd name="connsiteY5" fmla="*/ 787611 h 1444859"/>
              <a:gd name="connsiteX6" fmla="*/ 670168 w 1295672"/>
              <a:gd name="connsiteY6" fmla="*/ 873841 h 1444859"/>
              <a:gd name="connsiteX7" fmla="*/ 657246 w 1295672"/>
              <a:gd name="connsiteY7" fmla="*/ 880066 h 1444859"/>
              <a:gd name="connsiteX8" fmla="*/ 644324 w 1295672"/>
              <a:gd name="connsiteY8" fmla="*/ 873841 h 1444859"/>
              <a:gd name="connsiteX9" fmla="*/ 596460 w 1295672"/>
              <a:gd name="connsiteY9" fmla="*/ 856323 h 1444859"/>
              <a:gd name="connsiteX10" fmla="*/ 596459 w 1295672"/>
              <a:gd name="connsiteY10" fmla="*/ 856323 h 1444859"/>
              <a:gd name="connsiteX11" fmla="*/ 644325 w 1295672"/>
              <a:gd name="connsiteY11" fmla="*/ 873842 h 1444859"/>
              <a:gd name="connsiteX12" fmla="*/ 657247 w 1295672"/>
              <a:gd name="connsiteY12" fmla="*/ 880067 h 1444859"/>
              <a:gd name="connsiteX13" fmla="*/ 574251 w 1295672"/>
              <a:gd name="connsiteY13" fmla="*/ 920048 h 1444859"/>
              <a:gd name="connsiteX14" fmla="*/ 132436 w 1295672"/>
              <a:gd name="connsiteY14" fmla="*/ 1361863 h 1444859"/>
              <a:gd name="connsiteX15" fmla="*/ 92455 w 1295672"/>
              <a:gd name="connsiteY15" fmla="*/ 1444859 h 1444859"/>
              <a:gd name="connsiteX16" fmla="*/ 86230 w 1295672"/>
              <a:gd name="connsiteY16" fmla="*/ 1431937 h 1444859"/>
              <a:gd name="connsiteX17" fmla="*/ 0 w 1295672"/>
              <a:gd name="connsiteY17" fmla="*/ 1004826 h 1444859"/>
              <a:gd name="connsiteX18" fmla="*/ 5665 w 1295672"/>
              <a:gd name="connsiteY18" fmla="*/ 892635 h 1444859"/>
              <a:gd name="connsiteX19" fmla="*/ 18821 w 1295672"/>
              <a:gd name="connsiteY19" fmla="*/ 806433 h 1444859"/>
              <a:gd name="connsiteX20" fmla="*/ 74519 w 1295672"/>
              <a:gd name="connsiteY20" fmla="*/ 797933 h 1444859"/>
              <a:gd name="connsiteX21" fmla="*/ 18820 w 1295672"/>
              <a:gd name="connsiteY21" fmla="*/ 806432 h 1444859"/>
              <a:gd name="connsiteX22" fmla="*/ 22292 w 1295672"/>
              <a:gd name="connsiteY22" fmla="*/ 783685 h 1444859"/>
              <a:gd name="connsiteX23" fmla="*/ 574250 w 1295672"/>
              <a:gd name="connsiteY23" fmla="*/ 39981 h 1444859"/>
              <a:gd name="connsiteX24" fmla="*/ 657246 w 1295672"/>
              <a:gd name="connsiteY24" fmla="*/ 0 h 1444859"/>
              <a:gd name="connsiteX0" fmla="*/ 657246 w 1295672"/>
              <a:gd name="connsiteY0" fmla="*/ 0 h 1444859"/>
              <a:gd name="connsiteX1" fmla="*/ 740242 w 1295672"/>
              <a:gd name="connsiteY1" fmla="*/ 39981 h 1444859"/>
              <a:gd name="connsiteX2" fmla="*/ 1292200 w 1295672"/>
              <a:gd name="connsiteY2" fmla="*/ 783685 h 1444859"/>
              <a:gd name="connsiteX3" fmla="*/ 1295672 w 1295672"/>
              <a:gd name="connsiteY3" fmla="*/ 806432 h 1444859"/>
              <a:gd name="connsiteX4" fmla="*/ 1209470 w 1295672"/>
              <a:gd name="connsiteY4" fmla="*/ 793276 h 1444859"/>
              <a:gd name="connsiteX5" fmla="*/ 1097279 w 1295672"/>
              <a:gd name="connsiteY5" fmla="*/ 787611 h 1444859"/>
              <a:gd name="connsiteX6" fmla="*/ 670168 w 1295672"/>
              <a:gd name="connsiteY6" fmla="*/ 873841 h 1444859"/>
              <a:gd name="connsiteX7" fmla="*/ 657246 w 1295672"/>
              <a:gd name="connsiteY7" fmla="*/ 880066 h 1444859"/>
              <a:gd name="connsiteX8" fmla="*/ 644324 w 1295672"/>
              <a:gd name="connsiteY8" fmla="*/ 873841 h 1444859"/>
              <a:gd name="connsiteX9" fmla="*/ 596460 w 1295672"/>
              <a:gd name="connsiteY9" fmla="*/ 856323 h 1444859"/>
              <a:gd name="connsiteX10" fmla="*/ 596459 w 1295672"/>
              <a:gd name="connsiteY10" fmla="*/ 856323 h 1444859"/>
              <a:gd name="connsiteX11" fmla="*/ 644325 w 1295672"/>
              <a:gd name="connsiteY11" fmla="*/ 873842 h 1444859"/>
              <a:gd name="connsiteX12" fmla="*/ 657247 w 1295672"/>
              <a:gd name="connsiteY12" fmla="*/ 880067 h 1444859"/>
              <a:gd name="connsiteX13" fmla="*/ 574251 w 1295672"/>
              <a:gd name="connsiteY13" fmla="*/ 920048 h 1444859"/>
              <a:gd name="connsiteX14" fmla="*/ 132436 w 1295672"/>
              <a:gd name="connsiteY14" fmla="*/ 1361863 h 1444859"/>
              <a:gd name="connsiteX15" fmla="*/ 92455 w 1295672"/>
              <a:gd name="connsiteY15" fmla="*/ 1444859 h 1444859"/>
              <a:gd name="connsiteX16" fmla="*/ 86230 w 1295672"/>
              <a:gd name="connsiteY16" fmla="*/ 1431937 h 1444859"/>
              <a:gd name="connsiteX17" fmla="*/ 0 w 1295672"/>
              <a:gd name="connsiteY17" fmla="*/ 1004826 h 1444859"/>
              <a:gd name="connsiteX18" fmla="*/ 5665 w 1295672"/>
              <a:gd name="connsiteY18" fmla="*/ 892635 h 1444859"/>
              <a:gd name="connsiteX19" fmla="*/ 18821 w 1295672"/>
              <a:gd name="connsiteY19" fmla="*/ 806433 h 1444859"/>
              <a:gd name="connsiteX20" fmla="*/ 18820 w 1295672"/>
              <a:gd name="connsiteY20" fmla="*/ 806432 h 1444859"/>
              <a:gd name="connsiteX21" fmla="*/ 22292 w 1295672"/>
              <a:gd name="connsiteY21" fmla="*/ 783685 h 1444859"/>
              <a:gd name="connsiteX22" fmla="*/ 574250 w 1295672"/>
              <a:gd name="connsiteY22" fmla="*/ 39981 h 1444859"/>
              <a:gd name="connsiteX23" fmla="*/ 657246 w 1295672"/>
              <a:gd name="connsiteY23" fmla="*/ 0 h 1444859"/>
              <a:gd name="connsiteX0" fmla="*/ 657246 w 1295672"/>
              <a:gd name="connsiteY0" fmla="*/ 0 h 1444859"/>
              <a:gd name="connsiteX1" fmla="*/ 740242 w 1295672"/>
              <a:gd name="connsiteY1" fmla="*/ 39981 h 1444859"/>
              <a:gd name="connsiteX2" fmla="*/ 1292200 w 1295672"/>
              <a:gd name="connsiteY2" fmla="*/ 783685 h 1444859"/>
              <a:gd name="connsiteX3" fmla="*/ 1295672 w 1295672"/>
              <a:gd name="connsiteY3" fmla="*/ 806432 h 1444859"/>
              <a:gd name="connsiteX4" fmla="*/ 1209470 w 1295672"/>
              <a:gd name="connsiteY4" fmla="*/ 793276 h 1444859"/>
              <a:gd name="connsiteX5" fmla="*/ 1097279 w 1295672"/>
              <a:gd name="connsiteY5" fmla="*/ 787611 h 1444859"/>
              <a:gd name="connsiteX6" fmla="*/ 670168 w 1295672"/>
              <a:gd name="connsiteY6" fmla="*/ 873841 h 1444859"/>
              <a:gd name="connsiteX7" fmla="*/ 657246 w 1295672"/>
              <a:gd name="connsiteY7" fmla="*/ 880066 h 1444859"/>
              <a:gd name="connsiteX8" fmla="*/ 644324 w 1295672"/>
              <a:gd name="connsiteY8" fmla="*/ 873841 h 1444859"/>
              <a:gd name="connsiteX9" fmla="*/ 596460 w 1295672"/>
              <a:gd name="connsiteY9" fmla="*/ 856323 h 1444859"/>
              <a:gd name="connsiteX10" fmla="*/ 644325 w 1295672"/>
              <a:gd name="connsiteY10" fmla="*/ 873842 h 1444859"/>
              <a:gd name="connsiteX11" fmla="*/ 657247 w 1295672"/>
              <a:gd name="connsiteY11" fmla="*/ 880067 h 1444859"/>
              <a:gd name="connsiteX12" fmla="*/ 574251 w 1295672"/>
              <a:gd name="connsiteY12" fmla="*/ 920048 h 1444859"/>
              <a:gd name="connsiteX13" fmla="*/ 132436 w 1295672"/>
              <a:gd name="connsiteY13" fmla="*/ 1361863 h 1444859"/>
              <a:gd name="connsiteX14" fmla="*/ 92455 w 1295672"/>
              <a:gd name="connsiteY14" fmla="*/ 1444859 h 1444859"/>
              <a:gd name="connsiteX15" fmla="*/ 86230 w 1295672"/>
              <a:gd name="connsiteY15" fmla="*/ 1431937 h 1444859"/>
              <a:gd name="connsiteX16" fmla="*/ 0 w 1295672"/>
              <a:gd name="connsiteY16" fmla="*/ 1004826 h 1444859"/>
              <a:gd name="connsiteX17" fmla="*/ 5665 w 1295672"/>
              <a:gd name="connsiteY17" fmla="*/ 892635 h 1444859"/>
              <a:gd name="connsiteX18" fmla="*/ 18821 w 1295672"/>
              <a:gd name="connsiteY18" fmla="*/ 806433 h 1444859"/>
              <a:gd name="connsiteX19" fmla="*/ 18820 w 1295672"/>
              <a:gd name="connsiteY19" fmla="*/ 806432 h 1444859"/>
              <a:gd name="connsiteX20" fmla="*/ 22292 w 1295672"/>
              <a:gd name="connsiteY20" fmla="*/ 783685 h 1444859"/>
              <a:gd name="connsiteX21" fmla="*/ 574250 w 1295672"/>
              <a:gd name="connsiteY21" fmla="*/ 39981 h 1444859"/>
              <a:gd name="connsiteX22" fmla="*/ 657246 w 1295672"/>
              <a:gd name="connsiteY22" fmla="*/ 0 h 1444859"/>
              <a:gd name="connsiteX0" fmla="*/ 657246 w 1295672"/>
              <a:gd name="connsiteY0" fmla="*/ 0 h 1444859"/>
              <a:gd name="connsiteX1" fmla="*/ 740242 w 1295672"/>
              <a:gd name="connsiteY1" fmla="*/ 39981 h 1444859"/>
              <a:gd name="connsiteX2" fmla="*/ 1292200 w 1295672"/>
              <a:gd name="connsiteY2" fmla="*/ 783685 h 1444859"/>
              <a:gd name="connsiteX3" fmla="*/ 1295672 w 1295672"/>
              <a:gd name="connsiteY3" fmla="*/ 806432 h 1444859"/>
              <a:gd name="connsiteX4" fmla="*/ 1209470 w 1295672"/>
              <a:gd name="connsiteY4" fmla="*/ 793276 h 1444859"/>
              <a:gd name="connsiteX5" fmla="*/ 1097279 w 1295672"/>
              <a:gd name="connsiteY5" fmla="*/ 787611 h 1444859"/>
              <a:gd name="connsiteX6" fmla="*/ 670168 w 1295672"/>
              <a:gd name="connsiteY6" fmla="*/ 873841 h 1444859"/>
              <a:gd name="connsiteX7" fmla="*/ 657246 w 1295672"/>
              <a:gd name="connsiteY7" fmla="*/ 880066 h 1444859"/>
              <a:gd name="connsiteX8" fmla="*/ 644324 w 1295672"/>
              <a:gd name="connsiteY8" fmla="*/ 873841 h 1444859"/>
              <a:gd name="connsiteX9" fmla="*/ 644325 w 1295672"/>
              <a:gd name="connsiteY9" fmla="*/ 873842 h 1444859"/>
              <a:gd name="connsiteX10" fmla="*/ 657247 w 1295672"/>
              <a:gd name="connsiteY10" fmla="*/ 880067 h 1444859"/>
              <a:gd name="connsiteX11" fmla="*/ 574251 w 1295672"/>
              <a:gd name="connsiteY11" fmla="*/ 920048 h 1444859"/>
              <a:gd name="connsiteX12" fmla="*/ 132436 w 1295672"/>
              <a:gd name="connsiteY12" fmla="*/ 1361863 h 1444859"/>
              <a:gd name="connsiteX13" fmla="*/ 92455 w 1295672"/>
              <a:gd name="connsiteY13" fmla="*/ 1444859 h 1444859"/>
              <a:gd name="connsiteX14" fmla="*/ 86230 w 1295672"/>
              <a:gd name="connsiteY14" fmla="*/ 1431937 h 1444859"/>
              <a:gd name="connsiteX15" fmla="*/ 0 w 1295672"/>
              <a:gd name="connsiteY15" fmla="*/ 1004826 h 1444859"/>
              <a:gd name="connsiteX16" fmla="*/ 5665 w 1295672"/>
              <a:gd name="connsiteY16" fmla="*/ 892635 h 1444859"/>
              <a:gd name="connsiteX17" fmla="*/ 18821 w 1295672"/>
              <a:gd name="connsiteY17" fmla="*/ 806433 h 1444859"/>
              <a:gd name="connsiteX18" fmla="*/ 18820 w 1295672"/>
              <a:gd name="connsiteY18" fmla="*/ 806432 h 1444859"/>
              <a:gd name="connsiteX19" fmla="*/ 22292 w 1295672"/>
              <a:gd name="connsiteY19" fmla="*/ 783685 h 1444859"/>
              <a:gd name="connsiteX20" fmla="*/ 574250 w 1295672"/>
              <a:gd name="connsiteY20" fmla="*/ 39981 h 1444859"/>
              <a:gd name="connsiteX21" fmla="*/ 657246 w 1295672"/>
              <a:gd name="connsiteY21" fmla="*/ 0 h 1444859"/>
              <a:gd name="connsiteX0" fmla="*/ 657246 w 1295672"/>
              <a:gd name="connsiteY0" fmla="*/ 0 h 1444859"/>
              <a:gd name="connsiteX1" fmla="*/ 740242 w 1295672"/>
              <a:gd name="connsiteY1" fmla="*/ 39981 h 1444859"/>
              <a:gd name="connsiteX2" fmla="*/ 1292200 w 1295672"/>
              <a:gd name="connsiteY2" fmla="*/ 783685 h 1444859"/>
              <a:gd name="connsiteX3" fmla="*/ 1295672 w 1295672"/>
              <a:gd name="connsiteY3" fmla="*/ 806432 h 1444859"/>
              <a:gd name="connsiteX4" fmla="*/ 1209470 w 1295672"/>
              <a:gd name="connsiteY4" fmla="*/ 793276 h 1444859"/>
              <a:gd name="connsiteX5" fmla="*/ 1097279 w 1295672"/>
              <a:gd name="connsiteY5" fmla="*/ 787611 h 1444859"/>
              <a:gd name="connsiteX6" fmla="*/ 670168 w 1295672"/>
              <a:gd name="connsiteY6" fmla="*/ 873841 h 1444859"/>
              <a:gd name="connsiteX7" fmla="*/ 657246 w 1295672"/>
              <a:gd name="connsiteY7" fmla="*/ 880066 h 1444859"/>
              <a:gd name="connsiteX8" fmla="*/ 644324 w 1295672"/>
              <a:gd name="connsiteY8" fmla="*/ 873841 h 1444859"/>
              <a:gd name="connsiteX9" fmla="*/ 657247 w 1295672"/>
              <a:gd name="connsiteY9" fmla="*/ 880067 h 1444859"/>
              <a:gd name="connsiteX10" fmla="*/ 574251 w 1295672"/>
              <a:gd name="connsiteY10" fmla="*/ 920048 h 1444859"/>
              <a:gd name="connsiteX11" fmla="*/ 132436 w 1295672"/>
              <a:gd name="connsiteY11" fmla="*/ 1361863 h 1444859"/>
              <a:gd name="connsiteX12" fmla="*/ 92455 w 1295672"/>
              <a:gd name="connsiteY12" fmla="*/ 1444859 h 1444859"/>
              <a:gd name="connsiteX13" fmla="*/ 86230 w 1295672"/>
              <a:gd name="connsiteY13" fmla="*/ 1431937 h 1444859"/>
              <a:gd name="connsiteX14" fmla="*/ 0 w 1295672"/>
              <a:gd name="connsiteY14" fmla="*/ 1004826 h 1444859"/>
              <a:gd name="connsiteX15" fmla="*/ 5665 w 1295672"/>
              <a:gd name="connsiteY15" fmla="*/ 892635 h 1444859"/>
              <a:gd name="connsiteX16" fmla="*/ 18821 w 1295672"/>
              <a:gd name="connsiteY16" fmla="*/ 806433 h 1444859"/>
              <a:gd name="connsiteX17" fmla="*/ 18820 w 1295672"/>
              <a:gd name="connsiteY17" fmla="*/ 806432 h 1444859"/>
              <a:gd name="connsiteX18" fmla="*/ 22292 w 1295672"/>
              <a:gd name="connsiteY18" fmla="*/ 783685 h 1444859"/>
              <a:gd name="connsiteX19" fmla="*/ 574250 w 1295672"/>
              <a:gd name="connsiteY19" fmla="*/ 39981 h 1444859"/>
              <a:gd name="connsiteX20" fmla="*/ 657246 w 1295672"/>
              <a:gd name="connsiteY20" fmla="*/ 0 h 1444859"/>
              <a:gd name="connsiteX0" fmla="*/ 657246 w 1295672"/>
              <a:gd name="connsiteY0" fmla="*/ 0 h 1444859"/>
              <a:gd name="connsiteX1" fmla="*/ 740242 w 1295672"/>
              <a:gd name="connsiteY1" fmla="*/ 39981 h 1444859"/>
              <a:gd name="connsiteX2" fmla="*/ 1292200 w 1295672"/>
              <a:gd name="connsiteY2" fmla="*/ 783685 h 1444859"/>
              <a:gd name="connsiteX3" fmla="*/ 1295672 w 1295672"/>
              <a:gd name="connsiteY3" fmla="*/ 806432 h 1444859"/>
              <a:gd name="connsiteX4" fmla="*/ 1209470 w 1295672"/>
              <a:gd name="connsiteY4" fmla="*/ 793276 h 1444859"/>
              <a:gd name="connsiteX5" fmla="*/ 1097279 w 1295672"/>
              <a:gd name="connsiteY5" fmla="*/ 787611 h 1444859"/>
              <a:gd name="connsiteX6" fmla="*/ 670168 w 1295672"/>
              <a:gd name="connsiteY6" fmla="*/ 873841 h 1444859"/>
              <a:gd name="connsiteX7" fmla="*/ 657246 w 1295672"/>
              <a:gd name="connsiteY7" fmla="*/ 880066 h 1444859"/>
              <a:gd name="connsiteX8" fmla="*/ 657247 w 1295672"/>
              <a:gd name="connsiteY8" fmla="*/ 880067 h 1444859"/>
              <a:gd name="connsiteX9" fmla="*/ 574251 w 1295672"/>
              <a:gd name="connsiteY9" fmla="*/ 920048 h 1444859"/>
              <a:gd name="connsiteX10" fmla="*/ 132436 w 1295672"/>
              <a:gd name="connsiteY10" fmla="*/ 1361863 h 1444859"/>
              <a:gd name="connsiteX11" fmla="*/ 92455 w 1295672"/>
              <a:gd name="connsiteY11" fmla="*/ 1444859 h 1444859"/>
              <a:gd name="connsiteX12" fmla="*/ 86230 w 1295672"/>
              <a:gd name="connsiteY12" fmla="*/ 1431937 h 1444859"/>
              <a:gd name="connsiteX13" fmla="*/ 0 w 1295672"/>
              <a:gd name="connsiteY13" fmla="*/ 1004826 h 1444859"/>
              <a:gd name="connsiteX14" fmla="*/ 5665 w 1295672"/>
              <a:gd name="connsiteY14" fmla="*/ 892635 h 1444859"/>
              <a:gd name="connsiteX15" fmla="*/ 18821 w 1295672"/>
              <a:gd name="connsiteY15" fmla="*/ 806433 h 1444859"/>
              <a:gd name="connsiteX16" fmla="*/ 18820 w 1295672"/>
              <a:gd name="connsiteY16" fmla="*/ 806432 h 1444859"/>
              <a:gd name="connsiteX17" fmla="*/ 22292 w 1295672"/>
              <a:gd name="connsiteY17" fmla="*/ 783685 h 1444859"/>
              <a:gd name="connsiteX18" fmla="*/ 574250 w 1295672"/>
              <a:gd name="connsiteY18" fmla="*/ 39981 h 1444859"/>
              <a:gd name="connsiteX19" fmla="*/ 657246 w 1295672"/>
              <a:gd name="connsiteY19" fmla="*/ 0 h 1444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95672" h="1444859">
                <a:moveTo>
                  <a:pt x="657246" y="0"/>
                </a:moveTo>
                <a:lnTo>
                  <a:pt x="740242" y="39981"/>
                </a:lnTo>
                <a:cubicBezTo>
                  <a:pt x="1020101" y="192009"/>
                  <a:pt x="1226425" y="462249"/>
                  <a:pt x="1292200" y="783685"/>
                </a:cubicBezTo>
                <a:lnTo>
                  <a:pt x="1295672" y="806432"/>
                </a:lnTo>
                <a:lnTo>
                  <a:pt x="1209470" y="793276"/>
                </a:lnTo>
                <a:cubicBezTo>
                  <a:pt x="1172582" y="789530"/>
                  <a:pt x="1135155" y="787611"/>
                  <a:pt x="1097279" y="787611"/>
                </a:cubicBezTo>
                <a:cubicBezTo>
                  <a:pt x="945776" y="787611"/>
                  <a:pt x="801445" y="818315"/>
                  <a:pt x="670168" y="873841"/>
                </a:cubicBezTo>
                <a:lnTo>
                  <a:pt x="657246" y="880066"/>
                </a:lnTo>
                <a:lnTo>
                  <a:pt x="657247" y="880067"/>
                </a:lnTo>
                <a:lnTo>
                  <a:pt x="574251" y="920048"/>
                </a:lnTo>
                <a:cubicBezTo>
                  <a:pt x="387679" y="1021400"/>
                  <a:pt x="233788" y="1175291"/>
                  <a:pt x="132436" y="1361863"/>
                </a:cubicBezTo>
                <a:lnTo>
                  <a:pt x="92455" y="1444859"/>
                </a:lnTo>
                <a:lnTo>
                  <a:pt x="86230" y="1431937"/>
                </a:lnTo>
                <a:cubicBezTo>
                  <a:pt x="30704" y="1300660"/>
                  <a:pt x="0" y="1156329"/>
                  <a:pt x="0" y="1004826"/>
                </a:cubicBezTo>
                <a:cubicBezTo>
                  <a:pt x="0" y="966950"/>
                  <a:pt x="1919" y="929523"/>
                  <a:pt x="5665" y="892635"/>
                </a:cubicBezTo>
                <a:lnTo>
                  <a:pt x="18821" y="806433"/>
                </a:lnTo>
                <a:lnTo>
                  <a:pt x="18820" y="806432"/>
                </a:lnTo>
                <a:lnTo>
                  <a:pt x="22292" y="783685"/>
                </a:lnTo>
                <a:cubicBezTo>
                  <a:pt x="88067" y="462249"/>
                  <a:pt x="294391" y="192009"/>
                  <a:pt x="574250" y="39981"/>
                </a:cubicBezTo>
                <a:lnTo>
                  <a:pt x="657246" y="0"/>
                </a:lnTo>
                <a:close/>
              </a:path>
            </a:pathLst>
          </a:custGeom>
          <a:solidFill>
            <a:srgbClr val="C20F2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504000" anchor="ctr"/>
          <a:lstStyle/>
          <a:p>
            <a:pPr algn="ctr" eaLnBrk="1" fontAlgn="auto" hangingPunct="1">
              <a:spcBef>
                <a:spcPts val="0"/>
              </a:spcBef>
              <a:spcAft>
                <a:spcPts val="0"/>
              </a:spcAft>
              <a:defRPr/>
            </a:pPr>
            <a:r>
              <a:rPr lang="en-US" altLang="zh-CN" sz="4800" b="1" dirty="0">
                <a:latin typeface="Agency FB" panose="020B0503020202020204" pitchFamily="34" charset="0"/>
                <a:cs typeface="Raavi" panose="020B0502040204020203" pitchFamily="34" charset="0"/>
              </a:rPr>
              <a:t>01</a:t>
            </a:r>
            <a:endParaRPr lang="zh-CN" altLang="en-US" sz="4800" b="1" dirty="0">
              <a:latin typeface="Agency FB" panose="020B0503020202020204" pitchFamily="34" charset="0"/>
              <a:cs typeface="Raavi" panose="020B0502040204020203" pitchFamily="34" charset="0"/>
            </a:endParaRPr>
          </a:p>
        </p:txBody>
      </p:sp>
      <p:sp>
        <p:nvSpPr>
          <p:cNvPr id="7" name="任意多边形 6">
            <a:extLst>
              <a:ext uri="{FF2B5EF4-FFF2-40B4-BE49-F238E27FC236}">
                <a16:creationId xmlns:a16="http://schemas.microsoft.com/office/drawing/2014/main" id="{EF46D042-3EDE-4CD2-AED6-6BDA1E8D7444}"/>
              </a:ext>
            </a:extLst>
          </p:cNvPr>
          <p:cNvSpPr/>
          <p:nvPr/>
        </p:nvSpPr>
        <p:spPr>
          <a:xfrm>
            <a:off x="8961438" y="2854325"/>
            <a:ext cx="2297112" cy="2058988"/>
          </a:xfrm>
          <a:custGeom>
            <a:avLst/>
            <a:gdLst>
              <a:gd name="connsiteX0" fmla="*/ 440033 w 1444857"/>
              <a:gd name="connsiteY0" fmla="*/ 0 h 1295672"/>
              <a:gd name="connsiteX1" fmla="*/ 552224 w 1444857"/>
              <a:gd name="connsiteY1" fmla="*/ 5665 h 1295672"/>
              <a:gd name="connsiteX2" fmla="*/ 638425 w 1444857"/>
              <a:gd name="connsiteY2" fmla="*/ 18821 h 1295672"/>
              <a:gd name="connsiteX3" fmla="*/ 638425 w 1444857"/>
              <a:gd name="connsiteY3" fmla="*/ 18820 h 1295672"/>
              <a:gd name="connsiteX4" fmla="*/ 661172 w 1444857"/>
              <a:gd name="connsiteY4" fmla="*/ 22292 h 1295672"/>
              <a:gd name="connsiteX5" fmla="*/ 1404876 w 1444857"/>
              <a:gd name="connsiteY5" fmla="*/ 574250 h 1295672"/>
              <a:gd name="connsiteX6" fmla="*/ 1444857 w 1444857"/>
              <a:gd name="connsiteY6" fmla="*/ 657246 h 1295672"/>
              <a:gd name="connsiteX7" fmla="*/ 1404876 w 1444857"/>
              <a:gd name="connsiteY7" fmla="*/ 740242 h 1295672"/>
              <a:gd name="connsiteX8" fmla="*/ 661172 w 1444857"/>
              <a:gd name="connsiteY8" fmla="*/ 1292200 h 1295672"/>
              <a:gd name="connsiteX9" fmla="*/ 638425 w 1444857"/>
              <a:gd name="connsiteY9" fmla="*/ 1295672 h 1295672"/>
              <a:gd name="connsiteX10" fmla="*/ 651581 w 1444857"/>
              <a:gd name="connsiteY10" fmla="*/ 1209470 h 1295672"/>
              <a:gd name="connsiteX11" fmla="*/ 657246 w 1444857"/>
              <a:gd name="connsiteY11" fmla="*/ 1097279 h 1295672"/>
              <a:gd name="connsiteX12" fmla="*/ 571016 w 1444857"/>
              <a:gd name="connsiteY12" fmla="*/ 670168 h 1295672"/>
              <a:gd name="connsiteX13" fmla="*/ 564791 w 1444857"/>
              <a:gd name="connsiteY13" fmla="*/ 657246 h 1295672"/>
              <a:gd name="connsiteX14" fmla="*/ 564791 w 1444857"/>
              <a:gd name="connsiteY14" fmla="*/ 657246 h 1295672"/>
              <a:gd name="connsiteX15" fmla="*/ 524811 w 1444857"/>
              <a:gd name="connsiteY15" fmla="*/ 574251 h 1295672"/>
              <a:gd name="connsiteX16" fmla="*/ 82996 w 1444857"/>
              <a:gd name="connsiteY16" fmla="*/ 132436 h 1295672"/>
              <a:gd name="connsiteX17" fmla="*/ 0 w 1444857"/>
              <a:gd name="connsiteY17" fmla="*/ 92455 h 1295672"/>
              <a:gd name="connsiteX18" fmla="*/ 12922 w 1444857"/>
              <a:gd name="connsiteY18" fmla="*/ 86230 h 1295672"/>
              <a:gd name="connsiteX19" fmla="*/ 440033 w 1444857"/>
              <a:gd name="connsiteY19" fmla="*/ 0 h 1295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44857" h="1295672">
                <a:moveTo>
                  <a:pt x="440033" y="0"/>
                </a:moveTo>
                <a:cubicBezTo>
                  <a:pt x="477909" y="0"/>
                  <a:pt x="515336" y="1919"/>
                  <a:pt x="552224" y="5665"/>
                </a:cubicBezTo>
                <a:lnTo>
                  <a:pt x="638425" y="18821"/>
                </a:lnTo>
                <a:lnTo>
                  <a:pt x="638425" y="18820"/>
                </a:lnTo>
                <a:lnTo>
                  <a:pt x="661172" y="22292"/>
                </a:lnTo>
                <a:cubicBezTo>
                  <a:pt x="982609" y="88067"/>
                  <a:pt x="1252848" y="294391"/>
                  <a:pt x="1404876" y="574250"/>
                </a:cubicBezTo>
                <a:lnTo>
                  <a:pt x="1444857" y="657246"/>
                </a:lnTo>
                <a:lnTo>
                  <a:pt x="1404876" y="740242"/>
                </a:lnTo>
                <a:cubicBezTo>
                  <a:pt x="1252848" y="1020101"/>
                  <a:pt x="982609" y="1226425"/>
                  <a:pt x="661172" y="1292200"/>
                </a:cubicBezTo>
                <a:lnTo>
                  <a:pt x="638425" y="1295672"/>
                </a:lnTo>
                <a:lnTo>
                  <a:pt x="651581" y="1209470"/>
                </a:lnTo>
                <a:cubicBezTo>
                  <a:pt x="655327" y="1172582"/>
                  <a:pt x="657246" y="1135155"/>
                  <a:pt x="657246" y="1097279"/>
                </a:cubicBezTo>
                <a:cubicBezTo>
                  <a:pt x="657246" y="945776"/>
                  <a:pt x="626542" y="801445"/>
                  <a:pt x="571016" y="670168"/>
                </a:cubicBezTo>
                <a:lnTo>
                  <a:pt x="564791" y="657246"/>
                </a:lnTo>
                <a:lnTo>
                  <a:pt x="564791" y="657246"/>
                </a:lnTo>
                <a:lnTo>
                  <a:pt x="524811" y="574251"/>
                </a:lnTo>
                <a:cubicBezTo>
                  <a:pt x="423459" y="387679"/>
                  <a:pt x="269569" y="233788"/>
                  <a:pt x="82996" y="132436"/>
                </a:cubicBezTo>
                <a:lnTo>
                  <a:pt x="0" y="92455"/>
                </a:lnTo>
                <a:lnTo>
                  <a:pt x="12922" y="86230"/>
                </a:lnTo>
                <a:cubicBezTo>
                  <a:pt x="144199" y="30704"/>
                  <a:pt x="288530" y="0"/>
                  <a:pt x="440033" y="0"/>
                </a:cubicBezTo>
                <a:close/>
              </a:path>
            </a:pathLst>
          </a:custGeom>
          <a:solidFill>
            <a:srgbClr val="29292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68000" tIns="0" rIns="0" bIns="72000" anchor="ctr"/>
          <a:lstStyle/>
          <a:p>
            <a:pPr algn="ctr" eaLnBrk="1" fontAlgn="auto" hangingPunct="1">
              <a:spcBef>
                <a:spcPts val="0"/>
              </a:spcBef>
              <a:spcAft>
                <a:spcPts val="0"/>
              </a:spcAft>
              <a:defRPr/>
            </a:pPr>
            <a:r>
              <a:rPr lang="en-US" altLang="zh-CN" sz="4800" b="1" dirty="0">
                <a:latin typeface="Agency FB" panose="020B0503020202020204" pitchFamily="34" charset="0"/>
                <a:cs typeface="Raavi" panose="020B0502040204020203" pitchFamily="34" charset="0"/>
              </a:rPr>
              <a:t>02</a:t>
            </a:r>
            <a:endParaRPr lang="zh-CN" altLang="en-US" sz="4800" b="1" dirty="0">
              <a:latin typeface="Agency FB" panose="020B0503020202020204" pitchFamily="34" charset="0"/>
              <a:cs typeface="Raavi" panose="020B0502040204020203" pitchFamily="34" charset="0"/>
            </a:endParaRPr>
          </a:p>
        </p:txBody>
      </p:sp>
      <p:sp>
        <p:nvSpPr>
          <p:cNvPr id="8" name="任意多边形 7">
            <a:extLst>
              <a:ext uri="{FF2B5EF4-FFF2-40B4-BE49-F238E27FC236}">
                <a16:creationId xmlns:a16="http://schemas.microsoft.com/office/drawing/2014/main" id="{5223D4B0-AEEA-4BA5-9622-54CF80D83A84}"/>
              </a:ext>
            </a:extLst>
          </p:cNvPr>
          <p:cNvSpPr/>
          <p:nvPr/>
        </p:nvSpPr>
        <p:spPr>
          <a:xfrm>
            <a:off x="6664325" y="2882900"/>
            <a:ext cx="2297113" cy="2058988"/>
          </a:xfrm>
          <a:custGeom>
            <a:avLst/>
            <a:gdLst>
              <a:gd name="connsiteX0" fmla="*/ 806432 w 1444859"/>
              <a:gd name="connsiteY0" fmla="*/ 0 h 1295674"/>
              <a:gd name="connsiteX1" fmla="*/ 793276 w 1444859"/>
              <a:gd name="connsiteY1" fmla="*/ 86202 h 1295674"/>
              <a:gd name="connsiteX2" fmla="*/ 787611 w 1444859"/>
              <a:gd name="connsiteY2" fmla="*/ 198393 h 1295674"/>
              <a:gd name="connsiteX3" fmla="*/ 873841 w 1444859"/>
              <a:gd name="connsiteY3" fmla="*/ 625504 h 1295674"/>
              <a:gd name="connsiteX4" fmla="*/ 880066 w 1444859"/>
              <a:gd name="connsiteY4" fmla="*/ 638426 h 1295674"/>
              <a:gd name="connsiteX5" fmla="*/ 873841 w 1444859"/>
              <a:gd name="connsiteY5" fmla="*/ 651348 h 1295674"/>
              <a:gd name="connsiteX6" fmla="*/ 863411 w 1444859"/>
              <a:gd name="connsiteY6" fmla="*/ 679845 h 1295674"/>
              <a:gd name="connsiteX7" fmla="*/ 863412 w 1444859"/>
              <a:gd name="connsiteY7" fmla="*/ 679846 h 1295674"/>
              <a:gd name="connsiteX8" fmla="*/ 873842 w 1444859"/>
              <a:gd name="connsiteY8" fmla="*/ 651349 h 1295674"/>
              <a:gd name="connsiteX9" fmla="*/ 880067 w 1444859"/>
              <a:gd name="connsiteY9" fmla="*/ 638427 h 1295674"/>
              <a:gd name="connsiteX10" fmla="*/ 920048 w 1444859"/>
              <a:gd name="connsiteY10" fmla="*/ 721423 h 1295674"/>
              <a:gd name="connsiteX11" fmla="*/ 1361863 w 1444859"/>
              <a:gd name="connsiteY11" fmla="*/ 1163238 h 1295674"/>
              <a:gd name="connsiteX12" fmla="*/ 1444859 w 1444859"/>
              <a:gd name="connsiteY12" fmla="*/ 1203219 h 1295674"/>
              <a:gd name="connsiteX13" fmla="*/ 1431937 w 1444859"/>
              <a:gd name="connsiteY13" fmla="*/ 1209444 h 1295674"/>
              <a:gd name="connsiteX14" fmla="*/ 1004826 w 1444859"/>
              <a:gd name="connsiteY14" fmla="*/ 1295674 h 1295674"/>
              <a:gd name="connsiteX15" fmla="*/ 892635 w 1444859"/>
              <a:gd name="connsiteY15" fmla="*/ 1290009 h 1295674"/>
              <a:gd name="connsiteX16" fmla="*/ 806433 w 1444859"/>
              <a:gd name="connsiteY16" fmla="*/ 1276853 h 1295674"/>
              <a:gd name="connsiteX17" fmla="*/ 801994 w 1444859"/>
              <a:gd name="connsiteY17" fmla="*/ 1247766 h 1295674"/>
              <a:gd name="connsiteX18" fmla="*/ 801993 w 1444859"/>
              <a:gd name="connsiteY18" fmla="*/ 1247765 h 1295674"/>
              <a:gd name="connsiteX19" fmla="*/ 806432 w 1444859"/>
              <a:gd name="connsiteY19" fmla="*/ 1276852 h 1295674"/>
              <a:gd name="connsiteX20" fmla="*/ 783685 w 1444859"/>
              <a:gd name="connsiteY20" fmla="*/ 1273380 h 1295674"/>
              <a:gd name="connsiteX21" fmla="*/ 39981 w 1444859"/>
              <a:gd name="connsiteY21" fmla="*/ 721422 h 1295674"/>
              <a:gd name="connsiteX22" fmla="*/ 0 w 1444859"/>
              <a:gd name="connsiteY22" fmla="*/ 638426 h 1295674"/>
              <a:gd name="connsiteX23" fmla="*/ 39981 w 1444859"/>
              <a:gd name="connsiteY23" fmla="*/ 555430 h 1295674"/>
              <a:gd name="connsiteX24" fmla="*/ 783685 w 1444859"/>
              <a:gd name="connsiteY24" fmla="*/ 3472 h 1295674"/>
              <a:gd name="connsiteX0" fmla="*/ 806432 w 1444859"/>
              <a:gd name="connsiteY0" fmla="*/ 0 h 1295674"/>
              <a:gd name="connsiteX1" fmla="*/ 793276 w 1444859"/>
              <a:gd name="connsiteY1" fmla="*/ 86202 h 1295674"/>
              <a:gd name="connsiteX2" fmla="*/ 787611 w 1444859"/>
              <a:gd name="connsiteY2" fmla="*/ 198393 h 1295674"/>
              <a:gd name="connsiteX3" fmla="*/ 873841 w 1444859"/>
              <a:gd name="connsiteY3" fmla="*/ 625504 h 1295674"/>
              <a:gd name="connsiteX4" fmla="*/ 880066 w 1444859"/>
              <a:gd name="connsiteY4" fmla="*/ 638426 h 1295674"/>
              <a:gd name="connsiteX5" fmla="*/ 873841 w 1444859"/>
              <a:gd name="connsiteY5" fmla="*/ 651348 h 1295674"/>
              <a:gd name="connsiteX6" fmla="*/ 863411 w 1444859"/>
              <a:gd name="connsiteY6" fmla="*/ 679845 h 1295674"/>
              <a:gd name="connsiteX7" fmla="*/ 863412 w 1444859"/>
              <a:gd name="connsiteY7" fmla="*/ 679846 h 1295674"/>
              <a:gd name="connsiteX8" fmla="*/ 873842 w 1444859"/>
              <a:gd name="connsiteY8" fmla="*/ 651349 h 1295674"/>
              <a:gd name="connsiteX9" fmla="*/ 880067 w 1444859"/>
              <a:gd name="connsiteY9" fmla="*/ 638427 h 1295674"/>
              <a:gd name="connsiteX10" fmla="*/ 920048 w 1444859"/>
              <a:gd name="connsiteY10" fmla="*/ 721423 h 1295674"/>
              <a:gd name="connsiteX11" fmla="*/ 1361863 w 1444859"/>
              <a:gd name="connsiteY11" fmla="*/ 1163238 h 1295674"/>
              <a:gd name="connsiteX12" fmla="*/ 1444859 w 1444859"/>
              <a:gd name="connsiteY12" fmla="*/ 1203219 h 1295674"/>
              <a:gd name="connsiteX13" fmla="*/ 1431937 w 1444859"/>
              <a:gd name="connsiteY13" fmla="*/ 1209444 h 1295674"/>
              <a:gd name="connsiteX14" fmla="*/ 1004826 w 1444859"/>
              <a:gd name="connsiteY14" fmla="*/ 1295674 h 1295674"/>
              <a:gd name="connsiteX15" fmla="*/ 892635 w 1444859"/>
              <a:gd name="connsiteY15" fmla="*/ 1290009 h 1295674"/>
              <a:gd name="connsiteX16" fmla="*/ 806433 w 1444859"/>
              <a:gd name="connsiteY16" fmla="*/ 1276853 h 1295674"/>
              <a:gd name="connsiteX17" fmla="*/ 801994 w 1444859"/>
              <a:gd name="connsiteY17" fmla="*/ 1247766 h 1295674"/>
              <a:gd name="connsiteX18" fmla="*/ 806432 w 1444859"/>
              <a:gd name="connsiteY18" fmla="*/ 1276852 h 1295674"/>
              <a:gd name="connsiteX19" fmla="*/ 783685 w 1444859"/>
              <a:gd name="connsiteY19" fmla="*/ 1273380 h 1295674"/>
              <a:gd name="connsiteX20" fmla="*/ 39981 w 1444859"/>
              <a:gd name="connsiteY20" fmla="*/ 721422 h 1295674"/>
              <a:gd name="connsiteX21" fmla="*/ 0 w 1444859"/>
              <a:gd name="connsiteY21" fmla="*/ 638426 h 1295674"/>
              <a:gd name="connsiteX22" fmla="*/ 39981 w 1444859"/>
              <a:gd name="connsiteY22" fmla="*/ 555430 h 1295674"/>
              <a:gd name="connsiteX23" fmla="*/ 783685 w 1444859"/>
              <a:gd name="connsiteY23" fmla="*/ 3472 h 1295674"/>
              <a:gd name="connsiteX24" fmla="*/ 806432 w 1444859"/>
              <a:gd name="connsiteY24" fmla="*/ 0 h 1295674"/>
              <a:gd name="connsiteX0" fmla="*/ 806432 w 1444859"/>
              <a:gd name="connsiteY0" fmla="*/ 0 h 1295674"/>
              <a:gd name="connsiteX1" fmla="*/ 793276 w 1444859"/>
              <a:gd name="connsiteY1" fmla="*/ 86202 h 1295674"/>
              <a:gd name="connsiteX2" fmla="*/ 787611 w 1444859"/>
              <a:gd name="connsiteY2" fmla="*/ 198393 h 1295674"/>
              <a:gd name="connsiteX3" fmla="*/ 873841 w 1444859"/>
              <a:gd name="connsiteY3" fmla="*/ 625504 h 1295674"/>
              <a:gd name="connsiteX4" fmla="*/ 880066 w 1444859"/>
              <a:gd name="connsiteY4" fmla="*/ 638426 h 1295674"/>
              <a:gd name="connsiteX5" fmla="*/ 873841 w 1444859"/>
              <a:gd name="connsiteY5" fmla="*/ 651348 h 1295674"/>
              <a:gd name="connsiteX6" fmla="*/ 863411 w 1444859"/>
              <a:gd name="connsiteY6" fmla="*/ 679845 h 1295674"/>
              <a:gd name="connsiteX7" fmla="*/ 863412 w 1444859"/>
              <a:gd name="connsiteY7" fmla="*/ 679846 h 1295674"/>
              <a:gd name="connsiteX8" fmla="*/ 873842 w 1444859"/>
              <a:gd name="connsiteY8" fmla="*/ 651349 h 1295674"/>
              <a:gd name="connsiteX9" fmla="*/ 880067 w 1444859"/>
              <a:gd name="connsiteY9" fmla="*/ 638427 h 1295674"/>
              <a:gd name="connsiteX10" fmla="*/ 920048 w 1444859"/>
              <a:gd name="connsiteY10" fmla="*/ 721423 h 1295674"/>
              <a:gd name="connsiteX11" fmla="*/ 1361863 w 1444859"/>
              <a:gd name="connsiteY11" fmla="*/ 1163238 h 1295674"/>
              <a:gd name="connsiteX12" fmla="*/ 1444859 w 1444859"/>
              <a:gd name="connsiteY12" fmla="*/ 1203219 h 1295674"/>
              <a:gd name="connsiteX13" fmla="*/ 1431937 w 1444859"/>
              <a:gd name="connsiteY13" fmla="*/ 1209444 h 1295674"/>
              <a:gd name="connsiteX14" fmla="*/ 1004826 w 1444859"/>
              <a:gd name="connsiteY14" fmla="*/ 1295674 h 1295674"/>
              <a:gd name="connsiteX15" fmla="*/ 892635 w 1444859"/>
              <a:gd name="connsiteY15" fmla="*/ 1290009 h 1295674"/>
              <a:gd name="connsiteX16" fmla="*/ 806433 w 1444859"/>
              <a:gd name="connsiteY16" fmla="*/ 1276853 h 1295674"/>
              <a:gd name="connsiteX17" fmla="*/ 806432 w 1444859"/>
              <a:gd name="connsiteY17" fmla="*/ 1276852 h 1295674"/>
              <a:gd name="connsiteX18" fmla="*/ 783685 w 1444859"/>
              <a:gd name="connsiteY18" fmla="*/ 1273380 h 1295674"/>
              <a:gd name="connsiteX19" fmla="*/ 39981 w 1444859"/>
              <a:gd name="connsiteY19" fmla="*/ 721422 h 1295674"/>
              <a:gd name="connsiteX20" fmla="*/ 0 w 1444859"/>
              <a:gd name="connsiteY20" fmla="*/ 638426 h 1295674"/>
              <a:gd name="connsiteX21" fmla="*/ 39981 w 1444859"/>
              <a:gd name="connsiteY21" fmla="*/ 555430 h 1295674"/>
              <a:gd name="connsiteX22" fmla="*/ 783685 w 1444859"/>
              <a:gd name="connsiteY22" fmla="*/ 3472 h 1295674"/>
              <a:gd name="connsiteX23" fmla="*/ 806432 w 1444859"/>
              <a:gd name="connsiteY23" fmla="*/ 0 h 1295674"/>
              <a:gd name="connsiteX0" fmla="*/ 806432 w 1444859"/>
              <a:gd name="connsiteY0" fmla="*/ 0 h 1295674"/>
              <a:gd name="connsiteX1" fmla="*/ 793276 w 1444859"/>
              <a:gd name="connsiteY1" fmla="*/ 86202 h 1295674"/>
              <a:gd name="connsiteX2" fmla="*/ 787611 w 1444859"/>
              <a:gd name="connsiteY2" fmla="*/ 198393 h 1295674"/>
              <a:gd name="connsiteX3" fmla="*/ 873841 w 1444859"/>
              <a:gd name="connsiteY3" fmla="*/ 625504 h 1295674"/>
              <a:gd name="connsiteX4" fmla="*/ 880066 w 1444859"/>
              <a:gd name="connsiteY4" fmla="*/ 638426 h 1295674"/>
              <a:gd name="connsiteX5" fmla="*/ 873841 w 1444859"/>
              <a:gd name="connsiteY5" fmla="*/ 651348 h 1295674"/>
              <a:gd name="connsiteX6" fmla="*/ 863411 w 1444859"/>
              <a:gd name="connsiteY6" fmla="*/ 679845 h 1295674"/>
              <a:gd name="connsiteX7" fmla="*/ 873842 w 1444859"/>
              <a:gd name="connsiteY7" fmla="*/ 651349 h 1295674"/>
              <a:gd name="connsiteX8" fmla="*/ 880067 w 1444859"/>
              <a:gd name="connsiteY8" fmla="*/ 638427 h 1295674"/>
              <a:gd name="connsiteX9" fmla="*/ 920048 w 1444859"/>
              <a:gd name="connsiteY9" fmla="*/ 721423 h 1295674"/>
              <a:gd name="connsiteX10" fmla="*/ 1361863 w 1444859"/>
              <a:gd name="connsiteY10" fmla="*/ 1163238 h 1295674"/>
              <a:gd name="connsiteX11" fmla="*/ 1444859 w 1444859"/>
              <a:gd name="connsiteY11" fmla="*/ 1203219 h 1295674"/>
              <a:gd name="connsiteX12" fmla="*/ 1431937 w 1444859"/>
              <a:gd name="connsiteY12" fmla="*/ 1209444 h 1295674"/>
              <a:gd name="connsiteX13" fmla="*/ 1004826 w 1444859"/>
              <a:gd name="connsiteY13" fmla="*/ 1295674 h 1295674"/>
              <a:gd name="connsiteX14" fmla="*/ 892635 w 1444859"/>
              <a:gd name="connsiteY14" fmla="*/ 1290009 h 1295674"/>
              <a:gd name="connsiteX15" fmla="*/ 806433 w 1444859"/>
              <a:gd name="connsiteY15" fmla="*/ 1276853 h 1295674"/>
              <a:gd name="connsiteX16" fmla="*/ 806432 w 1444859"/>
              <a:gd name="connsiteY16" fmla="*/ 1276852 h 1295674"/>
              <a:gd name="connsiteX17" fmla="*/ 783685 w 1444859"/>
              <a:gd name="connsiteY17" fmla="*/ 1273380 h 1295674"/>
              <a:gd name="connsiteX18" fmla="*/ 39981 w 1444859"/>
              <a:gd name="connsiteY18" fmla="*/ 721422 h 1295674"/>
              <a:gd name="connsiteX19" fmla="*/ 0 w 1444859"/>
              <a:gd name="connsiteY19" fmla="*/ 638426 h 1295674"/>
              <a:gd name="connsiteX20" fmla="*/ 39981 w 1444859"/>
              <a:gd name="connsiteY20" fmla="*/ 555430 h 1295674"/>
              <a:gd name="connsiteX21" fmla="*/ 783685 w 1444859"/>
              <a:gd name="connsiteY21" fmla="*/ 3472 h 1295674"/>
              <a:gd name="connsiteX22" fmla="*/ 806432 w 1444859"/>
              <a:gd name="connsiteY22" fmla="*/ 0 h 1295674"/>
              <a:gd name="connsiteX0" fmla="*/ 806432 w 1444859"/>
              <a:gd name="connsiteY0" fmla="*/ 0 h 1295674"/>
              <a:gd name="connsiteX1" fmla="*/ 793276 w 1444859"/>
              <a:gd name="connsiteY1" fmla="*/ 86202 h 1295674"/>
              <a:gd name="connsiteX2" fmla="*/ 787611 w 1444859"/>
              <a:gd name="connsiteY2" fmla="*/ 198393 h 1295674"/>
              <a:gd name="connsiteX3" fmla="*/ 873841 w 1444859"/>
              <a:gd name="connsiteY3" fmla="*/ 625504 h 1295674"/>
              <a:gd name="connsiteX4" fmla="*/ 880066 w 1444859"/>
              <a:gd name="connsiteY4" fmla="*/ 638426 h 1295674"/>
              <a:gd name="connsiteX5" fmla="*/ 873841 w 1444859"/>
              <a:gd name="connsiteY5" fmla="*/ 651348 h 1295674"/>
              <a:gd name="connsiteX6" fmla="*/ 873842 w 1444859"/>
              <a:gd name="connsiteY6" fmla="*/ 651349 h 1295674"/>
              <a:gd name="connsiteX7" fmla="*/ 880067 w 1444859"/>
              <a:gd name="connsiteY7" fmla="*/ 638427 h 1295674"/>
              <a:gd name="connsiteX8" fmla="*/ 920048 w 1444859"/>
              <a:gd name="connsiteY8" fmla="*/ 721423 h 1295674"/>
              <a:gd name="connsiteX9" fmla="*/ 1361863 w 1444859"/>
              <a:gd name="connsiteY9" fmla="*/ 1163238 h 1295674"/>
              <a:gd name="connsiteX10" fmla="*/ 1444859 w 1444859"/>
              <a:gd name="connsiteY10" fmla="*/ 1203219 h 1295674"/>
              <a:gd name="connsiteX11" fmla="*/ 1431937 w 1444859"/>
              <a:gd name="connsiteY11" fmla="*/ 1209444 h 1295674"/>
              <a:gd name="connsiteX12" fmla="*/ 1004826 w 1444859"/>
              <a:gd name="connsiteY12" fmla="*/ 1295674 h 1295674"/>
              <a:gd name="connsiteX13" fmla="*/ 892635 w 1444859"/>
              <a:gd name="connsiteY13" fmla="*/ 1290009 h 1295674"/>
              <a:gd name="connsiteX14" fmla="*/ 806433 w 1444859"/>
              <a:gd name="connsiteY14" fmla="*/ 1276853 h 1295674"/>
              <a:gd name="connsiteX15" fmla="*/ 806432 w 1444859"/>
              <a:gd name="connsiteY15" fmla="*/ 1276852 h 1295674"/>
              <a:gd name="connsiteX16" fmla="*/ 783685 w 1444859"/>
              <a:gd name="connsiteY16" fmla="*/ 1273380 h 1295674"/>
              <a:gd name="connsiteX17" fmla="*/ 39981 w 1444859"/>
              <a:gd name="connsiteY17" fmla="*/ 721422 h 1295674"/>
              <a:gd name="connsiteX18" fmla="*/ 0 w 1444859"/>
              <a:gd name="connsiteY18" fmla="*/ 638426 h 1295674"/>
              <a:gd name="connsiteX19" fmla="*/ 39981 w 1444859"/>
              <a:gd name="connsiteY19" fmla="*/ 555430 h 1295674"/>
              <a:gd name="connsiteX20" fmla="*/ 783685 w 1444859"/>
              <a:gd name="connsiteY20" fmla="*/ 3472 h 1295674"/>
              <a:gd name="connsiteX21" fmla="*/ 806432 w 1444859"/>
              <a:gd name="connsiteY21" fmla="*/ 0 h 1295674"/>
              <a:gd name="connsiteX0" fmla="*/ 806432 w 1444859"/>
              <a:gd name="connsiteY0" fmla="*/ 0 h 1295674"/>
              <a:gd name="connsiteX1" fmla="*/ 793276 w 1444859"/>
              <a:gd name="connsiteY1" fmla="*/ 86202 h 1295674"/>
              <a:gd name="connsiteX2" fmla="*/ 787611 w 1444859"/>
              <a:gd name="connsiteY2" fmla="*/ 198393 h 1295674"/>
              <a:gd name="connsiteX3" fmla="*/ 873841 w 1444859"/>
              <a:gd name="connsiteY3" fmla="*/ 625504 h 1295674"/>
              <a:gd name="connsiteX4" fmla="*/ 880066 w 1444859"/>
              <a:gd name="connsiteY4" fmla="*/ 638426 h 1295674"/>
              <a:gd name="connsiteX5" fmla="*/ 873841 w 1444859"/>
              <a:gd name="connsiteY5" fmla="*/ 651348 h 1295674"/>
              <a:gd name="connsiteX6" fmla="*/ 880067 w 1444859"/>
              <a:gd name="connsiteY6" fmla="*/ 638427 h 1295674"/>
              <a:gd name="connsiteX7" fmla="*/ 920048 w 1444859"/>
              <a:gd name="connsiteY7" fmla="*/ 721423 h 1295674"/>
              <a:gd name="connsiteX8" fmla="*/ 1361863 w 1444859"/>
              <a:gd name="connsiteY8" fmla="*/ 1163238 h 1295674"/>
              <a:gd name="connsiteX9" fmla="*/ 1444859 w 1444859"/>
              <a:gd name="connsiteY9" fmla="*/ 1203219 h 1295674"/>
              <a:gd name="connsiteX10" fmla="*/ 1431937 w 1444859"/>
              <a:gd name="connsiteY10" fmla="*/ 1209444 h 1295674"/>
              <a:gd name="connsiteX11" fmla="*/ 1004826 w 1444859"/>
              <a:gd name="connsiteY11" fmla="*/ 1295674 h 1295674"/>
              <a:gd name="connsiteX12" fmla="*/ 892635 w 1444859"/>
              <a:gd name="connsiteY12" fmla="*/ 1290009 h 1295674"/>
              <a:gd name="connsiteX13" fmla="*/ 806433 w 1444859"/>
              <a:gd name="connsiteY13" fmla="*/ 1276853 h 1295674"/>
              <a:gd name="connsiteX14" fmla="*/ 806432 w 1444859"/>
              <a:gd name="connsiteY14" fmla="*/ 1276852 h 1295674"/>
              <a:gd name="connsiteX15" fmla="*/ 783685 w 1444859"/>
              <a:gd name="connsiteY15" fmla="*/ 1273380 h 1295674"/>
              <a:gd name="connsiteX16" fmla="*/ 39981 w 1444859"/>
              <a:gd name="connsiteY16" fmla="*/ 721422 h 1295674"/>
              <a:gd name="connsiteX17" fmla="*/ 0 w 1444859"/>
              <a:gd name="connsiteY17" fmla="*/ 638426 h 1295674"/>
              <a:gd name="connsiteX18" fmla="*/ 39981 w 1444859"/>
              <a:gd name="connsiteY18" fmla="*/ 555430 h 1295674"/>
              <a:gd name="connsiteX19" fmla="*/ 783685 w 1444859"/>
              <a:gd name="connsiteY19" fmla="*/ 3472 h 1295674"/>
              <a:gd name="connsiteX20" fmla="*/ 806432 w 1444859"/>
              <a:gd name="connsiteY20" fmla="*/ 0 h 1295674"/>
              <a:gd name="connsiteX0" fmla="*/ 806432 w 1444859"/>
              <a:gd name="connsiteY0" fmla="*/ 0 h 1295674"/>
              <a:gd name="connsiteX1" fmla="*/ 793276 w 1444859"/>
              <a:gd name="connsiteY1" fmla="*/ 86202 h 1295674"/>
              <a:gd name="connsiteX2" fmla="*/ 787611 w 1444859"/>
              <a:gd name="connsiteY2" fmla="*/ 198393 h 1295674"/>
              <a:gd name="connsiteX3" fmla="*/ 873841 w 1444859"/>
              <a:gd name="connsiteY3" fmla="*/ 625504 h 1295674"/>
              <a:gd name="connsiteX4" fmla="*/ 880066 w 1444859"/>
              <a:gd name="connsiteY4" fmla="*/ 638426 h 1295674"/>
              <a:gd name="connsiteX5" fmla="*/ 880067 w 1444859"/>
              <a:gd name="connsiteY5" fmla="*/ 638427 h 1295674"/>
              <a:gd name="connsiteX6" fmla="*/ 920048 w 1444859"/>
              <a:gd name="connsiteY6" fmla="*/ 721423 h 1295674"/>
              <a:gd name="connsiteX7" fmla="*/ 1361863 w 1444859"/>
              <a:gd name="connsiteY7" fmla="*/ 1163238 h 1295674"/>
              <a:gd name="connsiteX8" fmla="*/ 1444859 w 1444859"/>
              <a:gd name="connsiteY8" fmla="*/ 1203219 h 1295674"/>
              <a:gd name="connsiteX9" fmla="*/ 1431937 w 1444859"/>
              <a:gd name="connsiteY9" fmla="*/ 1209444 h 1295674"/>
              <a:gd name="connsiteX10" fmla="*/ 1004826 w 1444859"/>
              <a:gd name="connsiteY10" fmla="*/ 1295674 h 1295674"/>
              <a:gd name="connsiteX11" fmla="*/ 892635 w 1444859"/>
              <a:gd name="connsiteY11" fmla="*/ 1290009 h 1295674"/>
              <a:gd name="connsiteX12" fmla="*/ 806433 w 1444859"/>
              <a:gd name="connsiteY12" fmla="*/ 1276853 h 1295674"/>
              <a:gd name="connsiteX13" fmla="*/ 806432 w 1444859"/>
              <a:gd name="connsiteY13" fmla="*/ 1276852 h 1295674"/>
              <a:gd name="connsiteX14" fmla="*/ 783685 w 1444859"/>
              <a:gd name="connsiteY14" fmla="*/ 1273380 h 1295674"/>
              <a:gd name="connsiteX15" fmla="*/ 39981 w 1444859"/>
              <a:gd name="connsiteY15" fmla="*/ 721422 h 1295674"/>
              <a:gd name="connsiteX16" fmla="*/ 0 w 1444859"/>
              <a:gd name="connsiteY16" fmla="*/ 638426 h 1295674"/>
              <a:gd name="connsiteX17" fmla="*/ 39981 w 1444859"/>
              <a:gd name="connsiteY17" fmla="*/ 555430 h 1295674"/>
              <a:gd name="connsiteX18" fmla="*/ 783685 w 1444859"/>
              <a:gd name="connsiteY18" fmla="*/ 3472 h 1295674"/>
              <a:gd name="connsiteX19" fmla="*/ 806432 w 1444859"/>
              <a:gd name="connsiteY19" fmla="*/ 0 h 1295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44859" h="1295674">
                <a:moveTo>
                  <a:pt x="806432" y="0"/>
                </a:moveTo>
                <a:lnTo>
                  <a:pt x="793276" y="86202"/>
                </a:lnTo>
                <a:cubicBezTo>
                  <a:pt x="789530" y="123090"/>
                  <a:pt x="787611" y="160517"/>
                  <a:pt x="787611" y="198393"/>
                </a:cubicBezTo>
                <a:cubicBezTo>
                  <a:pt x="787611" y="349896"/>
                  <a:pt x="818315" y="494227"/>
                  <a:pt x="873841" y="625504"/>
                </a:cubicBezTo>
                <a:lnTo>
                  <a:pt x="880066" y="638426"/>
                </a:lnTo>
                <a:lnTo>
                  <a:pt x="880067" y="638427"/>
                </a:lnTo>
                <a:lnTo>
                  <a:pt x="920048" y="721423"/>
                </a:lnTo>
                <a:cubicBezTo>
                  <a:pt x="1021400" y="907996"/>
                  <a:pt x="1175291" y="1061886"/>
                  <a:pt x="1361863" y="1163238"/>
                </a:cubicBezTo>
                <a:lnTo>
                  <a:pt x="1444859" y="1203219"/>
                </a:lnTo>
                <a:lnTo>
                  <a:pt x="1431937" y="1209444"/>
                </a:lnTo>
                <a:cubicBezTo>
                  <a:pt x="1300660" y="1264970"/>
                  <a:pt x="1156329" y="1295674"/>
                  <a:pt x="1004826" y="1295674"/>
                </a:cubicBezTo>
                <a:cubicBezTo>
                  <a:pt x="966950" y="1295674"/>
                  <a:pt x="929523" y="1293755"/>
                  <a:pt x="892635" y="1290009"/>
                </a:cubicBezTo>
                <a:lnTo>
                  <a:pt x="806433" y="1276853"/>
                </a:lnTo>
                <a:lnTo>
                  <a:pt x="806432" y="1276852"/>
                </a:lnTo>
                <a:lnTo>
                  <a:pt x="783685" y="1273380"/>
                </a:lnTo>
                <a:cubicBezTo>
                  <a:pt x="462248" y="1207605"/>
                  <a:pt x="192009" y="1001281"/>
                  <a:pt x="39981" y="721422"/>
                </a:cubicBezTo>
                <a:lnTo>
                  <a:pt x="0" y="638426"/>
                </a:lnTo>
                <a:lnTo>
                  <a:pt x="39981" y="555430"/>
                </a:lnTo>
                <a:cubicBezTo>
                  <a:pt x="192009" y="275571"/>
                  <a:pt x="462248" y="69247"/>
                  <a:pt x="783685" y="3472"/>
                </a:cubicBezTo>
                <a:lnTo>
                  <a:pt x="806432" y="0"/>
                </a:lnTo>
                <a:close/>
              </a:path>
            </a:pathLst>
          </a:custGeom>
          <a:solidFill>
            <a:srgbClr val="29292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432000" bIns="0" anchor="ctr"/>
          <a:lstStyle/>
          <a:p>
            <a:pPr algn="ctr" eaLnBrk="1" fontAlgn="auto" hangingPunct="1">
              <a:spcBef>
                <a:spcPts val="0"/>
              </a:spcBef>
              <a:spcAft>
                <a:spcPts val="0"/>
              </a:spcAft>
              <a:defRPr/>
            </a:pPr>
            <a:r>
              <a:rPr lang="en-US" altLang="zh-CN" sz="4800" b="1" dirty="0">
                <a:latin typeface="Agency FB" panose="020B0503020202020204" pitchFamily="34" charset="0"/>
                <a:cs typeface="Raavi" panose="020B0502040204020203" pitchFamily="34" charset="0"/>
              </a:rPr>
              <a:t>04</a:t>
            </a:r>
            <a:endParaRPr lang="zh-CN" altLang="en-US" sz="4800" b="1" dirty="0">
              <a:latin typeface="Agency FB" panose="020B0503020202020204" pitchFamily="34" charset="0"/>
              <a:cs typeface="Raavi" panose="020B0502040204020203" pitchFamily="34" charset="0"/>
            </a:endParaRPr>
          </a:p>
        </p:txBody>
      </p:sp>
      <p:sp>
        <p:nvSpPr>
          <p:cNvPr id="9" name="任意多边形 8">
            <a:extLst>
              <a:ext uri="{FF2B5EF4-FFF2-40B4-BE49-F238E27FC236}">
                <a16:creationId xmlns:a16="http://schemas.microsoft.com/office/drawing/2014/main" id="{F55DB0ED-E06A-4994-B9DA-8D845D99BCF0}"/>
              </a:ext>
            </a:extLst>
          </p:cNvPr>
          <p:cNvSpPr/>
          <p:nvPr/>
        </p:nvSpPr>
        <p:spPr>
          <a:xfrm>
            <a:off x="7945438" y="3897313"/>
            <a:ext cx="2060575" cy="2297112"/>
          </a:xfrm>
          <a:custGeom>
            <a:avLst/>
            <a:gdLst>
              <a:gd name="connsiteX0" fmla="*/ 1203219 w 1295674"/>
              <a:gd name="connsiteY0" fmla="*/ 0 h 1444857"/>
              <a:gd name="connsiteX1" fmla="*/ 1209444 w 1295674"/>
              <a:gd name="connsiteY1" fmla="*/ 12922 h 1444857"/>
              <a:gd name="connsiteX2" fmla="*/ 1295674 w 1295674"/>
              <a:gd name="connsiteY2" fmla="*/ 440033 h 1444857"/>
              <a:gd name="connsiteX3" fmla="*/ 1290009 w 1295674"/>
              <a:gd name="connsiteY3" fmla="*/ 552224 h 1444857"/>
              <a:gd name="connsiteX4" fmla="*/ 1276853 w 1295674"/>
              <a:gd name="connsiteY4" fmla="*/ 638426 h 1444857"/>
              <a:gd name="connsiteX5" fmla="*/ 1276852 w 1295674"/>
              <a:gd name="connsiteY5" fmla="*/ 638426 h 1444857"/>
              <a:gd name="connsiteX6" fmla="*/ 1273380 w 1295674"/>
              <a:gd name="connsiteY6" fmla="*/ 661172 h 1444857"/>
              <a:gd name="connsiteX7" fmla="*/ 721422 w 1295674"/>
              <a:gd name="connsiteY7" fmla="*/ 1404876 h 1444857"/>
              <a:gd name="connsiteX8" fmla="*/ 638426 w 1295674"/>
              <a:gd name="connsiteY8" fmla="*/ 1444857 h 1444857"/>
              <a:gd name="connsiteX9" fmla="*/ 555430 w 1295674"/>
              <a:gd name="connsiteY9" fmla="*/ 1404876 h 1444857"/>
              <a:gd name="connsiteX10" fmla="*/ 3472 w 1295674"/>
              <a:gd name="connsiteY10" fmla="*/ 661172 h 1444857"/>
              <a:gd name="connsiteX11" fmla="*/ 0 w 1295674"/>
              <a:gd name="connsiteY11" fmla="*/ 638425 h 1444857"/>
              <a:gd name="connsiteX12" fmla="*/ 86202 w 1295674"/>
              <a:gd name="connsiteY12" fmla="*/ 651581 h 1444857"/>
              <a:gd name="connsiteX13" fmla="*/ 198393 w 1295674"/>
              <a:gd name="connsiteY13" fmla="*/ 657246 h 1444857"/>
              <a:gd name="connsiteX14" fmla="*/ 625504 w 1295674"/>
              <a:gd name="connsiteY14" fmla="*/ 571016 h 1444857"/>
              <a:gd name="connsiteX15" fmla="*/ 638426 w 1295674"/>
              <a:gd name="connsiteY15" fmla="*/ 564791 h 1444857"/>
              <a:gd name="connsiteX16" fmla="*/ 638428 w 1295674"/>
              <a:gd name="connsiteY16" fmla="*/ 564792 h 1444857"/>
              <a:gd name="connsiteX17" fmla="*/ 721423 w 1295674"/>
              <a:gd name="connsiteY17" fmla="*/ 524811 h 1444857"/>
              <a:gd name="connsiteX18" fmla="*/ 1163238 w 1295674"/>
              <a:gd name="connsiteY18" fmla="*/ 82996 h 1444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95674" h="1444857">
                <a:moveTo>
                  <a:pt x="1203219" y="0"/>
                </a:moveTo>
                <a:lnTo>
                  <a:pt x="1209444" y="12922"/>
                </a:lnTo>
                <a:cubicBezTo>
                  <a:pt x="1264970" y="144199"/>
                  <a:pt x="1295674" y="288530"/>
                  <a:pt x="1295674" y="440033"/>
                </a:cubicBezTo>
                <a:cubicBezTo>
                  <a:pt x="1295674" y="477909"/>
                  <a:pt x="1293755" y="515336"/>
                  <a:pt x="1290009" y="552224"/>
                </a:cubicBezTo>
                <a:lnTo>
                  <a:pt x="1276853" y="638426"/>
                </a:lnTo>
                <a:lnTo>
                  <a:pt x="1276852" y="638426"/>
                </a:lnTo>
                <a:lnTo>
                  <a:pt x="1273380" y="661172"/>
                </a:lnTo>
                <a:cubicBezTo>
                  <a:pt x="1207605" y="982609"/>
                  <a:pt x="1001281" y="1252848"/>
                  <a:pt x="721422" y="1404876"/>
                </a:cubicBezTo>
                <a:lnTo>
                  <a:pt x="638426" y="1444857"/>
                </a:lnTo>
                <a:lnTo>
                  <a:pt x="555430" y="1404876"/>
                </a:lnTo>
                <a:cubicBezTo>
                  <a:pt x="275571" y="1252848"/>
                  <a:pt x="69247" y="982609"/>
                  <a:pt x="3472" y="661172"/>
                </a:cubicBezTo>
                <a:lnTo>
                  <a:pt x="0" y="638425"/>
                </a:lnTo>
                <a:lnTo>
                  <a:pt x="86202" y="651581"/>
                </a:lnTo>
                <a:cubicBezTo>
                  <a:pt x="123090" y="655327"/>
                  <a:pt x="160517" y="657246"/>
                  <a:pt x="198393" y="657246"/>
                </a:cubicBezTo>
                <a:cubicBezTo>
                  <a:pt x="349896" y="657246"/>
                  <a:pt x="494227" y="626542"/>
                  <a:pt x="625504" y="571016"/>
                </a:cubicBezTo>
                <a:lnTo>
                  <a:pt x="638426" y="564791"/>
                </a:lnTo>
                <a:lnTo>
                  <a:pt x="638428" y="564792"/>
                </a:lnTo>
                <a:lnTo>
                  <a:pt x="721423" y="524811"/>
                </a:lnTo>
                <a:cubicBezTo>
                  <a:pt x="907996" y="423459"/>
                  <a:pt x="1061886" y="269569"/>
                  <a:pt x="1163238" y="82996"/>
                </a:cubicBezTo>
                <a:close/>
              </a:path>
            </a:pathLst>
          </a:custGeom>
          <a:solidFill>
            <a:srgbClr val="C20F2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360000" rIns="0" bIns="0" anchor="ctr"/>
          <a:lstStyle/>
          <a:p>
            <a:pPr algn="ctr" eaLnBrk="1" fontAlgn="auto" hangingPunct="1">
              <a:spcBef>
                <a:spcPts val="0"/>
              </a:spcBef>
              <a:spcAft>
                <a:spcPts val="0"/>
              </a:spcAft>
              <a:defRPr/>
            </a:pPr>
            <a:r>
              <a:rPr lang="en-US" altLang="zh-CN" sz="4800" b="1" dirty="0">
                <a:latin typeface="Agency FB" panose="020B0503020202020204" pitchFamily="34" charset="0"/>
                <a:cs typeface="Raavi" panose="020B0502040204020203" pitchFamily="34" charset="0"/>
              </a:rPr>
              <a:t>03</a:t>
            </a:r>
            <a:endParaRPr lang="zh-CN" altLang="en-US" sz="4800" b="1" dirty="0">
              <a:latin typeface="Agency FB" panose="020B0503020202020204" pitchFamily="34" charset="0"/>
              <a:cs typeface="Raavi" panose="020B0502040204020203" pitchFamily="34" charset="0"/>
            </a:endParaRPr>
          </a:p>
        </p:txBody>
      </p:sp>
      <p:grpSp>
        <p:nvGrpSpPr>
          <p:cNvPr id="10" name="组合 9">
            <a:extLst>
              <a:ext uri="{FF2B5EF4-FFF2-40B4-BE49-F238E27FC236}">
                <a16:creationId xmlns:a16="http://schemas.microsoft.com/office/drawing/2014/main" id="{86DD6BD0-CFB0-4C38-B8AC-034D7005D298}"/>
              </a:ext>
            </a:extLst>
          </p:cNvPr>
          <p:cNvGrpSpPr>
            <a:grpSpLocks/>
          </p:cNvGrpSpPr>
          <p:nvPr/>
        </p:nvGrpSpPr>
        <p:grpSpPr bwMode="auto">
          <a:xfrm>
            <a:off x="731838" y="1709738"/>
            <a:ext cx="846137" cy="846137"/>
            <a:chOff x="731460" y="1709381"/>
            <a:chExt cx="845860" cy="845860"/>
          </a:xfrm>
        </p:grpSpPr>
        <p:sp>
          <p:nvSpPr>
            <p:cNvPr id="11" name="菱形 10">
              <a:extLst>
                <a:ext uri="{FF2B5EF4-FFF2-40B4-BE49-F238E27FC236}">
                  <a16:creationId xmlns:a16="http://schemas.microsoft.com/office/drawing/2014/main" id="{623CE20C-DF2B-4C71-92F7-D25390989B40}"/>
                </a:ext>
              </a:extLst>
            </p:cNvPr>
            <p:cNvSpPr/>
            <p:nvPr/>
          </p:nvSpPr>
          <p:spPr>
            <a:xfrm>
              <a:off x="731460" y="1709381"/>
              <a:ext cx="845860" cy="845860"/>
            </a:xfrm>
            <a:prstGeom prst="diamond">
              <a:avLst/>
            </a:prstGeom>
            <a:solidFill>
              <a:srgbClr val="C20F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12310" name="文本框 11">
              <a:extLst>
                <a:ext uri="{FF2B5EF4-FFF2-40B4-BE49-F238E27FC236}">
                  <a16:creationId xmlns:a16="http://schemas.microsoft.com/office/drawing/2014/main" id="{7BEC0EEA-7A90-42E8-BA7B-687678903F6C}"/>
                </a:ext>
              </a:extLst>
            </p:cNvPr>
            <p:cNvSpPr txBox="1">
              <a:spLocks noChangeArrowheads="1"/>
            </p:cNvSpPr>
            <p:nvPr/>
          </p:nvSpPr>
          <p:spPr bwMode="auto">
            <a:xfrm>
              <a:off x="953854" y="1901479"/>
              <a:ext cx="40107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00000"/>
                </a:lnSpc>
                <a:spcBef>
                  <a:spcPct val="0"/>
                </a:spcBef>
                <a:buFontTx/>
                <a:buNone/>
              </a:pPr>
              <a:r>
                <a:rPr lang="en-US" altLang="zh-CN" sz="2400" b="1">
                  <a:solidFill>
                    <a:schemeClr val="bg1"/>
                  </a:solidFill>
                  <a:latin typeface="Agency FB" panose="020B0503020202020204" pitchFamily="34" charset="0"/>
                </a:rPr>
                <a:t>01</a:t>
              </a:r>
              <a:endParaRPr lang="zh-CN" altLang="en-US" sz="2400" b="1">
                <a:solidFill>
                  <a:schemeClr val="bg1"/>
                </a:solidFill>
                <a:latin typeface="Agency FB" panose="020B0503020202020204" pitchFamily="34" charset="0"/>
              </a:endParaRPr>
            </a:p>
          </p:txBody>
        </p:sp>
      </p:grpSp>
      <p:sp>
        <p:nvSpPr>
          <p:cNvPr id="22" name="文本框 56">
            <a:extLst>
              <a:ext uri="{FF2B5EF4-FFF2-40B4-BE49-F238E27FC236}">
                <a16:creationId xmlns:a16="http://schemas.microsoft.com/office/drawing/2014/main" id="{0C8D57AE-82A5-4EBD-A9B1-C38CAC3CD756}"/>
              </a:ext>
            </a:extLst>
          </p:cNvPr>
          <p:cNvSpPr txBox="1"/>
          <p:nvPr/>
        </p:nvSpPr>
        <p:spPr>
          <a:xfrm>
            <a:off x="1512888" y="1711325"/>
            <a:ext cx="4737100" cy="892175"/>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l" eaLnBrk="1" fontAlgn="auto" hangingPunct="1">
              <a:lnSpc>
                <a:spcPct val="100000"/>
              </a:lnSpc>
              <a:spcBef>
                <a:spcPts val="0"/>
              </a:spcBef>
              <a:spcAft>
                <a:spcPts val="0"/>
              </a:spcAft>
              <a:defRPr/>
            </a:pPr>
            <a:r>
              <a:rPr lang="en-US" altLang="zh-CN" sz="2000" dirty="0">
                <a:solidFill>
                  <a:schemeClr val="tx1">
                    <a:lumMod val="75000"/>
                    <a:lumOff val="25000"/>
                  </a:schemeClr>
                </a:solidFill>
                <a:latin typeface="Impact" pitchFamily="34" charset="0"/>
                <a:ea typeface="+mn-ea"/>
              </a:rPr>
              <a:t>Your Title</a:t>
            </a:r>
          </a:p>
          <a:p>
            <a:pPr algn="l" eaLnBrk="1" fontAlgn="auto" hangingPunct="1">
              <a:lnSpc>
                <a:spcPct val="100000"/>
              </a:lnSpc>
              <a:spcBef>
                <a:spcPts val="0"/>
              </a:spcBef>
              <a:spcAft>
                <a:spcPts val="0"/>
              </a:spcAft>
              <a:defRPr/>
            </a:pPr>
            <a:r>
              <a:rPr lang="en-US" altLang="zh-CN" sz="1600" dirty="0">
                <a:solidFill>
                  <a:schemeClr val="tx1">
                    <a:lumMod val="75000"/>
                    <a:lumOff val="25000"/>
                  </a:schemeClr>
                </a:solidFill>
                <a:latin typeface="+mn-lt"/>
                <a:ea typeface="+mn-ea"/>
              </a:rPr>
              <a:t>click to add subtitle click to add subtitle click to add subtitle click to add subtitle</a:t>
            </a:r>
            <a:r>
              <a:rPr lang="zh-CN" altLang="en-US" sz="1600" dirty="0">
                <a:solidFill>
                  <a:schemeClr val="tx1">
                    <a:lumMod val="75000"/>
                    <a:lumOff val="25000"/>
                  </a:schemeClr>
                </a:solidFill>
                <a:latin typeface="+mn-lt"/>
                <a:ea typeface="+mn-ea"/>
              </a:rPr>
              <a:t> </a:t>
            </a:r>
            <a:r>
              <a:rPr lang="en-US" altLang="zh-CN" sz="1600" dirty="0">
                <a:solidFill>
                  <a:schemeClr val="tx1">
                    <a:lumMod val="75000"/>
                    <a:lumOff val="25000"/>
                  </a:schemeClr>
                </a:solidFill>
                <a:latin typeface="+mn-lt"/>
                <a:ea typeface="+mn-ea"/>
              </a:rPr>
              <a:t>click to add subtitle</a:t>
            </a:r>
            <a:endParaRPr lang="zh-CN" altLang="en-US" sz="1600" dirty="0">
              <a:solidFill>
                <a:schemeClr val="tx1">
                  <a:lumMod val="75000"/>
                  <a:lumOff val="25000"/>
                </a:schemeClr>
              </a:solidFill>
              <a:latin typeface="+mn-lt"/>
              <a:ea typeface="+mn-ea"/>
            </a:endParaRPr>
          </a:p>
        </p:txBody>
      </p:sp>
      <p:grpSp>
        <p:nvGrpSpPr>
          <p:cNvPr id="13" name="组合 12">
            <a:extLst>
              <a:ext uri="{FF2B5EF4-FFF2-40B4-BE49-F238E27FC236}">
                <a16:creationId xmlns:a16="http://schemas.microsoft.com/office/drawing/2014/main" id="{2F29DEB1-A2F2-4974-B506-E098028B28C2}"/>
              </a:ext>
            </a:extLst>
          </p:cNvPr>
          <p:cNvGrpSpPr>
            <a:grpSpLocks/>
          </p:cNvGrpSpPr>
          <p:nvPr/>
        </p:nvGrpSpPr>
        <p:grpSpPr bwMode="auto">
          <a:xfrm>
            <a:off x="731838" y="2906713"/>
            <a:ext cx="846137" cy="846137"/>
            <a:chOff x="731460" y="1709381"/>
            <a:chExt cx="845860" cy="845860"/>
          </a:xfrm>
        </p:grpSpPr>
        <p:sp>
          <p:nvSpPr>
            <p:cNvPr id="14" name="菱形 13">
              <a:extLst>
                <a:ext uri="{FF2B5EF4-FFF2-40B4-BE49-F238E27FC236}">
                  <a16:creationId xmlns:a16="http://schemas.microsoft.com/office/drawing/2014/main" id="{6D838144-2AAF-40EF-A636-FF3095322CE5}"/>
                </a:ext>
              </a:extLst>
            </p:cNvPr>
            <p:cNvSpPr/>
            <p:nvPr/>
          </p:nvSpPr>
          <p:spPr>
            <a:xfrm>
              <a:off x="731460" y="1709381"/>
              <a:ext cx="845860" cy="845860"/>
            </a:xfrm>
            <a:prstGeom prst="diamond">
              <a:avLst/>
            </a:prstGeom>
            <a:solidFill>
              <a:srgbClr val="C20F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12308" name="文本框 14">
              <a:extLst>
                <a:ext uri="{FF2B5EF4-FFF2-40B4-BE49-F238E27FC236}">
                  <a16:creationId xmlns:a16="http://schemas.microsoft.com/office/drawing/2014/main" id="{59AE4D4B-DB5B-4FDA-9F1C-3B43B1E8B97F}"/>
                </a:ext>
              </a:extLst>
            </p:cNvPr>
            <p:cNvSpPr txBox="1">
              <a:spLocks noChangeArrowheads="1"/>
            </p:cNvSpPr>
            <p:nvPr/>
          </p:nvSpPr>
          <p:spPr bwMode="auto">
            <a:xfrm>
              <a:off x="921794" y="1901479"/>
              <a:ext cx="46519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00000"/>
                </a:lnSpc>
                <a:spcBef>
                  <a:spcPct val="0"/>
                </a:spcBef>
                <a:buFontTx/>
                <a:buNone/>
              </a:pPr>
              <a:r>
                <a:rPr lang="en-US" altLang="zh-CN" sz="2400" b="1">
                  <a:solidFill>
                    <a:schemeClr val="bg1"/>
                  </a:solidFill>
                  <a:latin typeface="Agency FB" panose="020B0503020202020204" pitchFamily="34" charset="0"/>
                </a:rPr>
                <a:t>02</a:t>
              </a:r>
              <a:endParaRPr lang="zh-CN" altLang="en-US" sz="2400" b="1">
                <a:solidFill>
                  <a:schemeClr val="bg1"/>
                </a:solidFill>
                <a:latin typeface="Agency FB" panose="020B0503020202020204" pitchFamily="34" charset="0"/>
              </a:endParaRPr>
            </a:p>
          </p:txBody>
        </p:sp>
      </p:grpSp>
      <p:sp>
        <p:nvSpPr>
          <p:cNvPr id="23" name="文本框 56">
            <a:extLst>
              <a:ext uri="{FF2B5EF4-FFF2-40B4-BE49-F238E27FC236}">
                <a16:creationId xmlns:a16="http://schemas.microsoft.com/office/drawing/2014/main" id="{9F70E4B1-39BC-4A2F-81F0-21E54665CB6F}"/>
              </a:ext>
            </a:extLst>
          </p:cNvPr>
          <p:cNvSpPr txBox="1"/>
          <p:nvPr/>
        </p:nvSpPr>
        <p:spPr>
          <a:xfrm>
            <a:off x="1512888" y="2909888"/>
            <a:ext cx="4737100" cy="892175"/>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l" eaLnBrk="1" fontAlgn="auto" hangingPunct="1">
              <a:lnSpc>
                <a:spcPct val="100000"/>
              </a:lnSpc>
              <a:spcBef>
                <a:spcPts val="0"/>
              </a:spcBef>
              <a:spcAft>
                <a:spcPts val="0"/>
              </a:spcAft>
              <a:defRPr/>
            </a:pPr>
            <a:r>
              <a:rPr lang="en-US" altLang="zh-CN" sz="2000" dirty="0">
                <a:solidFill>
                  <a:schemeClr val="tx1">
                    <a:lumMod val="75000"/>
                    <a:lumOff val="25000"/>
                  </a:schemeClr>
                </a:solidFill>
                <a:latin typeface="Impact" pitchFamily="34" charset="0"/>
                <a:ea typeface="+mn-ea"/>
              </a:rPr>
              <a:t>Your Title</a:t>
            </a:r>
          </a:p>
          <a:p>
            <a:pPr algn="l" eaLnBrk="1" fontAlgn="auto" hangingPunct="1">
              <a:lnSpc>
                <a:spcPct val="100000"/>
              </a:lnSpc>
              <a:spcBef>
                <a:spcPts val="0"/>
              </a:spcBef>
              <a:spcAft>
                <a:spcPts val="0"/>
              </a:spcAft>
              <a:defRPr/>
            </a:pPr>
            <a:r>
              <a:rPr lang="en-US" altLang="zh-CN" sz="1600" dirty="0">
                <a:solidFill>
                  <a:schemeClr val="tx1">
                    <a:lumMod val="75000"/>
                    <a:lumOff val="25000"/>
                  </a:schemeClr>
                </a:solidFill>
                <a:latin typeface="+mn-lt"/>
                <a:ea typeface="+mn-ea"/>
              </a:rPr>
              <a:t>click to add subtitle click to add subtitle click to add subtitle click to add subtitle</a:t>
            </a:r>
            <a:r>
              <a:rPr lang="zh-CN" altLang="en-US" sz="1600" dirty="0">
                <a:solidFill>
                  <a:schemeClr val="tx1">
                    <a:lumMod val="75000"/>
                    <a:lumOff val="25000"/>
                  </a:schemeClr>
                </a:solidFill>
                <a:latin typeface="+mn-lt"/>
                <a:ea typeface="+mn-ea"/>
              </a:rPr>
              <a:t> </a:t>
            </a:r>
            <a:r>
              <a:rPr lang="en-US" altLang="zh-CN" sz="1600" dirty="0">
                <a:solidFill>
                  <a:schemeClr val="tx1">
                    <a:lumMod val="75000"/>
                    <a:lumOff val="25000"/>
                  </a:schemeClr>
                </a:solidFill>
                <a:latin typeface="+mn-lt"/>
                <a:ea typeface="+mn-ea"/>
              </a:rPr>
              <a:t>click to add subtitle</a:t>
            </a:r>
            <a:endParaRPr lang="zh-CN" altLang="en-US" sz="1600" dirty="0">
              <a:solidFill>
                <a:schemeClr val="tx1">
                  <a:lumMod val="75000"/>
                  <a:lumOff val="25000"/>
                </a:schemeClr>
              </a:solidFill>
              <a:latin typeface="+mn-lt"/>
              <a:ea typeface="+mn-ea"/>
            </a:endParaRPr>
          </a:p>
        </p:txBody>
      </p:sp>
      <p:grpSp>
        <p:nvGrpSpPr>
          <p:cNvPr id="16" name="组合 15">
            <a:extLst>
              <a:ext uri="{FF2B5EF4-FFF2-40B4-BE49-F238E27FC236}">
                <a16:creationId xmlns:a16="http://schemas.microsoft.com/office/drawing/2014/main" id="{511F82D1-2E39-4CD4-B30B-94B173EC0FBB}"/>
              </a:ext>
            </a:extLst>
          </p:cNvPr>
          <p:cNvGrpSpPr>
            <a:grpSpLocks/>
          </p:cNvGrpSpPr>
          <p:nvPr/>
        </p:nvGrpSpPr>
        <p:grpSpPr bwMode="auto">
          <a:xfrm>
            <a:off x="731838" y="4105275"/>
            <a:ext cx="846137" cy="846138"/>
            <a:chOff x="731460" y="1709381"/>
            <a:chExt cx="845860" cy="845860"/>
          </a:xfrm>
        </p:grpSpPr>
        <p:sp>
          <p:nvSpPr>
            <p:cNvPr id="17" name="菱形 16">
              <a:extLst>
                <a:ext uri="{FF2B5EF4-FFF2-40B4-BE49-F238E27FC236}">
                  <a16:creationId xmlns:a16="http://schemas.microsoft.com/office/drawing/2014/main" id="{7D39BC4D-E10E-4A7E-877F-10E18C3A5FA8}"/>
                </a:ext>
              </a:extLst>
            </p:cNvPr>
            <p:cNvSpPr/>
            <p:nvPr/>
          </p:nvSpPr>
          <p:spPr>
            <a:xfrm>
              <a:off x="731460" y="1709381"/>
              <a:ext cx="845860" cy="845860"/>
            </a:xfrm>
            <a:prstGeom prst="diamond">
              <a:avLst/>
            </a:prstGeom>
            <a:solidFill>
              <a:srgbClr val="C20F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12306" name="文本框 17">
              <a:extLst>
                <a:ext uri="{FF2B5EF4-FFF2-40B4-BE49-F238E27FC236}">
                  <a16:creationId xmlns:a16="http://schemas.microsoft.com/office/drawing/2014/main" id="{7DF97B87-06B0-4E53-8066-507290E7F235}"/>
                </a:ext>
              </a:extLst>
            </p:cNvPr>
            <p:cNvSpPr txBox="1">
              <a:spLocks noChangeArrowheads="1"/>
            </p:cNvSpPr>
            <p:nvPr/>
          </p:nvSpPr>
          <p:spPr bwMode="auto">
            <a:xfrm>
              <a:off x="919390" y="1901479"/>
              <a:ext cx="47000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00000"/>
                </a:lnSpc>
                <a:spcBef>
                  <a:spcPct val="0"/>
                </a:spcBef>
                <a:buFontTx/>
                <a:buNone/>
              </a:pPr>
              <a:r>
                <a:rPr lang="en-US" altLang="zh-CN" sz="2400" b="1">
                  <a:solidFill>
                    <a:schemeClr val="bg1"/>
                  </a:solidFill>
                  <a:latin typeface="Agency FB" panose="020B0503020202020204" pitchFamily="34" charset="0"/>
                </a:rPr>
                <a:t>03</a:t>
              </a:r>
              <a:endParaRPr lang="zh-CN" altLang="en-US" sz="2400" b="1">
                <a:solidFill>
                  <a:schemeClr val="bg1"/>
                </a:solidFill>
                <a:latin typeface="Agency FB" panose="020B0503020202020204" pitchFamily="34" charset="0"/>
              </a:endParaRPr>
            </a:p>
          </p:txBody>
        </p:sp>
      </p:grpSp>
      <p:sp>
        <p:nvSpPr>
          <p:cNvPr id="24" name="文本框 56">
            <a:extLst>
              <a:ext uri="{FF2B5EF4-FFF2-40B4-BE49-F238E27FC236}">
                <a16:creationId xmlns:a16="http://schemas.microsoft.com/office/drawing/2014/main" id="{8F4AF949-77BD-4BDA-B29B-371B6861D25C}"/>
              </a:ext>
            </a:extLst>
          </p:cNvPr>
          <p:cNvSpPr txBox="1"/>
          <p:nvPr/>
        </p:nvSpPr>
        <p:spPr>
          <a:xfrm>
            <a:off x="1512888" y="4106863"/>
            <a:ext cx="4737100" cy="892175"/>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l" eaLnBrk="1" fontAlgn="auto" hangingPunct="1">
              <a:lnSpc>
                <a:spcPct val="100000"/>
              </a:lnSpc>
              <a:spcBef>
                <a:spcPts val="0"/>
              </a:spcBef>
              <a:spcAft>
                <a:spcPts val="0"/>
              </a:spcAft>
              <a:defRPr/>
            </a:pPr>
            <a:r>
              <a:rPr lang="en-US" altLang="zh-CN" sz="2000" dirty="0">
                <a:solidFill>
                  <a:schemeClr val="tx1">
                    <a:lumMod val="75000"/>
                    <a:lumOff val="25000"/>
                  </a:schemeClr>
                </a:solidFill>
                <a:latin typeface="Impact" pitchFamily="34" charset="0"/>
                <a:ea typeface="+mn-ea"/>
              </a:rPr>
              <a:t>Your Title</a:t>
            </a:r>
          </a:p>
          <a:p>
            <a:pPr algn="l" eaLnBrk="1" fontAlgn="auto" hangingPunct="1">
              <a:lnSpc>
                <a:spcPct val="100000"/>
              </a:lnSpc>
              <a:spcBef>
                <a:spcPts val="0"/>
              </a:spcBef>
              <a:spcAft>
                <a:spcPts val="0"/>
              </a:spcAft>
              <a:defRPr/>
            </a:pPr>
            <a:r>
              <a:rPr lang="en-US" altLang="zh-CN" sz="1600" dirty="0">
                <a:solidFill>
                  <a:schemeClr val="tx1">
                    <a:lumMod val="75000"/>
                    <a:lumOff val="25000"/>
                  </a:schemeClr>
                </a:solidFill>
                <a:latin typeface="+mn-lt"/>
                <a:ea typeface="+mn-ea"/>
              </a:rPr>
              <a:t>click to add subtitle click to add subtitle click to add subtitle click to add subtitle</a:t>
            </a:r>
            <a:r>
              <a:rPr lang="zh-CN" altLang="en-US" sz="1600" dirty="0">
                <a:solidFill>
                  <a:schemeClr val="tx1">
                    <a:lumMod val="75000"/>
                    <a:lumOff val="25000"/>
                  </a:schemeClr>
                </a:solidFill>
                <a:latin typeface="+mn-lt"/>
                <a:ea typeface="+mn-ea"/>
              </a:rPr>
              <a:t> </a:t>
            </a:r>
            <a:r>
              <a:rPr lang="en-US" altLang="zh-CN" sz="1600" dirty="0">
                <a:solidFill>
                  <a:schemeClr val="tx1">
                    <a:lumMod val="75000"/>
                    <a:lumOff val="25000"/>
                  </a:schemeClr>
                </a:solidFill>
                <a:latin typeface="+mn-lt"/>
                <a:ea typeface="+mn-ea"/>
              </a:rPr>
              <a:t>click to add subtitle</a:t>
            </a:r>
            <a:endParaRPr lang="zh-CN" altLang="en-US" sz="1600" dirty="0">
              <a:solidFill>
                <a:schemeClr val="tx1">
                  <a:lumMod val="75000"/>
                  <a:lumOff val="25000"/>
                </a:schemeClr>
              </a:solidFill>
              <a:latin typeface="+mn-lt"/>
              <a:ea typeface="+mn-ea"/>
            </a:endParaRPr>
          </a:p>
        </p:txBody>
      </p:sp>
      <p:grpSp>
        <p:nvGrpSpPr>
          <p:cNvPr id="19" name="组合 18">
            <a:extLst>
              <a:ext uri="{FF2B5EF4-FFF2-40B4-BE49-F238E27FC236}">
                <a16:creationId xmlns:a16="http://schemas.microsoft.com/office/drawing/2014/main" id="{E5A60FDD-F753-409D-9641-F9FCF08822E9}"/>
              </a:ext>
            </a:extLst>
          </p:cNvPr>
          <p:cNvGrpSpPr>
            <a:grpSpLocks/>
          </p:cNvGrpSpPr>
          <p:nvPr/>
        </p:nvGrpSpPr>
        <p:grpSpPr bwMode="auto">
          <a:xfrm>
            <a:off x="731838" y="5302250"/>
            <a:ext cx="846137" cy="846138"/>
            <a:chOff x="731460" y="1709381"/>
            <a:chExt cx="845860" cy="845860"/>
          </a:xfrm>
        </p:grpSpPr>
        <p:sp>
          <p:nvSpPr>
            <p:cNvPr id="20" name="菱形 19">
              <a:extLst>
                <a:ext uri="{FF2B5EF4-FFF2-40B4-BE49-F238E27FC236}">
                  <a16:creationId xmlns:a16="http://schemas.microsoft.com/office/drawing/2014/main" id="{ED225935-7BDC-4DB7-A99A-6CD128B3D22F}"/>
                </a:ext>
              </a:extLst>
            </p:cNvPr>
            <p:cNvSpPr/>
            <p:nvPr/>
          </p:nvSpPr>
          <p:spPr>
            <a:xfrm>
              <a:off x="731460" y="1709381"/>
              <a:ext cx="845860" cy="845860"/>
            </a:xfrm>
            <a:prstGeom prst="diamond">
              <a:avLst/>
            </a:prstGeom>
            <a:solidFill>
              <a:srgbClr val="C20F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12304" name="文本框 20">
              <a:extLst>
                <a:ext uri="{FF2B5EF4-FFF2-40B4-BE49-F238E27FC236}">
                  <a16:creationId xmlns:a16="http://schemas.microsoft.com/office/drawing/2014/main" id="{685998D8-A2F1-49E4-ADBC-0DDABE10099A}"/>
                </a:ext>
              </a:extLst>
            </p:cNvPr>
            <p:cNvSpPr txBox="1">
              <a:spLocks noChangeArrowheads="1"/>
            </p:cNvSpPr>
            <p:nvPr/>
          </p:nvSpPr>
          <p:spPr bwMode="auto">
            <a:xfrm>
              <a:off x="920191" y="1901479"/>
              <a:ext cx="46839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00000"/>
                </a:lnSpc>
                <a:spcBef>
                  <a:spcPct val="0"/>
                </a:spcBef>
                <a:buFontTx/>
                <a:buNone/>
              </a:pPr>
              <a:r>
                <a:rPr lang="en-US" altLang="zh-CN" sz="2400" b="1">
                  <a:solidFill>
                    <a:schemeClr val="bg1"/>
                  </a:solidFill>
                  <a:latin typeface="Agency FB" panose="020B0503020202020204" pitchFamily="34" charset="0"/>
                </a:rPr>
                <a:t>04</a:t>
              </a:r>
              <a:endParaRPr lang="zh-CN" altLang="en-US" sz="2400" b="1">
                <a:solidFill>
                  <a:schemeClr val="bg1"/>
                </a:solidFill>
                <a:latin typeface="Agency FB" panose="020B0503020202020204" pitchFamily="34" charset="0"/>
              </a:endParaRPr>
            </a:p>
          </p:txBody>
        </p:sp>
      </p:grpSp>
      <p:sp>
        <p:nvSpPr>
          <p:cNvPr id="25" name="文本框 56">
            <a:extLst>
              <a:ext uri="{FF2B5EF4-FFF2-40B4-BE49-F238E27FC236}">
                <a16:creationId xmlns:a16="http://schemas.microsoft.com/office/drawing/2014/main" id="{F8920FF0-F407-460E-99A6-8B82A7B4A00A}"/>
              </a:ext>
            </a:extLst>
          </p:cNvPr>
          <p:cNvSpPr txBox="1"/>
          <p:nvPr/>
        </p:nvSpPr>
        <p:spPr>
          <a:xfrm>
            <a:off x="1512888" y="5302250"/>
            <a:ext cx="4737100" cy="892175"/>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l" eaLnBrk="1" fontAlgn="auto" hangingPunct="1">
              <a:lnSpc>
                <a:spcPct val="100000"/>
              </a:lnSpc>
              <a:spcBef>
                <a:spcPts val="0"/>
              </a:spcBef>
              <a:spcAft>
                <a:spcPts val="0"/>
              </a:spcAft>
              <a:defRPr/>
            </a:pPr>
            <a:r>
              <a:rPr lang="en-US" altLang="zh-CN" sz="2000" dirty="0">
                <a:solidFill>
                  <a:schemeClr val="tx1">
                    <a:lumMod val="75000"/>
                    <a:lumOff val="25000"/>
                  </a:schemeClr>
                </a:solidFill>
                <a:latin typeface="Impact" pitchFamily="34" charset="0"/>
                <a:ea typeface="+mn-ea"/>
              </a:rPr>
              <a:t>Your Title</a:t>
            </a:r>
          </a:p>
          <a:p>
            <a:pPr algn="l" eaLnBrk="1" fontAlgn="auto" hangingPunct="1">
              <a:lnSpc>
                <a:spcPct val="100000"/>
              </a:lnSpc>
              <a:spcBef>
                <a:spcPts val="0"/>
              </a:spcBef>
              <a:spcAft>
                <a:spcPts val="0"/>
              </a:spcAft>
              <a:defRPr/>
            </a:pPr>
            <a:r>
              <a:rPr lang="en-US" altLang="zh-CN" sz="1600" dirty="0">
                <a:solidFill>
                  <a:schemeClr val="tx1">
                    <a:lumMod val="75000"/>
                    <a:lumOff val="25000"/>
                  </a:schemeClr>
                </a:solidFill>
                <a:latin typeface="+mn-lt"/>
                <a:ea typeface="+mn-ea"/>
              </a:rPr>
              <a:t>click to add subtitle click to add subtitle click to add subtitle click to add subtitle</a:t>
            </a:r>
            <a:r>
              <a:rPr lang="zh-CN" altLang="en-US" sz="1600" dirty="0">
                <a:solidFill>
                  <a:schemeClr val="tx1">
                    <a:lumMod val="75000"/>
                    <a:lumOff val="25000"/>
                  </a:schemeClr>
                </a:solidFill>
                <a:latin typeface="+mn-lt"/>
                <a:ea typeface="+mn-ea"/>
              </a:rPr>
              <a:t> </a:t>
            </a:r>
            <a:r>
              <a:rPr lang="en-US" altLang="zh-CN" sz="1600" dirty="0">
                <a:solidFill>
                  <a:schemeClr val="tx1">
                    <a:lumMod val="75000"/>
                    <a:lumOff val="25000"/>
                  </a:schemeClr>
                </a:solidFill>
                <a:latin typeface="+mn-lt"/>
                <a:ea typeface="+mn-ea"/>
              </a:rPr>
              <a:t>click to add subtitle</a:t>
            </a:r>
            <a:endParaRPr lang="zh-CN" altLang="en-US" sz="1600" dirty="0">
              <a:solidFill>
                <a:schemeClr val="tx1">
                  <a:lumMod val="75000"/>
                  <a:lumOff val="25000"/>
                </a:schemeClr>
              </a:solidFill>
              <a:latin typeface="+mn-lt"/>
              <a:ea typeface="+mn-ea"/>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par>
                          <p:cTn id="8" fill="hold" nodeType="afterGroup">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wipe(left)">
                                      <p:cBhvr>
                                        <p:cTn id="11" dur="500"/>
                                        <p:tgtEl>
                                          <p:spTgt spid="7"/>
                                        </p:tgtEl>
                                      </p:cBhvr>
                                    </p:animEffect>
                                  </p:childTnLst>
                                </p:cTn>
                              </p:par>
                            </p:childTnLst>
                          </p:cTn>
                        </p:par>
                        <p:par>
                          <p:cTn id="12" fill="hold" nodeType="afterGroup">
                            <p:stCondLst>
                              <p:cond delay="1000"/>
                            </p:stCondLst>
                            <p:childTnLst>
                              <p:par>
                                <p:cTn id="13" presetID="22" presetClass="entr" presetSubtype="1"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wipe(up)">
                                      <p:cBhvr>
                                        <p:cTn id="15" dur="500"/>
                                        <p:tgtEl>
                                          <p:spTgt spid="9"/>
                                        </p:tgtEl>
                                      </p:cBhvr>
                                    </p:animEffect>
                                  </p:childTnLst>
                                </p:cTn>
                              </p:par>
                            </p:childTnLst>
                          </p:cTn>
                        </p:par>
                        <p:par>
                          <p:cTn id="16" fill="hold" nodeType="afterGroup">
                            <p:stCondLst>
                              <p:cond delay="1500"/>
                            </p:stCondLst>
                            <p:childTnLst>
                              <p:par>
                                <p:cTn id="17" presetID="22" presetClass="entr" presetSubtype="2"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wipe(right)">
                                      <p:cBhvr>
                                        <p:cTn id="19" dur="500"/>
                                        <p:tgtEl>
                                          <p:spTgt spid="8"/>
                                        </p:tgtEl>
                                      </p:cBhvr>
                                    </p:animEffect>
                                  </p:childTnLst>
                                </p:cTn>
                              </p:par>
                            </p:childTnLst>
                          </p:cTn>
                        </p:par>
                        <p:par>
                          <p:cTn id="20" fill="hold" nodeType="afterGroup">
                            <p:stCondLst>
                              <p:cond delay="2000"/>
                            </p:stCondLst>
                            <p:childTnLst>
                              <p:par>
                                <p:cTn id="21" presetID="10" presetClass="entr" presetSubtype="0" fill="hold" nodeType="after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250"/>
                                        <p:tgtEl>
                                          <p:spTgt spid="10"/>
                                        </p:tgtEl>
                                      </p:cBhvr>
                                    </p:animEffect>
                                  </p:childTnLst>
                                </p:cTn>
                              </p:par>
                            </p:childTnLst>
                          </p:cTn>
                        </p:par>
                        <p:par>
                          <p:cTn id="24" fill="hold" nodeType="afterGroup">
                            <p:stCondLst>
                              <p:cond delay="2250"/>
                            </p:stCondLst>
                            <p:childTnLst>
                              <p:par>
                                <p:cTn id="25" presetID="22" presetClass="entr" presetSubtype="8" fill="hold" grpId="0" nodeType="after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wipe(left)">
                                      <p:cBhvr>
                                        <p:cTn id="27" dur="500"/>
                                        <p:tgtEl>
                                          <p:spTgt spid="22"/>
                                        </p:tgtEl>
                                      </p:cBhvr>
                                    </p:animEffect>
                                  </p:childTnLst>
                                </p:cTn>
                              </p:par>
                            </p:childTnLst>
                          </p:cTn>
                        </p:par>
                        <p:par>
                          <p:cTn id="28" fill="hold" nodeType="afterGroup">
                            <p:stCondLst>
                              <p:cond delay="2750"/>
                            </p:stCondLst>
                            <p:childTnLst>
                              <p:par>
                                <p:cTn id="29" presetID="10" presetClass="entr" presetSubtype="0" fill="hold" nodeType="after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250"/>
                                        <p:tgtEl>
                                          <p:spTgt spid="13"/>
                                        </p:tgtEl>
                                      </p:cBhvr>
                                    </p:animEffect>
                                  </p:childTnLst>
                                </p:cTn>
                              </p:par>
                            </p:childTnLst>
                          </p:cTn>
                        </p:par>
                        <p:par>
                          <p:cTn id="32" fill="hold" nodeType="afterGroup">
                            <p:stCondLst>
                              <p:cond delay="3000"/>
                            </p:stCondLst>
                            <p:childTnLst>
                              <p:par>
                                <p:cTn id="33" presetID="22" presetClass="entr" presetSubtype="8" fill="hold" grpId="0" nodeType="after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wipe(left)">
                                      <p:cBhvr>
                                        <p:cTn id="35" dur="500"/>
                                        <p:tgtEl>
                                          <p:spTgt spid="23"/>
                                        </p:tgtEl>
                                      </p:cBhvr>
                                    </p:animEffect>
                                  </p:childTnLst>
                                </p:cTn>
                              </p:par>
                            </p:childTnLst>
                          </p:cTn>
                        </p:par>
                        <p:par>
                          <p:cTn id="36" fill="hold" nodeType="afterGroup">
                            <p:stCondLst>
                              <p:cond delay="3500"/>
                            </p:stCondLst>
                            <p:childTnLst>
                              <p:par>
                                <p:cTn id="37" presetID="10" presetClass="entr" presetSubtype="0" fill="hold" nodeType="after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250"/>
                                        <p:tgtEl>
                                          <p:spTgt spid="16"/>
                                        </p:tgtEl>
                                      </p:cBhvr>
                                    </p:animEffect>
                                  </p:childTnLst>
                                </p:cTn>
                              </p:par>
                            </p:childTnLst>
                          </p:cTn>
                        </p:par>
                        <p:par>
                          <p:cTn id="40" fill="hold" nodeType="afterGroup">
                            <p:stCondLst>
                              <p:cond delay="3750"/>
                            </p:stCondLst>
                            <p:childTnLst>
                              <p:par>
                                <p:cTn id="41" presetID="22" presetClass="entr" presetSubtype="8" fill="hold" grpId="0" nodeType="afterEffect">
                                  <p:stCondLst>
                                    <p:cond delay="0"/>
                                  </p:stCondLst>
                                  <p:childTnLst>
                                    <p:set>
                                      <p:cBhvr>
                                        <p:cTn id="42" dur="1" fill="hold">
                                          <p:stCondLst>
                                            <p:cond delay="0"/>
                                          </p:stCondLst>
                                        </p:cTn>
                                        <p:tgtEl>
                                          <p:spTgt spid="24"/>
                                        </p:tgtEl>
                                        <p:attrNameLst>
                                          <p:attrName>style.visibility</p:attrName>
                                        </p:attrNameLst>
                                      </p:cBhvr>
                                      <p:to>
                                        <p:strVal val="visible"/>
                                      </p:to>
                                    </p:set>
                                    <p:animEffect transition="in" filter="wipe(left)">
                                      <p:cBhvr>
                                        <p:cTn id="43" dur="500"/>
                                        <p:tgtEl>
                                          <p:spTgt spid="24"/>
                                        </p:tgtEl>
                                      </p:cBhvr>
                                    </p:animEffect>
                                  </p:childTnLst>
                                </p:cTn>
                              </p:par>
                            </p:childTnLst>
                          </p:cTn>
                        </p:par>
                        <p:par>
                          <p:cTn id="44" fill="hold" nodeType="afterGroup">
                            <p:stCondLst>
                              <p:cond delay="4250"/>
                            </p:stCondLst>
                            <p:childTnLst>
                              <p:par>
                                <p:cTn id="45" presetID="10" presetClass="entr" presetSubtype="0" fill="hold" nodeType="afterEffect">
                                  <p:stCondLst>
                                    <p:cond delay="0"/>
                                  </p:stCondLst>
                                  <p:childTnLst>
                                    <p:set>
                                      <p:cBhvr>
                                        <p:cTn id="46" dur="1" fill="hold">
                                          <p:stCondLst>
                                            <p:cond delay="0"/>
                                          </p:stCondLst>
                                        </p:cTn>
                                        <p:tgtEl>
                                          <p:spTgt spid="19"/>
                                        </p:tgtEl>
                                        <p:attrNameLst>
                                          <p:attrName>style.visibility</p:attrName>
                                        </p:attrNameLst>
                                      </p:cBhvr>
                                      <p:to>
                                        <p:strVal val="visible"/>
                                      </p:to>
                                    </p:set>
                                    <p:animEffect transition="in" filter="fade">
                                      <p:cBhvr>
                                        <p:cTn id="47" dur="250"/>
                                        <p:tgtEl>
                                          <p:spTgt spid="19"/>
                                        </p:tgtEl>
                                      </p:cBhvr>
                                    </p:animEffect>
                                  </p:childTnLst>
                                </p:cTn>
                              </p:par>
                            </p:childTnLst>
                          </p:cTn>
                        </p:par>
                        <p:par>
                          <p:cTn id="48" fill="hold" nodeType="afterGroup">
                            <p:stCondLst>
                              <p:cond delay="4500"/>
                            </p:stCondLst>
                            <p:childTnLst>
                              <p:par>
                                <p:cTn id="49" presetID="22" presetClass="entr" presetSubtype="8" fill="hold" grpId="0" nodeType="afterEffect">
                                  <p:stCondLst>
                                    <p:cond delay="0"/>
                                  </p:stCondLst>
                                  <p:childTnLst>
                                    <p:set>
                                      <p:cBhvr>
                                        <p:cTn id="50" dur="1" fill="hold">
                                          <p:stCondLst>
                                            <p:cond delay="0"/>
                                          </p:stCondLst>
                                        </p:cTn>
                                        <p:tgtEl>
                                          <p:spTgt spid="25"/>
                                        </p:tgtEl>
                                        <p:attrNameLst>
                                          <p:attrName>style.visibility</p:attrName>
                                        </p:attrNameLst>
                                      </p:cBhvr>
                                      <p:to>
                                        <p:strVal val="visible"/>
                                      </p:to>
                                    </p:set>
                                    <p:animEffect transition="in" filter="wipe(left)">
                                      <p:cBhvr>
                                        <p:cTn id="51"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22" grpId="0"/>
      <p:bldP spid="23" grpId="0"/>
      <p:bldP spid="24" grpId="0"/>
      <p:bldP spid="25" grpId="0"/>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C20F2A"/>
        </a:solidFill>
        <a:effectLst/>
      </p:bgPr>
    </p:bg>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287E0551-22D3-4744-BAC2-53CE4AB16A63}"/>
              </a:ext>
            </a:extLst>
          </p:cNvPr>
          <p:cNvSpPr txBox="1">
            <a:spLocks noChangeArrowheads="1"/>
          </p:cNvSpPr>
          <p:nvPr/>
        </p:nvSpPr>
        <p:spPr bwMode="auto">
          <a:xfrm>
            <a:off x="876300" y="2419350"/>
            <a:ext cx="2117725" cy="264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r" eaLnBrk="1" hangingPunct="1">
              <a:lnSpc>
                <a:spcPct val="100000"/>
              </a:lnSpc>
              <a:spcBef>
                <a:spcPct val="0"/>
              </a:spcBef>
              <a:buFontTx/>
              <a:buNone/>
            </a:pPr>
            <a:r>
              <a:rPr lang="en-US" altLang="zh-CN" sz="16600" b="1">
                <a:solidFill>
                  <a:srgbClr val="292929"/>
                </a:solidFill>
                <a:latin typeface="Agency FB" panose="020B0503020202020204" pitchFamily="34" charset="0"/>
              </a:rPr>
              <a:t>02</a:t>
            </a:r>
            <a:endParaRPr lang="zh-CN" altLang="en-US" sz="16600" b="1">
              <a:solidFill>
                <a:srgbClr val="292929"/>
              </a:solidFill>
              <a:latin typeface="Agency FB" panose="020B0503020202020204" pitchFamily="34" charset="0"/>
            </a:endParaRPr>
          </a:p>
        </p:txBody>
      </p:sp>
      <p:cxnSp>
        <p:nvCxnSpPr>
          <p:cNvPr id="4" name="直接连接符 3">
            <a:extLst>
              <a:ext uri="{FF2B5EF4-FFF2-40B4-BE49-F238E27FC236}">
                <a16:creationId xmlns:a16="http://schemas.microsoft.com/office/drawing/2014/main" id="{1536D6AD-217D-46FE-98EA-F2F972C4DA30}"/>
              </a:ext>
            </a:extLst>
          </p:cNvPr>
          <p:cNvCxnSpPr/>
          <p:nvPr/>
        </p:nvCxnSpPr>
        <p:spPr>
          <a:xfrm>
            <a:off x="3009900" y="2638425"/>
            <a:ext cx="0" cy="2208213"/>
          </a:xfrm>
          <a:prstGeom prst="line">
            <a:avLst/>
          </a:prstGeom>
          <a:ln w="38100">
            <a:solidFill>
              <a:schemeClr val="bg1">
                <a:alpha val="36000"/>
              </a:schemeClr>
            </a:solidFill>
          </a:ln>
        </p:spPr>
        <p:style>
          <a:lnRef idx="1">
            <a:schemeClr val="accent1"/>
          </a:lnRef>
          <a:fillRef idx="0">
            <a:schemeClr val="accent1"/>
          </a:fillRef>
          <a:effectRef idx="0">
            <a:schemeClr val="accent1"/>
          </a:effectRef>
          <a:fontRef idx="minor">
            <a:schemeClr val="tx1"/>
          </a:fontRef>
        </p:style>
      </p:cxnSp>
      <p:sp>
        <p:nvSpPr>
          <p:cNvPr id="5" name="文本框 56">
            <a:extLst>
              <a:ext uri="{FF2B5EF4-FFF2-40B4-BE49-F238E27FC236}">
                <a16:creationId xmlns:a16="http://schemas.microsoft.com/office/drawing/2014/main" id="{6F4E2E1C-EEFE-441B-80B7-F27C9CF231C7}"/>
              </a:ext>
            </a:extLst>
          </p:cNvPr>
          <p:cNvSpPr txBox="1">
            <a:spLocks noChangeArrowheads="1"/>
          </p:cNvSpPr>
          <p:nvPr/>
        </p:nvSpPr>
        <p:spPr bwMode="auto">
          <a:xfrm>
            <a:off x="3181350" y="2819400"/>
            <a:ext cx="6362700"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sz="5400" b="1">
                <a:solidFill>
                  <a:srgbClr val="292929"/>
                </a:solidFill>
                <a:latin typeface="Agency FB" panose="020B0503020202020204" pitchFamily="34" charset="0"/>
              </a:rPr>
              <a:t>CLICK TO ADD YOUR TITLE</a:t>
            </a:r>
          </a:p>
        </p:txBody>
      </p:sp>
      <p:sp>
        <p:nvSpPr>
          <p:cNvPr id="6" name="文本框 56">
            <a:extLst>
              <a:ext uri="{FF2B5EF4-FFF2-40B4-BE49-F238E27FC236}">
                <a16:creationId xmlns:a16="http://schemas.microsoft.com/office/drawing/2014/main" id="{DA89318A-51A0-4322-BA64-398B8C0897B8}"/>
              </a:ext>
            </a:extLst>
          </p:cNvPr>
          <p:cNvSpPr txBox="1">
            <a:spLocks noChangeArrowheads="1"/>
          </p:cNvSpPr>
          <p:nvPr/>
        </p:nvSpPr>
        <p:spPr bwMode="auto">
          <a:xfrm>
            <a:off x="3181350" y="3756025"/>
            <a:ext cx="6265863"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sz="1600">
                <a:solidFill>
                  <a:srgbClr val="292929"/>
                </a:solidFill>
              </a:rPr>
              <a:t>click to add subtitle click to add subtitle click to add subtitle click to add subtitle  click to add subtitle click to add subtitle click to add subtitle click to add subtitle  click to add subtitle click to add subtitle</a:t>
            </a:r>
            <a:endParaRPr lang="zh-CN" altLang="en-US" sz="1600">
              <a:solidFill>
                <a:srgbClr val="292929"/>
              </a:solidFill>
            </a:endParaRPr>
          </a:p>
        </p:txBody>
      </p:sp>
    </p:spTree>
  </p:cSld>
  <p:clrMapOvr>
    <a:masterClrMapping/>
  </p:clrMapOvr>
  <p:transition spd="slow">
    <p:blinds dir="vert"/>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nodeType="afterGroup">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nodeType="afterGroup">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nodeType="afterGroup">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bldP spid="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56">
            <a:extLst>
              <a:ext uri="{FF2B5EF4-FFF2-40B4-BE49-F238E27FC236}">
                <a16:creationId xmlns:a16="http://schemas.microsoft.com/office/drawing/2014/main" id="{58886B2E-4264-43CB-BE8B-C0DAE7AABCC8}"/>
              </a:ext>
            </a:extLst>
          </p:cNvPr>
          <p:cNvSpPr txBox="1"/>
          <p:nvPr/>
        </p:nvSpPr>
        <p:spPr>
          <a:xfrm>
            <a:off x="5238750" y="3541713"/>
            <a:ext cx="6724650" cy="1476375"/>
          </a:xfrm>
          <a:prstGeom prst="rect">
            <a:avLst/>
          </a:prstGeom>
          <a:noFill/>
        </p:spPr>
        <p:txBody>
          <a:bodyPr>
            <a:spAutoFit/>
          </a:bodyPr>
          <a:lstStyle>
            <a:defPPr>
              <a:defRPr lang="zh-CN"/>
            </a:defPPr>
            <a:lvl1pPr algn="just">
              <a:lnSpc>
                <a:spcPct val="110000"/>
              </a:lnSpc>
              <a:defRPr sz="1400">
                <a:solidFill>
                  <a:schemeClr val="tx1">
                    <a:lumMod val="50000"/>
                    <a:lumOff val="50000"/>
                  </a:schemeClr>
                </a:solidFill>
              </a:defRPr>
            </a:lvl1pPr>
          </a:lstStyle>
          <a:p>
            <a:pPr algn="l" eaLnBrk="1" fontAlgn="auto" hangingPunct="1">
              <a:lnSpc>
                <a:spcPct val="100000"/>
              </a:lnSpc>
              <a:spcBef>
                <a:spcPts val="0"/>
              </a:spcBef>
              <a:spcAft>
                <a:spcPts val="0"/>
              </a:spcAft>
              <a:defRPr/>
            </a:pPr>
            <a:r>
              <a:rPr lang="en-US" altLang="zh-CN" sz="1800" dirty="0">
                <a:solidFill>
                  <a:schemeClr val="tx1">
                    <a:lumMod val="75000"/>
                    <a:lumOff val="25000"/>
                  </a:schemeClr>
                </a:solidFill>
                <a:latin typeface="+mn-lt"/>
                <a:ea typeface="+mn-ea"/>
              </a:rPr>
              <a:t>click to add subtitle click to add subtitle click to add subtitle click to add subtitle</a:t>
            </a:r>
            <a:r>
              <a:rPr lang="zh-CN" altLang="en-US" sz="1800" dirty="0">
                <a:solidFill>
                  <a:schemeClr val="tx1">
                    <a:lumMod val="75000"/>
                    <a:lumOff val="25000"/>
                  </a:schemeClr>
                </a:solidFill>
                <a:latin typeface="+mn-lt"/>
                <a:ea typeface="+mn-ea"/>
              </a:rPr>
              <a:t> </a:t>
            </a:r>
            <a:r>
              <a:rPr lang="en-US" altLang="zh-CN" sz="1800" dirty="0">
                <a:solidFill>
                  <a:schemeClr val="tx1">
                    <a:lumMod val="75000"/>
                    <a:lumOff val="25000"/>
                  </a:schemeClr>
                </a:solidFill>
                <a:latin typeface="+mn-lt"/>
                <a:ea typeface="+mn-ea"/>
              </a:rPr>
              <a:t>click to add subtitle  click to add subtitle click to add subtitle click to add subtitle click to add subtitle</a:t>
            </a:r>
            <a:r>
              <a:rPr lang="zh-CN" altLang="en-US" sz="1800" dirty="0">
                <a:solidFill>
                  <a:schemeClr val="tx1">
                    <a:lumMod val="75000"/>
                    <a:lumOff val="25000"/>
                  </a:schemeClr>
                </a:solidFill>
                <a:latin typeface="+mn-lt"/>
                <a:ea typeface="+mn-ea"/>
              </a:rPr>
              <a:t> </a:t>
            </a:r>
            <a:r>
              <a:rPr lang="en-US" altLang="zh-CN" sz="1800" dirty="0">
                <a:solidFill>
                  <a:schemeClr val="tx1">
                    <a:lumMod val="75000"/>
                    <a:lumOff val="25000"/>
                  </a:schemeClr>
                </a:solidFill>
                <a:latin typeface="+mn-lt"/>
                <a:ea typeface="+mn-ea"/>
              </a:rPr>
              <a:t>click to add subtitle</a:t>
            </a:r>
            <a:r>
              <a:rPr lang="zh-CN" altLang="en-US" sz="1800" dirty="0">
                <a:solidFill>
                  <a:schemeClr val="tx1">
                    <a:lumMod val="75000"/>
                    <a:lumOff val="25000"/>
                  </a:schemeClr>
                </a:solidFill>
                <a:latin typeface="+mn-lt"/>
                <a:ea typeface="+mn-ea"/>
              </a:rPr>
              <a:t>  </a:t>
            </a:r>
            <a:r>
              <a:rPr lang="en-US" altLang="zh-CN" sz="1800" dirty="0">
                <a:solidFill>
                  <a:schemeClr val="tx1">
                    <a:lumMod val="75000"/>
                    <a:lumOff val="25000"/>
                  </a:schemeClr>
                </a:solidFill>
                <a:latin typeface="+mn-lt"/>
                <a:ea typeface="+mn-ea"/>
              </a:rPr>
              <a:t>click to add subtitle click to add subtitle click to add subtitle click to add subtitle  click to add subtitle click to add subtitle</a:t>
            </a:r>
            <a:endParaRPr lang="zh-CN" altLang="en-US" sz="1800" dirty="0">
              <a:solidFill>
                <a:schemeClr val="tx1">
                  <a:lumMod val="75000"/>
                  <a:lumOff val="25000"/>
                </a:schemeClr>
              </a:solidFill>
              <a:latin typeface="+mn-lt"/>
              <a:ea typeface="+mn-ea"/>
            </a:endParaRPr>
          </a:p>
        </p:txBody>
      </p:sp>
      <p:pic>
        <p:nvPicPr>
          <p:cNvPr id="3074" name="Picture 2" descr="D:\Users\zyf\Desktop\常用\背景 花纹 图片\锐普提供 商务图片3.26\商务326 (16).png">
            <a:extLst>
              <a:ext uri="{FF2B5EF4-FFF2-40B4-BE49-F238E27FC236}">
                <a16:creationId xmlns:a16="http://schemas.microsoft.com/office/drawing/2014/main" id="{D457C932-0847-44DB-BF52-5ECEA0C7245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4044"/>
          <a:stretch>
            <a:fillRect/>
          </a:stretch>
        </p:blipFill>
        <p:spPr bwMode="auto">
          <a:xfrm>
            <a:off x="1811338" y="1655763"/>
            <a:ext cx="3225800" cy="336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矩形 1">
            <a:extLst>
              <a:ext uri="{FF2B5EF4-FFF2-40B4-BE49-F238E27FC236}">
                <a16:creationId xmlns:a16="http://schemas.microsoft.com/office/drawing/2014/main" id="{B04A8FFA-07F9-4F0D-BED0-4665A7DEAE95}"/>
              </a:ext>
            </a:extLst>
          </p:cNvPr>
          <p:cNvSpPr/>
          <p:nvPr/>
        </p:nvSpPr>
        <p:spPr>
          <a:xfrm>
            <a:off x="0" y="5210175"/>
            <a:ext cx="5037138" cy="1208088"/>
          </a:xfrm>
          <a:prstGeom prst="rect">
            <a:avLst/>
          </a:prstGeom>
          <a:solidFill>
            <a:srgbClr val="C20F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6" name="文本框 56">
            <a:extLst>
              <a:ext uri="{FF2B5EF4-FFF2-40B4-BE49-F238E27FC236}">
                <a16:creationId xmlns:a16="http://schemas.microsoft.com/office/drawing/2014/main" id="{D91F98FC-BC63-47C6-9D9F-4173EA80E914}"/>
              </a:ext>
            </a:extLst>
          </p:cNvPr>
          <p:cNvSpPr txBox="1">
            <a:spLocks noChangeArrowheads="1"/>
          </p:cNvSpPr>
          <p:nvPr/>
        </p:nvSpPr>
        <p:spPr bwMode="auto">
          <a:xfrm>
            <a:off x="1811338" y="5275263"/>
            <a:ext cx="3225800" cy="107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00000"/>
              </a:lnSpc>
              <a:spcBef>
                <a:spcPct val="0"/>
              </a:spcBef>
              <a:buFontTx/>
              <a:buNone/>
            </a:pPr>
            <a:r>
              <a:rPr lang="en-US" altLang="zh-CN" b="1">
                <a:solidFill>
                  <a:schemeClr val="bg1"/>
                </a:solidFill>
              </a:rPr>
              <a:t>NAME</a:t>
            </a:r>
          </a:p>
          <a:p>
            <a:pPr algn="ctr" eaLnBrk="1" hangingPunct="1">
              <a:lnSpc>
                <a:spcPct val="100000"/>
              </a:lnSpc>
              <a:spcBef>
                <a:spcPct val="0"/>
              </a:spcBef>
              <a:buFontTx/>
              <a:buNone/>
            </a:pPr>
            <a:r>
              <a:rPr lang="en-US" altLang="zh-CN" sz="1800">
                <a:solidFill>
                  <a:schemeClr val="bg1"/>
                </a:solidFill>
              </a:rPr>
              <a:t> click to add subtitle click to add subtitle click to add subtitle</a:t>
            </a:r>
            <a:endParaRPr lang="zh-CN" altLang="en-US" sz="1800">
              <a:solidFill>
                <a:schemeClr val="bg1"/>
              </a:solidFill>
            </a:endParaRPr>
          </a:p>
        </p:txBody>
      </p:sp>
      <p:sp>
        <p:nvSpPr>
          <p:cNvPr id="14342" name="文本框 56">
            <a:extLst>
              <a:ext uri="{FF2B5EF4-FFF2-40B4-BE49-F238E27FC236}">
                <a16:creationId xmlns:a16="http://schemas.microsoft.com/office/drawing/2014/main" id="{0306D9E6-B067-4106-A9EB-62D9C15E8DE7}"/>
              </a:ext>
            </a:extLst>
          </p:cNvPr>
          <p:cNvSpPr txBox="1">
            <a:spLocks noChangeArrowheads="1"/>
          </p:cNvSpPr>
          <p:nvPr/>
        </p:nvSpPr>
        <p:spPr bwMode="auto">
          <a:xfrm>
            <a:off x="1154113" y="566738"/>
            <a:ext cx="509587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algn="ctr" eaLnBrk="1" hangingPunct="1">
              <a:lnSpc>
                <a:spcPct val="100000"/>
              </a:lnSpc>
              <a:spcBef>
                <a:spcPct val="0"/>
              </a:spcBef>
              <a:buFontTx/>
              <a:buNone/>
            </a:pPr>
            <a:r>
              <a:rPr lang="en-US" altLang="zh-CN" sz="3200" b="1">
                <a:solidFill>
                  <a:srgbClr val="C20F2A"/>
                </a:solidFill>
                <a:latin typeface="Agency FB" panose="020B0503020202020204" pitchFamily="34" charset="0"/>
              </a:rPr>
              <a:t>CLICK TO ADD YOUR TITLE IN HERE</a:t>
            </a:r>
          </a:p>
        </p:txBody>
      </p:sp>
      <p:sp>
        <p:nvSpPr>
          <p:cNvPr id="8" name="矩形 7">
            <a:extLst>
              <a:ext uri="{FF2B5EF4-FFF2-40B4-BE49-F238E27FC236}">
                <a16:creationId xmlns:a16="http://schemas.microsoft.com/office/drawing/2014/main" id="{24857509-97ED-4DBC-9632-6AE45C9459D2}"/>
              </a:ext>
            </a:extLst>
          </p:cNvPr>
          <p:cNvSpPr/>
          <p:nvPr/>
        </p:nvSpPr>
        <p:spPr>
          <a:xfrm>
            <a:off x="5238750" y="1655763"/>
            <a:ext cx="6953250" cy="1208087"/>
          </a:xfrm>
          <a:prstGeom prst="rect">
            <a:avLst/>
          </a:prstGeom>
          <a:solidFill>
            <a:srgbClr val="C20F2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9" name="文本框 56">
            <a:extLst>
              <a:ext uri="{FF2B5EF4-FFF2-40B4-BE49-F238E27FC236}">
                <a16:creationId xmlns:a16="http://schemas.microsoft.com/office/drawing/2014/main" id="{495DAEA8-10AA-4913-BA22-C195B71F71FB}"/>
              </a:ext>
            </a:extLst>
          </p:cNvPr>
          <p:cNvSpPr txBox="1">
            <a:spLocks noChangeArrowheads="1"/>
          </p:cNvSpPr>
          <p:nvPr/>
        </p:nvSpPr>
        <p:spPr bwMode="auto">
          <a:xfrm>
            <a:off x="5468938" y="1720850"/>
            <a:ext cx="6494462" cy="1077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eaLnBrk="1" hangingPunct="1">
              <a:lnSpc>
                <a:spcPct val="100000"/>
              </a:lnSpc>
              <a:spcBef>
                <a:spcPct val="0"/>
              </a:spcBef>
              <a:buFontTx/>
              <a:buNone/>
            </a:pPr>
            <a:r>
              <a:rPr lang="en-US" altLang="zh-CN" b="1">
                <a:solidFill>
                  <a:schemeClr val="bg1"/>
                </a:solidFill>
              </a:rPr>
              <a:t>YOUR TITLE</a:t>
            </a:r>
          </a:p>
          <a:p>
            <a:pPr eaLnBrk="1" hangingPunct="1">
              <a:lnSpc>
                <a:spcPct val="100000"/>
              </a:lnSpc>
              <a:spcBef>
                <a:spcPct val="0"/>
              </a:spcBef>
              <a:buFontTx/>
              <a:buNone/>
            </a:pPr>
            <a:r>
              <a:rPr lang="en-US" altLang="zh-CN" sz="1800">
                <a:solidFill>
                  <a:schemeClr val="bg1"/>
                </a:solidFill>
              </a:rPr>
              <a:t> click to add subtitle click to add subtitle click to add subtitle  click to add subtitle click to add subtitle click to add subtitle</a:t>
            </a:r>
            <a:endParaRPr lang="zh-CN" altLang="en-US" sz="1800">
              <a:solidFill>
                <a:schemeClr val="bg1"/>
              </a:solidFill>
            </a:endParaRPr>
          </a:p>
        </p:txBody>
      </p:sp>
    </p:spTree>
  </p:cSld>
  <p:clrMapOvr>
    <a:masterClrMapping/>
  </p:clrMapOvr>
  <p:transition spd="slow">
    <p:push/>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3" presetClass="entr" presetSubtype="16" fill="hold" nodeType="withEffect">
                                  <p:stCondLst>
                                    <p:cond delay="0"/>
                                  </p:stCondLst>
                                  <p:childTnLst>
                                    <p:set>
                                      <p:cBhvr>
                                        <p:cTn id="6" dur="1" fill="hold">
                                          <p:stCondLst>
                                            <p:cond delay="0"/>
                                          </p:stCondLst>
                                        </p:cTn>
                                        <p:tgtEl>
                                          <p:spTgt spid="3074"/>
                                        </p:tgtEl>
                                        <p:attrNameLst>
                                          <p:attrName>style.visibility</p:attrName>
                                        </p:attrNameLst>
                                      </p:cBhvr>
                                      <p:to>
                                        <p:strVal val="visible"/>
                                      </p:to>
                                    </p:set>
                                    <p:anim calcmode="lin" valueType="num">
                                      <p:cBhvr>
                                        <p:cTn id="7" dur="500" fill="hold"/>
                                        <p:tgtEl>
                                          <p:spTgt spid="3074"/>
                                        </p:tgtEl>
                                        <p:attrNameLst>
                                          <p:attrName>ppt_w</p:attrName>
                                        </p:attrNameLst>
                                      </p:cBhvr>
                                      <p:tavLst>
                                        <p:tav tm="0">
                                          <p:val>
                                            <p:fltVal val="0"/>
                                          </p:val>
                                        </p:tav>
                                        <p:tav tm="100000">
                                          <p:val>
                                            <p:strVal val="#ppt_w"/>
                                          </p:val>
                                        </p:tav>
                                      </p:tavLst>
                                    </p:anim>
                                    <p:anim calcmode="lin" valueType="num">
                                      <p:cBhvr>
                                        <p:cTn id="8" dur="500" fill="hold"/>
                                        <p:tgtEl>
                                          <p:spTgt spid="3074"/>
                                        </p:tgtEl>
                                        <p:attrNameLst>
                                          <p:attrName>ppt_h</p:attrName>
                                        </p:attrNameLst>
                                      </p:cBhvr>
                                      <p:tavLst>
                                        <p:tav tm="0">
                                          <p:val>
                                            <p:fltVal val="0"/>
                                          </p:val>
                                        </p:tav>
                                        <p:tav tm="100000">
                                          <p:val>
                                            <p:strVal val="#ppt_h"/>
                                          </p:val>
                                        </p:tav>
                                      </p:tavLst>
                                    </p:anim>
                                    <p:animEffect transition="in" filter="fade">
                                      <p:cBhvr>
                                        <p:cTn id="9" dur="500"/>
                                        <p:tgtEl>
                                          <p:spTgt spid="3074"/>
                                        </p:tgtEl>
                                      </p:cBhvr>
                                    </p:animEffect>
                                  </p:childTnLst>
                                </p:cTn>
                              </p:par>
                            </p:childTnLst>
                          </p:cTn>
                        </p:par>
                        <p:par>
                          <p:cTn id="10" fill="hold" nodeType="afterGroup">
                            <p:stCondLst>
                              <p:cond delay="500"/>
                            </p:stCondLst>
                            <p:childTnLst>
                              <p:par>
                                <p:cTn id="11" presetID="22" presetClass="entr" presetSubtype="8" fill="hold" grpId="0" nodeType="after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wipe(left)">
                                      <p:cBhvr>
                                        <p:cTn id="13" dur="500"/>
                                        <p:tgtEl>
                                          <p:spTgt spid="2"/>
                                        </p:tgtEl>
                                      </p:cBhvr>
                                    </p:animEffect>
                                  </p:childTnLst>
                                </p:cTn>
                              </p:par>
                            </p:childTnLst>
                          </p:cTn>
                        </p:par>
                        <p:par>
                          <p:cTn id="14" fill="hold" nodeType="afterGroup">
                            <p:stCondLst>
                              <p:cond delay="1000"/>
                            </p:stCondLst>
                            <p:childTnLst>
                              <p:par>
                                <p:cTn id="15" presetID="10" presetClass="entr" presetSubtype="0"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par>
                          <p:cTn id="18" fill="hold" nodeType="afterGroup">
                            <p:stCondLst>
                              <p:cond delay="1500"/>
                            </p:stCondLst>
                            <p:childTnLst>
                              <p:par>
                                <p:cTn id="19" presetID="22" presetClass="entr" presetSubtype="2" fill="hold" grpId="0" nodeType="after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wipe(right)">
                                      <p:cBhvr>
                                        <p:cTn id="21" dur="500"/>
                                        <p:tgtEl>
                                          <p:spTgt spid="8"/>
                                        </p:tgtEl>
                                      </p:cBhvr>
                                    </p:animEffect>
                                  </p:childTnLst>
                                </p:cTn>
                              </p:par>
                            </p:childTnLst>
                          </p:cTn>
                        </p:par>
                        <p:par>
                          <p:cTn id="22" fill="hold" nodeType="afterGroup">
                            <p:stCondLst>
                              <p:cond delay="2000"/>
                            </p:stCondLst>
                            <p:childTnLst>
                              <p:par>
                                <p:cTn id="23" presetID="10" presetClass="entr" presetSubtype="0" fill="hold" grpId="0" nodeType="after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500"/>
                                        <p:tgtEl>
                                          <p:spTgt spid="9"/>
                                        </p:tgtEl>
                                      </p:cBhvr>
                                    </p:animEffect>
                                  </p:childTnLst>
                                </p:cTn>
                              </p:par>
                            </p:childTnLst>
                          </p:cTn>
                        </p:par>
                        <p:par>
                          <p:cTn id="26" fill="hold" nodeType="afterGroup">
                            <p:stCondLst>
                              <p:cond delay="2500"/>
                            </p:stCondLst>
                            <p:childTnLst>
                              <p:par>
                                <p:cTn id="27" presetID="10" presetClass="entr" presetSubtype="0" fill="hold" grpId="0" nodeType="afterEffect">
                                  <p:stCondLst>
                                    <p:cond delay="0"/>
                                  </p:stCondLst>
                                  <p:childTnLst>
                                    <p:set>
                                      <p:cBhvr>
                                        <p:cTn id="28" dur="1" fill="hold">
                                          <p:stCondLst>
                                            <p:cond delay="0"/>
                                          </p:stCondLst>
                                        </p:cTn>
                                        <p:tgtEl>
                                          <p:spTgt spid="4"/>
                                        </p:tgtEl>
                                        <p:attrNameLst>
                                          <p:attrName>style.visibility</p:attrName>
                                        </p:attrNameLst>
                                      </p:cBhvr>
                                      <p:to>
                                        <p:strVal val="visible"/>
                                      </p:to>
                                    </p:set>
                                    <p:animEffect transition="in" filter="fade">
                                      <p:cBhvr>
                                        <p:cTn id="2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 grpId="0" animBg="1"/>
      <p:bldP spid="6" grpId="0"/>
      <p:bldP spid="8" grpId="0" animBg="1"/>
      <p:bldP spid="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yYV1qJOh0uEB.i7ZP4zZA"/>
</p:tagLst>
</file>

<file path=ppt/theme/theme1.xml><?xml version="1.0" encoding="utf-8"?>
<a:theme xmlns:a="http://schemas.openxmlformats.org/drawingml/2006/main" name="https://www.freeppt7.com">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C20F2A"/>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48</TotalTime>
  <Words>1677</Words>
  <Application>Microsoft Office PowerPoint</Application>
  <PresentationFormat>宽屏</PresentationFormat>
  <Paragraphs>207</Paragraphs>
  <Slides>23</Slides>
  <Notes>0</Notes>
  <HiddenSlides>0</HiddenSlides>
  <MMClips>0</MMClips>
  <ScaleCrop>false</ScaleCrop>
  <HeadingPairs>
    <vt:vector size="6" baseType="variant">
      <vt:variant>
        <vt:lpstr>已用的字体</vt:lpstr>
      </vt:variant>
      <vt:variant>
        <vt:i4>9</vt:i4>
      </vt:variant>
      <vt:variant>
        <vt:lpstr>主题</vt:lpstr>
      </vt:variant>
      <vt:variant>
        <vt:i4>1</vt:i4>
      </vt:variant>
      <vt:variant>
        <vt:lpstr>幻灯片标题</vt:lpstr>
      </vt:variant>
      <vt:variant>
        <vt:i4>23</vt:i4>
      </vt:variant>
    </vt:vector>
  </HeadingPairs>
  <TitlesOfParts>
    <vt:vector size="33" baseType="lpstr">
      <vt:lpstr>Calibri</vt:lpstr>
      <vt:lpstr>Arial</vt:lpstr>
      <vt:lpstr>Aharoni</vt:lpstr>
      <vt:lpstr>Impact</vt:lpstr>
      <vt:lpstr>Segoe UI Light</vt:lpstr>
      <vt:lpstr>Agency FB</vt:lpstr>
      <vt:lpstr>Calibri Light</vt:lpstr>
      <vt:lpstr>微软雅黑</vt:lpstr>
      <vt:lpstr>宋体</vt:lpstr>
      <vt:lpstr>https://www.freeppt7.com</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Chin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User</dc:creator>
  <cp:lastModifiedBy>宇 之灵</cp:lastModifiedBy>
  <cp:revision>80</cp:revision>
  <dcterms:created xsi:type="dcterms:W3CDTF">2014-10-30T16:24:50Z</dcterms:created>
  <dcterms:modified xsi:type="dcterms:W3CDTF">2019-12-01T02:29:01Z</dcterms:modified>
</cp:coreProperties>
</file>